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theme/theme4.xml" ContentType="application/vnd.openxmlformats-officedocument.theme+xml"/>
  <Override PartName="/ppt/slideLayouts/slideLayout660.xml" ContentType="application/vnd.openxmlformats-officedocument.presentationml.slideLayout+xml"/>
  <Override PartName="/ppt/theme/theme5.xml" ContentType="application/vnd.openxmlformats-officedocument.theme+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6.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7.xml" ContentType="application/vnd.openxmlformats-officedocument.theme+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theme/theme8.xml" ContentType="application/vnd.openxmlformats-officedocument.theme+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theme/theme9.xml" ContentType="application/vnd.openxmlformats-officedocument.theme+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theme/theme10.xml" ContentType="application/vnd.openxmlformats-officedocument.theme+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0.xml" ContentType="application/vnd.openxmlformats-officedocument.presentationml.slideLayout+xml"/>
  <Override PartName="/ppt/slideLayouts/slideLayout2641.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slideLayouts/slideLayout2644.xml" ContentType="application/vnd.openxmlformats-officedocument.presentationml.slideLayout+xml"/>
  <Override PartName="/ppt/slideLayouts/slideLayout2645.xml" ContentType="application/vnd.openxmlformats-officedocument.presentationml.slideLayout+xml"/>
  <Override PartName="/ppt/slideLayouts/slideLayout2646.xml" ContentType="application/vnd.openxmlformats-officedocument.presentationml.slideLayout+xml"/>
  <Override PartName="/ppt/slideLayouts/slideLayout2647.xml" ContentType="application/vnd.openxmlformats-officedocument.presentationml.slideLayout+xml"/>
  <Override PartName="/ppt/slideLayouts/slideLayout2648.xml" ContentType="application/vnd.openxmlformats-officedocument.presentationml.slideLayout+xml"/>
  <Override PartName="/ppt/theme/theme12.xml" ContentType="application/vnd.openxmlformats-officedocument.theme+xml"/>
  <Override PartName="/ppt/slideLayouts/slideLayout2649.xml" ContentType="application/vnd.openxmlformats-officedocument.presentationml.slideLayout+xml"/>
  <Override PartName="/ppt/slideLayouts/slideLayout2650.xml" ContentType="application/vnd.openxmlformats-officedocument.presentationml.slideLayout+xml"/>
  <Override PartName="/ppt/slideLayouts/slideLayout2651.xml" ContentType="application/vnd.openxmlformats-officedocument.presentationml.slideLayout+xml"/>
  <Override PartName="/ppt/slideLayouts/slideLayout2652.xml" ContentType="application/vnd.openxmlformats-officedocument.presentationml.slideLayout+xml"/>
  <Override PartName="/ppt/slideLayouts/slideLayout2653.xml" ContentType="application/vnd.openxmlformats-officedocument.presentationml.slideLayout+xml"/>
  <Override PartName="/ppt/slideLayouts/slideLayout2654.xml" ContentType="application/vnd.openxmlformats-officedocument.presentationml.slideLayout+xml"/>
  <Override PartName="/ppt/slideLayouts/slideLayout2655.xml" ContentType="application/vnd.openxmlformats-officedocument.presentationml.slideLayout+xml"/>
  <Override PartName="/ppt/slideLayouts/slideLayout2656.xml" ContentType="application/vnd.openxmlformats-officedocument.presentationml.slideLayout+xml"/>
  <Override PartName="/ppt/slideLayouts/slideLayout2657.xml" ContentType="application/vnd.openxmlformats-officedocument.presentationml.slideLayout+xml"/>
  <Override PartName="/ppt/slideLayouts/slideLayout2658.xml" ContentType="application/vnd.openxmlformats-officedocument.presentationml.slideLayout+xml"/>
  <Override PartName="/ppt/slideLayouts/slideLayout2659.xml" ContentType="application/vnd.openxmlformats-officedocument.presentationml.slideLayout+xml"/>
  <Override PartName="/ppt/slideLayouts/slideLayout2660.xml" ContentType="application/vnd.openxmlformats-officedocument.presentationml.slideLayout+xml"/>
  <Override PartName="/ppt/slideLayouts/slideLayout2661.xml" ContentType="application/vnd.openxmlformats-officedocument.presentationml.slideLayout+xml"/>
  <Override PartName="/ppt/slideLayouts/slideLayout2662.xml" ContentType="application/vnd.openxmlformats-officedocument.presentationml.slideLayout+xml"/>
  <Override PartName="/ppt/slideLayouts/slideLayout2663.xml" ContentType="application/vnd.openxmlformats-officedocument.presentationml.slideLayout+xml"/>
  <Override PartName="/ppt/slideLayouts/slideLayout2664.xml" ContentType="application/vnd.openxmlformats-officedocument.presentationml.slideLayout+xml"/>
  <Override PartName="/ppt/slideLayouts/slideLayout2665.xml" ContentType="application/vnd.openxmlformats-officedocument.presentationml.slideLayout+xml"/>
  <Override PartName="/ppt/slideLayouts/slideLayout2666.xml" ContentType="application/vnd.openxmlformats-officedocument.presentationml.slideLayout+xml"/>
  <Override PartName="/ppt/slideLayouts/slideLayout2667.xml" ContentType="application/vnd.openxmlformats-officedocument.presentationml.slideLayout+xml"/>
  <Override PartName="/ppt/slideLayouts/slideLayout2668.xml" ContentType="application/vnd.openxmlformats-officedocument.presentationml.slideLayout+xml"/>
  <Override PartName="/ppt/slideLayouts/slideLayout2669.xml" ContentType="application/vnd.openxmlformats-officedocument.presentationml.slideLayout+xml"/>
  <Override PartName="/ppt/slideLayouts/slideLayout2670.xml" ContentType="application/vnd.openxmlformats-officedocument.presentationml.slideLayout+xml"/>
  <Override PartName="/ppt/slideLayouts/slideLayout2671.xml" ContentType="application/vnd.openxmlformats-officedocument.presentationml.slideLayout+xml"/>
  <Override PartName="/ppt/slideLayouts/slideLayout2672.xml" ContentType="application/vnd.openxmlformats-officedocument.presentationml.slideLayout+xml"/>
  <Override PartName="/ppt/slideLayouts/slideLayout2673.xml" ContentType="application/vnd.openxmlformats-officedocument.presentationml.slideLayout+xml"/>
  <Override PartName="/ppt/slideLayouts/slideLayout2674.xml" ContentType="application/vnd.openxmlformats-officedocument.presentationml.slideLayout+xml"/>
  <Override PartName="/ppt/slideLayouts/slideLayout2675.xml" ContentType="application/vnd.openxmlformats-officedocument.presentationml.slideLayout+xml"/>
  <Override PartName="/ppt/slideLayouts/slideLayout2676.xml" ContentType="application/vnd.openxmlformats-officedocument.presentationml.slideLayout+xml"/>
  <Override PartName="/ppt/slideLayouts/slideLayout2677.xml" ContentType="application/vnd.openxmlformats-officedocument.presentationml.slideLayout+xml"/>
  <Override PartName="/ppt/slideLayouts/slideLayout2678.xml" ContentType="application/vnd.openxmlformats-officedocument.presentationml.slideLayout+xml"/>
  <Override PartName="/ppt/slideLayouts/slideLayout2679.xml" ContentType="application/vnd.openxmlformats-officedocument.presentationml.slideLayout+xml"/>
  <Override PartName="/ppt/slideLayouts/slideLayout2680.xml" ContentType="application/vnd.openxmlformats-officedocument.presentationml.slideLayout+xml"/>
  <Override PartName="/ppt/slideLayouts/slideLayout2681.xml" ContentType="application/vnd.openxmlformats-officedocument.presentationml.slideLayout+xml"/>
  <Override PartName="/ppt/slideLayouts/slideLayout2682.xml" ContentType="application/vnd.openxmlformats-officedocument.presentationml.slideLayout+xml"/>
  <Override PartName="/ppt/slideLayouts/slideLayout2683.xml" ContentType="application/vnd.openxmlformats-officedocument.presentationml.slideLayout+xml"/>
  <Override PartName="/ppt/slideLayouts/slideLayout2684.xml" ContentType="application/vnd.openxmlformats-officedocument.presentationml.slideLayout+xml"/>
  <Override PartName="/ppt/slideLayouts/slideLayout2685.xml" ContentType="application/vnd.openxmlformats-officedocument.presentationml.slideLayout+xml"/>
  <Override PartName="/ppt/slideLayouts/slideLayout2686.xml" ContentType="application/vnd.openxmlformats-officedocument.presentationml.slideLayout+xml"/>
  <Override PartName="/ppt/slideLayouts/slideLayout2687.xml" ContentType="application/vnd.openxmlformats-officedocument.presentationml.slideLayout+xml"/>
  <Override PartName="/ppt/slideLayouts/slideLayout2688.xml" ContentType="application/vnd.openxmlformats-officedocument.presentationml.slideLayout+xml"/>
  <Override PartName="/ppt/slideLayouts/slideLayout2689.xml" ContentType="application/vnd.openxmlformats-officedocument.presentationml.slideLayout+xml"/>
  <Override PartName="/ppt/slideLayouts/slideLayout2690.xml" ContentType="application/vnd.openxmlformats-officedocument.presentationml.slideLayout+xml"/>
  <Override PartName="/ppt/slideLayouts/slideLayout2691.xml" ContentType="application/vnd.openxmlformats-officedocument.presentationml.slideLayout+xml"/>
  <Override PartName="/ppt/slideLayouts/slideLayout2692.xml" ContentType="application/vnd.openxmlformats-officedocument.presentationml.slideLayout+xml"/>
  <Override PartName="/ppt/slideLayouts/slideLayout2693.xml" ContentType="application/vnd.openxmlformats-officedocument.presentationml.slideLayout+xml"/>
  <Override PartName="/ppt/slideLayouts/slideLayout2694.xml" ContentType="application/vnd.openxmlformats-officedocument.presentationml.slideLayout+xml"/>
  <Override PartName="/ppt/slideLayouts/slideLayout2695.xml" ContentType="application/vnd.openxmlformats-officedocument.presentationml.slideLayout+xml"/>
  <Override PartName="/ppt/slideLayouts/slideLayout2696.xml" ContentType="application/vnd.openxmlformats-officedocument.presentationml.slideLayout+xml"/>
  <Override PartName="/ppt/slideLayouts/slideLayout2697.xml" ContentType="application/vnd.openxmlformats-officedocument.presentationml.slideLayout+xml"/>
  <Override PartName="/ppt/slideLayouts/slideLayout2698.xml" ContentType="application/vnd.openxmlformats-officedocument.presentationml.slideLayout+xml"/>
  <Override PartName="/ppt/slideLayouts/slideLayout2699.xml" ContentType="application/vnd.openxmlformats-officedocument.presentationml.slideLayout+xml"/>
  <Override PartName="/ppt/slideLayouts/slideLayout2700.xml" ContentType="application/vnd.openxmlformats-officedocument.presentationml.slideLayout+xml"/>
  <Override PartName="/ppt/slideLayouts/slideLayout2701.xml" ContentType="application/vnd.openxmlformats-officedocument.presentationml.slideLayout+xml"/>
  <Override PartName="/ppt/slideLayouts/slideLayout2702.xml" ContentType="application/vnd.openxmlformats-officedocument.presentationml.slideLayout+xml"/>
  <Override PartName="/ppt/slideLayouts/slideLayout2703.xml" ContentType="application/vnd.openxmlformats-officedocument.presentationml.slideLayout+xml"/>
  <Override PartName="/ppt/slideLayouts/slideLayout2704.xml" ContentType="application/vnd.openxmlformats-officedocument.presentationml.slideLayout+xml"/>
  <Override PartName="/ppt/slideLayouts/slideLayout2705.xml" ContentType="application/vnd.openxmlformats-officedocument.presentationml.slideLayout+xml"/>
  <Override PartName="/ppt/theme/theme13.xml" ContentType="application/vnd.openxmlformats-officedocument.theme+xml"/>
  <Override PartName="/ppt/slideLayouts/slideLayout2706.xml" ContentType="application/vnd.openxmlformats-officedocument.presentationml.slideLayout+xml"/>
  <Override PartName="/ppt/slideLayouts/slideLayout2707.xml" ContentType="application/vnd.openxmlformats-officedocument.presentationml.slideLayout+xml"/>
  <Override PartName="/ppt/slideLayouts/slideLayout2708.xml" ContentType="application/vnd.openxmlformats-officedocument.presentationml.slideLayout+xml"/>
  <Override PartName="/ppt/slideLayouts/slideLayout2709.xml" ContentType="application/vnd.openxmlformats-officedocument.presentationml.slideLayout+xml"/>
  <Override PartName="/ppt/slideLayouts/slideLayout2710.xml" ContentType="application/vnd.openxmlformats-officedocument.presentationml.slideLayout+xml"/>
  <Override PartName="/ppt/slideLayouts/slideLayout2711.xml" ContentType="application/vnd.openxmlformats-officedocument.presentationml.slideLayout+xml"/>
  <Override PartName="/ppt/slideLayouts/slideLayout2712.xml" ContentType="application/vnd.openxmlformats-officedocument.presentationml.slideLayout+xml"/>
  <Override PartName="/ppt/slideLayouts/slideLayout2713.xml" ContentType="application/vnd.openxmlformats-officedocument.presentationml.slideLayout+xml"/>
  <Override PartName="/ppt/slideLayouts/slideLayout2714.xml" ContentType="application/vnd.openxmlformats-officedocument.presentationml.slideLayout+xml"/>
  <Override PartName="/ppt/slideLayouts/slideLayout2715.xml" ContentType="application/vnd.openxmlformats-officedocument.presentationml.slideLayout+xml"/>
  <Override PartName="/ppt/slideLayouts/slideLayout2716.xml" ContentType="application/vnd.openxmlformats-officedocument.presentationml.slideLayout+xml"/>
  <Override PartName="/ppt/slideLayouts/slideLayout2717.xml" ContentType="application/vnd.openxmlformats-officedocument.presentationml.slideLayout+xml"/>
  <Override PartName="/ppt/slideLayouts/slideLayout2718.xml" ContentType="application/vnd.openxmlformats-officedocument.presentationml.slideLayout+xml"/>
  <Override PartName="/ppt/slideLayouts/slideLayout2719.xml" ContentType="application/vnd.openxmlformats-officedocument.presentationml.slideLayout+xml"/>
  <Override PartName="/ppt/slideLayouts/slideLayout2720.xml" ContentType="application/vnd.openxmlformats-officedocument.presentationml.slideLayout+xml"/>
  <Override PartName="/ppt/slideLayouts/slideLayout2721.xml" ContentType="application/vnd.openxmlformats-officedocument.presentationml.slideLayout+xml"/>
  <Override PartName="/ppt/slideLayouts/slideLayout272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5248" r:id="rId2"/>
    <p:sldMasterId id="2147483695" r:id="rId3"/>
    <p:sldMasterId id="2147484230" r:id="rId4"/>
    <p:sldMasterId id="2147485365" r:id="rId5"/>
    <p:sldMasterId id="2147485559" r:id="rId6"/>
    <p:sldMasterId id="2147487184" r:id="rId7"/>
    <p:sldMasterId id="2147487196" r:id="rId8"/>
    <p:sldMasterId id="2147487484" r:id="rId9"/>
    <p:sldMasterId id="2147488179" r:id="rId10"/>
    <p:sldMasterId id="2147488465" r:id="rId11"/>
    <p:sldMasterId id="2147489211" r:id="rId12"/>
    <p:sldMasterId id="2147489219" r:id="rId13"/>
    <p:sldMasterId id="2147489562" r:id="rId14"/>
  </p:sldMasterIdLst>
  <p:notesMasterIdLst>
    <p:notesMasterId r:id="rId64"/>
  </p:notesMasterIdLst>
  <p:sldIdLst>
    <p:sldId id="257" r:id="rId15"/>
    <p:sldId id="266" r:id="rId16"/>
    <p:sldId id="283" r:id="rId17"/>
    <p:sldId id="9012" r:id="rId18"/>
    <p:sldId id="9021" r:id="rId19"/>
    <p:sldId id="261" r:id="rId20"/>
    <p:sldId id="311" r:id="rId21"/>
    <p:sldId id="293" r:id="rId22"/>
    <p:sldId id="312" r:id="rId23"/>
    <p:sldId id="305" r:id="rId24"/>
    <p:sldId id="296" r:id="rId25"/>
    <p:sldId id="314" r:id="rId26"/>
    <p:sldId id="2147480274" r:id="rId27"/>
    <p:sldId id="316" r:id="rId28"/>
    <p:sldId id="298" r:id="rId29"/>
    <p:sldId id="308" r:id="rId30"/>
    <p:sldId id="315" r:id="rId31"/>
    <p:sldId id="256" r:id="rId32"/>
    <p:sldId id="265" r:id="rId33"/>
    <p:sldId id="260" r:id="rId34"/>
    <p:sldId id="276" r:id="rId35"/>
    <p:sldId id="273" r:id="rId36"/>
    <p:sldId id="274" r:id="rId37"/>
    <p:sldId id="275" r:id="rId38"/>
    <p:sldId id="278" r:id="rId39"/>
    <p:sldId id="279" r:id="rId40"/>
    <p:sldId id="280" r:id="rId41"/>
    <p:sldId id="282" r:id="rId42"/>
    <p:sldId id="269" r:id="rId43"/>
    <p:sldId id="332" r:id="rId44"/>
    <p:sldId id="447" r:id="rId45"/>
    <p:sldId id="4330" r:id="rId46"/>
    <p:sldId id="2256" r:id="rId47"/>
    <p:sldId id="2258" r:id="rId48"/>
    <p:sldId id="4326" r:id="rId49"/>
    <p:sldId id="4327" r:id="rId50"/>
    <p:sldId id="4287" r:id="rId51"/>
    <p:sldId id="4328" r:id="rId52"/>
    <p:sldId id="4329" r:id="rId53"/>
    <p:sldId id="4331" r:id="rId54"/>
    <p:sldId id="9022" r:id="rId55"/>
    <p:sldId id="2147480282" r:id="rId56"/>
    <p:sldId id="9018" r:id="rId57"/>
    <p:sldId id="9024" r:id="rId58"/>
    <p:sldId id="9023" r:id="rId59"/>
    <p:sldId id="9026" r:id="rId60"/>
    <p:sldId id="301" r:id="rId61"/>
    <p:sldId id="9027" r:id="rId62"/>
    <p:sldId id="2515"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618264-D15E-4559-A649-A5776693848F}" v="5" dt="2026-06-01T16:40:24.862"/>
  </p1510:revLst>
</p1510:revInfo>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notesMaster" Target="notesMasters/notesMaster1.xml"/><Relationship Id="rId69"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heme" Target="theme/theme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Hannah Ainis" userId="116137a0-2af5-436b-85e1-74d9d3b30f2f" providerId="ADAL" clId="{6E039243-4417-4220-A582-B1623E3F270F}"/>
    <pc:docChg chg="undo custSel addSld delSld modSld delMainMaster modMainMaster">
      <pc:chgData name="Rebecca Hannah Ainis" userId="116137a0-2af5-436b-85e1-74d9d3b30f2f" providerId="ADAL" clId="{6E039243-4417-4220-A582-B1623E3F270F}" dt="2026-06-01T16:40:24.861" v="2982" actId="12100"/>
      <pc:docMkLst>
        <pc:docMk/>
      </pc:docMkLst>
      <pc:sldChg chg="add del">
        <pc:chgData name="Rebecca Hannah Ainis" userId="116137a0-2af5-436b-85e1-74d9d3b30f2f" providerId="ADAL" clId="{6E039243-4417-4220-A582-B1623E3F270F}" dt="2026-05-20T12:24:58.088" v="2806"/>
        <pc:sldMkLst>
          <pc:docMk/>
          <pc:sldMk cId="1372319330" sldId="256"/>
        </pc:sldMkLst>
      </pc:sldChg>
      <pc:sldChg chg="modSp mod modNotesTx">
        <pc:chgData name="Rebecca Hannah Ainis" userId="116137a0-2af5-436b-85e1-74d9d3b30f2f" providerId="ADAL" clId="{6E039243-4417-4220-A582-B1623E3F270F}" dt="2026-05-19T19:25:03.466" v="976" actId="20577"/>
        <pc:sldMkLst>
          <pc:docMk/>
          <pc:sldMk cId="735433055" sldId="257"/>
        </pc:sldMkLst>
        <pc:spChg chg="mod">
          <ac:chgData name="Rebecca Hannah Ainis" userId="116137a0-2af5-436b-85e1-74d9d3b30f2f" providerId="ADAL" clId="{6E039243-4417-4220-A582-B1623E3F270F}" dt="2026-05-19T19:23:11.300" v="853" actId="1076"/>
          <ac:spMkLst>
            <pc:docMk/>
            <pc:sldMk cId="735433055" sldId="257"/>
            <ac:spMk id="1511" creationId="{00000000-0000-0000-0000-000000000000}"/>
          </ac:spMkLst>
        </pc:spChg>
      </pc:sldChg>
      <pc:sldChg chg="delSp modSp add del mod">
        <pc:chgData name="Rebecca Hannah Ainis" userId="116137a0-2af5-436b-85e1-74d9d3b30f2f" providerId="ADAL" clId="{6E039243-4417-4220-A582-B1623E3F270F}" dt="2026-06-01T16:38:10.737" v="2813" actId="478"/>
        <pc:sldMkLst>
          <pc:docMk/>
          <pc:sldMk cId="540436934" sldId="260"/>
        </pc:sldMkLst>
        <pc:spChg chg="mod">
          <ac:chgData name="Rebecca Hannah Ainis" userId="116137a0-2af5-436b-85e1-74d9d3b30f2f" providerId="ADAL" clId="{6E039243-4417-4220-A582-B1623E3F270F}" dt="2026-05-20T12:24:57.922" v="2805"/>
          <ac:spMkLst>
            <pc:docMk/>
            <pc:sldMk cId="540436934" sldId="260"/>
            <ac:spMk id="2" creationId="{237A2825-EBC6-4355-BA82-6DFB9F45B336}"/>
          </ac:spMkLst>
        </pc:spChg>
        <pc:picChg chg="del">
          <ac:chgData name="Rebecca Hannah Ainis" userId="116137a0-2af5-436b-85e1-74d9d3b30f2f" providerId="ADAL" clId="{6E039243-4417-4220-A582-B1623E3F270F}" dt="2026-06-01T16:38:10.737" v="2813" actId="478"/>
          <ac:picMkLst>
            <pc:docMk/>
            <pc:sldMk cId="540436934" sldId="260"/>
            <ac:picMk id="8" creationId="{C54927FA-4102-224F-BEA8-E29ED3617C5B}"/>
          </ac:picMkLst>
        </pc:picChg>
      </pc:sldChg>
      <pc:sldChg chg="delSp modSp add del mod">
        <pc:chgData name="Rebecca Hannah Ainis" userId="116137a0-2af5-436b-85e1-74d9d3b30f2f" providerId="ADAL" clId="{6E039243-4417-4220-A582-B1623E3F270F}" dt="2026-06-01T16:37:11.114" v="2807" actId="478"/>
        <pc:sldMkLst>
          <pc:docMk/>
          <pc:sldMk cId="3058103547" sldId="261"/>
        </pc:sldMkLst>
        <pc:spChg chg="mod">
          <ac:chgData name="Rebecca Hannah Ainis" userId="116137a0-2af5-436b-85e1-74d9d3b30f2f" providerId="ADAL" clId="{6E039243-4417-4220-A582-B1623E3F270F}" dt="2026-05-19T19:04:38.058" v="138"/>
          <ac:spMkLst>
            <pc:docMk/>
            <pc:sldMk cId="3058103547" sldId="261"/>
            <ac:spMk id="5" creationId="{8D7835F5-2356-897E-98A9-0AE55B2C462E}"/>
          </ac:spMkLst>
        </pc:spChg>
        <pc:picChg chg="del">
          <ac:chgData name="Rebecca Hannah Ainis" userId="116137a0-2af5-436b-85e1-74d9d3b30f2f" providerId="ADAL" clId="{6E039243-4417-4220-A582-B1623E3F270F}" dt="2026-06-01T16:37:11.114" v="2807" actId="478"/>
          <ac:picMkLst>
            <pc:docMk/>
            <pc:sldMk cId="3058103547" sldId="261"/>
            <ac:picMk id="1028" creationId="{584274B4-D54A-15E6-DF62-E90FF4E23AD1}"/>
          </ac:picMkLst>
        </pc:picChg>
      </pc:sldChg>
      <pc:sldChg chg="add del">
        <pc:chgData name="Rebecca Hannah Ainis" userId="116137a0-2af5-436b-85e1-74d9d3b30f2f" providerId="ADAL" clId="{6E039243-4417-4220-A582-B1623E3F270F}" dt="2026-05-20T12:24:58.088" v="2806"/>
        <pc:sldMkLst>
          <pc:docMk/>
          <pc:sldMk cId="1581328282" sldId="265"/>
        </pc:sldMkLst>
      </pc:sldChg>
      <pc:sldChg chg="modSp mod modNotesTx">
        <pc:chgData name="Rebecca Hannah Ainis" userId="116137a0-2af5-436b-85e1-74d9d3b30f2f" providerId="ADAL" clId="{6E039243-4417-4220-A582-B1623E3F270F}" dt="2026-05-19T19:26:15.759" v="1186" actId="20577"/>
        <pc:sldMkLst>
          <pc:docMk/>
          <pc:sldMk cId="0" sldId="266"/>
        </pc:sldMkLst>
        <pc:spChg chg="mod">
          <ac:chgData name="Rebecca Hannah Ainis" userId="116137a0-2af5-436b-85e1-74d9d3b30f2f" providerId="ADAL" clId="{6E039243-4417-4220-A582-B1623E3F270F}" dt="2026-05-19T19:26:03.337" v="1184" actId="113"/>
          <ac:spMkLst>
            <pc:docMk/>
            <pc:sldMk cId="0" sldId="266"/>
            <ac:spMk id="10" creationId="{DA3F1245-2E0C-4884-A8BE-D2C0DFAB9F40}"/>
          </ac:spMkLst>
        </pc:spChg>
      </pc:sldChg>
      <pc:sldChg chg="add del">
        <pc:chgData name="Rebecca Hannah Ainis" userId="116137a0-2af5-436b-85e1-74d9d3b30f2f" providerId="ADAL" clId="{6E039243-4417-4220-A582-B1623E3F270F}" dt="2026-05-20T12:24:58.088" v="2806"/>
        <pc:sldMkLst>
          <pc:docMk/>
          <pc:sldMk cId="222478778" sldId="269"/>
        </pc:sldMkLst>
      </pc:sldChg>
      <pc:sldChg chg="add del">
        <pc:chgData name="Rebecca Hannah Ainis" userId="116137a0-2af5-436b-85e1-74d9d3b30f2f" providerId="ADAL" clId="{6E039243-4417-4220-A582-B1623E3F270F}" dt="2026-05-20T12:24:58.088" v="2806"/>
        <pc:sldMkLst>
          <pc:docMk/>
          <pc:sldMk cId="1916430670" sldId="273"/>
        </pc:sldMkLst>
      </pc:sldChg>
      <pc:sldChg chg="addSp delSp modSp add del mod">
        <pc:chgData name="Rebecca Hannah Ainis" userId="116137a0-2af5-436b-85e1-74d9d3b30f2f" providerId="ADAL" clId="{6E039243-4417-4220-A582-B1623E3F270F}" dt="2026-06-01T16:37:46.512" v="2812" actId="478"/>
        <pc:sldMkLst>
          <pc:docMk/>
          <pc:sldMk cId="526953424" sldId="274"/>
        </pc:sldMkLst>
        <pc:spChg chg="mod">
          <ac:chgData name="Rebecca Hannah Ainis" userId="116137a0-2af5-436b-85e1-74d9d3b30f2f" providerId="ADAL" clId="{6E039243-4417-4220-A582-B1623E3F270F}" dt="2026-05-20T12:24:57.922" v="2805"/>
          <ac:spMkLst>
            <pc:docMk/>
            <pc:sldMk cId="526953424" sldId="274"/>
            <ac:spMk id="4" creationId="{3F536D29-E140-B16A-FD25-037CE4D389A2}"/>
          </ac:spMkLst>
        </pc:spChg>
        <pc:picChg chg="add del">
          <ac:chgData name="Rebecca Hannah Ainis" userId="116137a0-2af5-436b-85e1-74d9d3b30f2f" providerId="ADAL" clId="{6E039243-4417-4220-A582-B1623E3F270F}" dt="2026-06-01T16:37:46.512" v="2812" actId="478"/>
          <ac:picMkLst>
            <pc:docMk/>
            <pc:sldMk cId="526953424" sldId="274"/>
            <ac:picMk id="10" creationId="{FC1D6CC1-D78F-8922-4101-7E2AE7ABFB71}"/>
          </ac:picMkLst>
        </pc:picChg>
      </pc:sldChg>
      <pc:sldChg chg="add del">
        <pc:chgData name="Rebecca Hannah Ainis" userId="116137a0-2af5-436b-85e1-74d9d3b30f2f" providerId="ADAL" clId="{6E039243-4417-4220-A582-B1623E3F270F}" dt="2026-05-20T12:24:58.088" v="2806"/>
        <pc:sldMkLst>
          <pc:docMk/>
          <pc:sldMk cId="3567221335" sldId="275"/>
        </pc:sldMkLst>
      </pc:sldChg>
      <pc:sldChg chg="add del">
        <pc:chgData name="Rebecca Hannah Ainis" userId="116137a0-2af5-436b-85e1-74d9d3b30f2f" providerId="ADAL" clId="{6E039243-4417-4220-A582-B1623E3F270F}" dt="2026-05-20T12:24:58.088" v="2806"/>
        <pc:sldMkLst>
          <pc:docMk/>
          <pc:sldMk cId="3759198522" sldId="276"/>
        </pc:sldMkLst>
      </pc:sldChg>
      <pc:sldChg chg="modSp add del mod">
        <pc:chgData name="Rebecca Hannah Ainis" userId="116137a0-2af5-436b-85e1-74d9d3b30f2f" providerId="ADAL" clId="{6E039243-4417-4220-A582-B1623E3F270F}" dt="2026-05-20T12:24:58.088" v="2806"/>
        <pc:sldMkLst>
          <pc:docMk/>
          <pc:sldMk cId="1222158205" sldId="278"/>
        </pc:sldMkLst>
        <pc:spChg chg="mod">
          <ac:chgData name="Rebecca Hannah Ainis" userId="116137a0-2af5-436b-85e1-74d9d3b30f2f" providerId="ADAL" clId="{6E039243-4417-4220-A582-B1623E3F270F}" dt="2026-05-20T12:24:57.922" v="2805"/>
          <ac:spMkLst>
            <pc:docMk/>
            <pc:sldMk cId="1222158205" sldId="278"/>
            <ac:spMk id="2" creationId="{D31968DB-0C75-3BF5-B8DD-EB9A2F4A2016}"/>
          </ac:spMkLst>
        </pc:spChg>
      </pc:sldChg>
      <pc:sldChg chg="modSp add del mod">
        <pc:chgData name="Rebecca Hannah Ainis" userId="116137a0-2af5-436b-85e1-74d9d3b30f2f" providerId="ADAL" clId="{6E039243-4417-4220-A582-B1623E3F270F}" dt="2026-05-20T12:24:58.088" v="2806"/>
        <pc:sldMkLst>
          <pc:docMk/>
          <pc:sldMk cId="1229072347" sldId="279"/>
        </pc:sldMkLst>
        <pc:spChg chg="mod">
          <ac:chgData name="Rebecca Hannah Ainis" userId="116137a0-2af5-436b-85e1-74d9d3b30f2f" providerId="ADAL" clId="{6E039243-4417-4220-A582-B1623E3F270F}" dt="2026-05-20T12:24:57.922" v="2805"/>
          <ac:spMkLst>
            <pc:docMk/>
            <pc:sldMk cId="1229072347" sldId="279"/>
            <ac:spMk id="2" creationId="{D3ABBC5F-01D7-C8E4-A1CE-B823E67BD9E3}"/>
          </ac:spMkLst>
        </pc:spChg>
      </pc:sldChg>
      <pc:sldChg chg="modSp add del mod">
        <pc:chgData name="Rebecca Hannah Ainis" userId="116137a0-2af5-436b-85e1-74d9d3b30f2f" providerId="ADAL" clId="{6E039243-4417-4220-A582-B1623E3F270F}" dt="2026-05-20T12:24:58.088" v="2806"/>
        <pc:sldMkLst>
          <pc:docMk/>
          <pc:sldMk cId="1051858856" sldId="280"/>
        </pc:sldMkLst>
        <pc:spChg chg="mod">
          <ac:chgData name="Rebecca Hannah Ainis" userId="116137a0-2af5-436b-85e1-74d9d3b30f2f" providerId="ADAL" clId="{6E039243-4417-4220-A582-B1623E3F270F}" dt="2026-05-20T12:24:57.922" v="2805"/>
          <ac:spMkLst>
            <pc:docMk/>
            <pc:sldMk cId="1051858856" sldId="280"/>
            <ac:spMk id="4" creationId="{E2515FBE-85A7-F7E6-6B2C-F084434F2110}"/>
          </ac:spMkLst>
        </pc:spChg>
      </pc:sldChg>
      <pc:sldChg chg="add del">
        <pc:chgData name="Rebecca Hannah Ainis" userId="116137a0-2af5-436b-85e1-74d9d3b30f2f" providerId="ADAL" clId="{6E039243-4417-4220-A582-B1623E3F270F}" dt="2026-05-20T12:24:58.088" v="2806"/>
        <pc:sldMkLst>
          <pc:docMk/>
          <pc:sldMk cId="3480004115" sldId="282"/>
        </pc:sldMkLst>
      </pc:sldChg>
      <pc:sldChg chg="modSp mod modNotesTx">
        <pc:chgData name="Rebecca Hannah Ainis" userId="116137a0-2af5-436b-85e1-74d9d3b30f2f" providerId="ADAL" clId="{6E039243-4417-4220-A582-B1623E3F270F}" dt="2026-05-20T00:31:47.394" v="2780" actId="20577"/>
        <pc:sldMkLst>
          <pc:docMk/>
          <pc:sldMk cId="0" sldId="283"/>
        </pc:sldMkLst>
        <pc:spChg chg="mod">
          <ac:chgData name="Rebecca Hannah Ainis" userId="116137a0-2af5-436b-85e1-74d9d3b30f2f" providerId="ADAL" clId="{6E039243-4417-4220-A582-B1623E3F270F}" dt="2026-05-19T23:54:46.411" v="2777" actId="20577"/>
          <ac:spMkLst>
            <pc:docMk/>
            <pc:sldMk cId="0" sldId="283"/>
            <ac:spMk id="24339" creationId="{00000000-0000-0000-0000-000000000000}"/>
          </ac:spMkLst>
        </pc:spChg>
        <pc:spChg chg="mod">
          <ac:chgData name="Rebecca Hannah Ainis" userId="116137a0-2af5-436b-85e1-74d9d3b30f2f" providerId="ADAL" clId="{6E039243-4417-4220-A582-B1623E3F270F}" dt="2026-05-20T00:31:47.394" v="2780" actId="20577"/>
          <ac:spMkLst>
            <pc:docMk/>
            <pc:sldMk cId="0" sldId="283"/>
            <ac:spMk id="24342" creationId="{00000000-0000-0000-0000-000000000000}"/>
          </ac:spMkLst>
        </pc:spChg>
      </pc:sldChg>
      <pc:sldChg chg="add del">
        <pc:chgData name="Rebecca Hannah Ainis" userId="116137a0-2af5-436b-85e1-74d9d3b30f2f" providerId="ADAL" clId="{6E039243-4417-4220-A582-B1623E3F270F}" dt="2026-05-19T19:04:38.331" v="139"/>
        <pc:sldMkLst>
          <pc:docMk/>
          <pc:sldMk cId="673310539" sldId="293"/>
        </pc:sldMkLst>
      </pc:sldChg>
      <pc:sldChg chg="add del">
        <pc:chgData name="Rebecca Hannah Ainis" userId="116137a0-2af5-436b-85e1-74d9d3b30f2f" providerId="ADAL" clId="{6E039243-4417-4220-A582-B1623E3F270F}" dt="2026-05-19T19:04:38.331" v="139"/>
        <pc:sldMkLst>
          <pc:docMk/>
          <pc:sldMk cId="2375466575" sldId="296"/>
        </pc:sldMkLst>
      </pc:sldChg>
      <pc:sldChg chg="modSp add del mod">
        <pc:chgData name="Rebecca Hannah Ainis" userId="116137a0-2af5-436b-85e1-74d9d3b30f2f" providerId="ADAL" clId="{6E039243-4417-4220-A582-B1623E3F270F}" dt="2026-05-19T19:04:38.331" v="139"/>
        <pc:sldMkLst>
          <pc:docMk/>
          <pc:sldMk cId="3188843792" sldId="298"/>
        </pc:sldMkLst>
        <pc:spChg chg="mod">
          <ac:chgData name="Rebecca Hannah Ainis" userId="116137a0-2af5-436b-85e1-74d9d3b30f2f" providerId="ADAL" clId="{6E039243-4417-4220-A582-B1623E3F270F}" dt="2026-05-19T19:04:38.058" v="138"/>
          <ac:spMkLst>
            <pc:docMk/>
            <pc:sldMk cId="3188843792" sldId="298"/>
            <ac:spMk id="4" creationId="{5353E53C-B969-ED4D-5A7C-C89FD4412C3F}"/>
          </ac:spMkLst>
        </pc:spChg>
      </pc:sldChg>
      <pc:sldChg chg="add del">
        <pc:chgData name="Rebecca Hannah Ainis" userId="116137a0-2af5-436b-85e1-74d9d3b30f2f" providerId="ADAL" clId="{6E039243-4417-4220-A582-B1623E3F270F}" dt="2026-05-19T19:04:38.331" v="139"/>
        <pc:sldMkLst>
          <pc:docMk/>
          <pc:sldMk cId="1852315326" sldId="305"/>
        </pc:sldMkLst>
      </pc:sldChg>
      <pc:sldChg chg="delSp modSp add del mod">
        <pc:chgData name="Rebecca Hannah Ainis" userId="116137a0-2af5-436b-85e1-74d9d3b30f2f" providerId="ADAL" clId="{6E039243-4417-4220-A582-B1623E3F270F}" dt="2026-06-01T16:38:15.347" v="2814" actId="478"/>
        <pc:sldMkLst>
          <pc:docMk/>
          <pc:sldMk cId="2357282592" sldId="308"/>
        </pc:sldMkLst>
        <pc:spChg chg="mod">
          <ac:chgData name="Rebecca Hannah Ainis" userId="116137a0-2af5-436b-85e1-74d9d3b30f2f" providerId="ADAL" clId="{6E039243-4417-4220-A582-B1623E3F270F}" dt="2026-05-20T02:46:06.369" v="2792" actId="20577"/>
          <ac:spMkLst>
            <pc:docMk/>
            <pc:sldMk cId="2357282592" sldId="308"/>
            <ac:spMk id="4" creationId="{78D02419-E00C-DB17-A420-08433E31F698}"/>
          </ac:spMkLst>
        </pc:spChg>
        <pc:picChg chg="del">
          <ac:chgData name="Rebecca Hannah Ainis" userId="116137a0-2af5-436b-85e1-74d9d3b30f2f" providerId="ADAL" clId="{6E039243-4417-4220-A582-B1623E3F270F}" dt="2026-06-01T16:38:15.347" v="2814" actId="478"/>
          <ac:picMkLst>
            <pc:docMk/>
            <pc:sldMk cId="2357282592" sldId="308"/>
            <ac:picMk id="12" creationId="{DDA61460-746C-836B-825B-53E7550D8243}"/>
          </ac:picMkLst>
        </pc:picChg>
      </pc:sldChg>
      <pc:sldChg chg="delSp add del mod">
        <pc:chgData name="Rebecca Hannah Ainis" userId="116137a0-2af5-436b-85e1-74d9d3b30f2f" providerId="ADAL" clId="{6E039243-4417-4220-A582-B1623E3F270F}" dt="2026-06-01T16:37:16.263" v="2808" actId="478"/>
        <pc:sldMkLst>
          <pc:docMk/>
          <pc:sldMk cId="2218921294" sldId="311"/>
        </pc:sldMkLst>
        <pc:picChg chg="del">
          <ac:chgData name="Rebecca Hannah Ainis" userId="116137a0-2af5-436b-85e1-74d9d3b30f2f" providerId="ADAL" clId="{6E039243-4417-4220-A582-B1623E3F270F}" dt="2026-06-01T16:37:16.263" v="2808" actId="478"/>
          <ac:picMkLst>
            <pc:docMk/>
            <pc:sldMk cId="2218921294" sldId="311"/>
            <ac:picMk id="11" creationId="{6A519C26-7A66-DFCE-0441-6DB9D559DDD4}"/>
          </ac:picMkLst>
        </pc:picChg>
      </pc:sldChg>
      <pc:sldChg chg="add del">
        <pc:chgData name="Rebecca Hannah Ainis" userId="116137a0-2af5-436b-85e1-74d9d3b30f2f" providerId="ADAL" clId="{6E039243-4417-4220-A582-B1623E3F270F}" dt="2026-05-19T19:04:38.331" v="139"/>
        <pc:sldMkLst>
          <pc:docMk/>
          <pc:sldMk cId="4106542122" sldId="312"/>
        </pc:sldMkLst>
      </pc:sldChg>
      <pc:sldChg chg="addSp delSp modSp add del mod">
        <pc:chgData name="Rebecca Hannah Ainis" userId="116137a0-2af5-436b-85e1-74d9d3b30f2f" providerId="ADAL" clId="{6E039243-4417-4220-A582-B1623E3F270F}" dt="2026-06-01T16:40:24.861" v="2982" actId="12100"/>
        <pc:sldMkLst>
          <pc:docMk/>
          <pc:sldMk cId="4189623647" sldId="314"/>
        </pc:sldMkLst>
        <pc:spChg chg="mod">
          <ac:chgData name="Rebecca Hannah Ainis" userId="116137a0-2af5-436b-85e1-74d9d3b30f2f" providerId="ADAL" clId="{6E039243-4417-4220-A582-B1623E3F270F}" dt="2026-05-19T19:05:19.904" v="143" actId="20577"/>
          <ac:spMkLst>
            <pc:docMk/>
            <pc:sldMk cId="4189623647" sldId="314"/>
            <ac:spMk id="12" creationId="{7F358454-4672-6476-E3AE-BC1822DE598F}"/>
          </ac:spMkLst>
        </pc:spChg>
        <pc:graphicFrameChg chg="add mod modGraphic">
          <ac:chgData name="Rebecca Hannah Ainis" userId="116137a0-2af5-436b-85e1-74d9d3b30f2f" providerId="ADAL" clId="{6E039243-4417-4220-A582-B1623E3F270F}" dt="2026-06-01T16:40:24.861" v="2982" actId="12100"/>
          <ac:graphicFrameMkLst>
            <pc:docMk/>
            <pc:sldMk cId="4189623647" sldId="314"/>
            <ac:graphicFrameMk id="3" creationId="{FDE46FC1-B374-EFD8-A662-C6872A08514D}"/>
          </ac:graphicFrameMkLst>
        </pc:graphicFrameChg>
        <pc:picChg chg="del mod">
          <ac:chgData name="Rebecca Hannah Ainis" userId="116137a0-2af5-436b-85e1-74d9d3b30f2f" providerId="ADAL" clId="{6E039243-4417-4220-A582-B1623E3F270F}" dt="2026-06-01T16:39:20.664" v="2848" actId="478"/>
          <ac:picMkLst>
            <pc:docMk/>
            <pc:sldMk cId="4189623647" sldId="314"/>
            <ac:picMk id="4" creationId="{8B0A91FC-2002-3BAD-EEA1-D2F42F40FB2A}"/>
          </ac:picMkLst>
        </pc:picChg>
      </pc:sldChg>
      <pc:sldChg chg="add del">
        <pc:chgData name="Rebecca Hannah Ainis" userId="116137a0-2af5-436b-85e1-74d9d3b30f2f" providerId="ADAL" clId="{6E039243-4417-4220-A582-B1623E3F270F}" dt="2026-05-19T19:04:38.331" v="139"/>
        <pc:sldMkLst>
          <pc:docMk/>
          <pc:sldMk cId="1355868834" sldId="315"/>
        </pc:sldMkLst>
      </pc:sldChg>
      <pc:sldChg chg="add del">
        <pc:chgData name="Rebecca Hannah Ainis" userId="116137a0-2af5-436b-85e1-74d9d3b30f2f" providerId="ADAL" clId="{6E039243-4417-4220-A582-B1623E3F270F}" dt="2026-05-19T19:04:38.331" v="139"/>
        <pc:sldMkLst>
          <pc:docMk/>
          <pc:sldMk cId="2939804409" sldId="316"/>
        </pc:sldMkLst>
      </pc:sldChg>
      <pc:sldChg chg="add del">
        <pc:chgData name="Rebecca Hannah Ainis" userId="116137a0-2af5-436b-85e1-74d9d3b30f2f" providerId="ADAL" clId="{6E039243-4417-4220-A582-B1623E3F270F}" dt="2026-05-19T14:10:38.783" v="17"/>
        <pc:sldMkLst>
          <pc:docMk/>
          <pc:sldMk cId="4008736932" sldId="332"/>
        </pc:sldMkLst>
      </pc:sldChg>
      <pc:sldChg chg="modSp add del mod">
        <pc:chgData name="Rebecca Hannah Ainis" userId="116137a0-2af5-436b-85e1-74d9d3b30f2f" providerId="ADAL" clId="{6E039243-4417-4220-A582-B1623E3F270F}" dt="2026-05-19T14:10:38.895" v="18" actId="27636"/>
        <pc:sldMkLst>
          <pc:docMk/>
          <pc:sldMk cId="692170403" sldId="447"/>
        </pc:sldMkLst>
        <pc:spChg chg="mod">
          <ac:chgData name="Rebecca Hannah Ainis" userId="116137a0-2af5-436b-85e1-74d9d3b30f2f" providerId="ADAL" clId="{6E039243-4417-4220-A582-B1623E3F270F}" dt="2026-05-19T14:10:38.895" v="18" actId="27636"/>
          <ac:spMkLst>
            <pc:docMk/>
            <pc:sldMk cId="692170403" sldId="447"/>
            <ac:spMk id="3" creationId="{00000000-0000-0000-0000-000000000000}"/>
          </ac:spMkLst>
        </pc:spChg>
      </pc:sldChg>
      <pc:sldChg chg="modSp add del mod">
        <pc:chgData name="Rebecca Hannah Ainis" userId="116137a0-2af5-436b-85e1-74d9d3b30f2f" providerId="ADAL" clId="{6E039243-4417-4220-A582-B1623E3F270F}" dt="2026-05-19T14:10:38.783" v="17"/>
        <pc:sldMkLst>
          <pc:docMk/>
          <pc:sldMk cId="2287872247" sldId="2256"/>
        </pc:sldMkLst>
        <pc:spChg chg="mod">
          <ac:chgData name="Rebecca Hannah Ainis" userId="116137a0-2af5-436b-85e1-74d9d3b30f2f" providerId="ADAL" clId="{6E039243-4417-4220-A582-B1623E3F270F}" dt="2026-05-19T14:10:38.723" v="16"/>
          <ac:spMkLst>
            <pc:docMk/>
            <pc:sldMk cId="2287872247" sldId="2256"/>
            <ac:spMk id="3" creationId="{6E7FF99C-9D6D-24DA-45C7-D24F9F0FB51C}"/>
          </ac:spMkLst>
        </pc:spChg>
      </pc:sldChg>
      <pc:sldChg chg="modSp add del mod">
        <pc:chgData name="Rebecca Hannah Ainis" userId="116137a0-2af5-436b-85e1-74d9d3b30f2f" providerId="ADAL" clId="{6E039243-4417-4220-A582-B1623E3F270F}" dt="2026-05-19T14:10:38.783" v="17"/>
        <pc:sldMkLst>
          <pc:docMk/>
          <pc:sldMk cId="996602323" sldId="2258"/>
        </pc:sldMkLst>
        <pc:spChg chg="mod">
          <ac:chgData name="Rebecca Hannah Ainis" userId="116137a0-2af5-436b-85e1-74d9d3b30f2f" providerId="ADAL" clId="{6E039243-4417-4220-A582-B1623E3F270F}" dt="2026-05-19T14:10:38.723" v="16"/>
          <ac:spMkLst>
            <pc:docMk/>
            <pc:sldMk cId="996602323" sldId="2258"/>
            <ac:spMk id="3" creationId="{6E7FF99C-9D6D-24DA-45C7-D24F9F0FB51C}"/>
          </ac:spMkLst>
        </pc:spChg>
      </pc:sldChg>
      <pc:sldChg chg="modSp add del mod">
        <pc:chgData name="Rebecca Hannah Ainis" userId="116137a0-2af5-436b-85e1-74d9d3b30f2f" providerId="ADAL" clId="{6E039243-4417-4220-A582-B1623E3F270F}" dt="2026-05-19T14:10:38.783" v="17"/>
        <pc:sldMkLst>
          <pc:docMk/>
          <pc:sldMk cId="1633553624" sldId="4287"/>
        </pc:sldMkLst>
        <pc:spChg chg="mod">
          <ac:chgData name="Rebecca Hannah Ainis" userId="116137a0-2af5-436b-85e1-74d9d3b30f2f" providerId="ADAL" clId="{6E039243-4417-4220-A582-B1623E3F270F}" dt="2026-05-19T14:10:38.723" v="16"/>
          <ac:spMkLst>
            <pc:docMk/>
            <pc:sldMk cId="1633553624" sldId="4287"/>
            <ac:spMk id="2" creationId="{21D33B8C-6D12-73E2-4AB3-B3A158D3264F}"/>
          </ac:spMkLst>
        </pc:spChg>
        <pc:spChg chg="mod">
          <ac:chgData name="Rebecca Hannah Ainis" userId="116137a0-2af5-436b-85e1-74d9d3b30f2f" providerId="ADAL" clId="{6E039243-4417-4220-A582-B1623E3F270F}" dt="2026-05-19T14:10:38.723" v="16"/>
          <ac:spMkLst>
            <pc:docMk/>
            <pc:sldMk cId="1633553624" sldId="4287"/>
            <ac:spMk id="3" creationId="{5E0D269F-B028-B045-A8D9-2744A518FA04}"/>
          </ac:spMkLst>
        </pc:spChg>
        <pc:spChg chg="mod">
          <ac:chgData name="Rebecca Hannah Ainis" userId="116137a0-2af5-436b-85e1-74d9d3b30f2f" providerId="ADAL" clId="{6E039243-4417-4220-A582-B1623E3F270F}" dt="2026-05-19T14:10:38.723" v="16"/>
          <ac:spMkLst>
            <pc:docMk/>
            <pc:sldMk cId="1633553624" sldId="4287"/>
            <ac:spMk id="6" creationId="{9D69CEAF-C4D9-0B9F-1A0C-E5E748D8DE6E}"/>
          </ac:spMkLst>
        </pc:spChg>
      </pc:sldChg>
      <pc:sldChg chg="modSp add del mod">
        <pc:chgData name="Rebecca Hannah Ainis" userId="116137a0-2af5-436b-85e1-74d9d3b30f2f" providerId="ADAL" clId="{6E039243-4417-4220-A582-B1623E3F270F}" dt="2026-05-19T14:10:38.960" v="20" actId="27636"/>
        <pc:sldMkLst>
          <pc:docMk/>
          <pc:sldMk cId="2390036022" sldId="4326"/>
        </pc:sldMkLst>
        <pc:spChg chg="mod">
          <ac:chgData name="Rebecca Hannah Ainis" userId="116137a0-2af5-436b-85e1-74d9d3b30f2f" providerId="ADAL" clId="{6E039243-4417-4220-A582-B1623E3F270F}" dt="2026-05-19T14:10:38.960" v="20" actId="27636"/>
          <ac:spMkLst>
            <pc:docMk/>
            <pc:sldMk cId="2390036022" sldId="4326"/>
            <ac:spMk id="3" creationId="{7DC37D89-5D8A-E197-677B-1FB9B50EDD6E}"/>
          </ac:spMkLst>
        </pc:spChg>
      </pc:sldChg>
      <pc:sldChg chg="modSp add del mod">
        <pc:chgData name="Rebecca Hannah Ainis" userId="116137a0-2af5-436b-85e1-74d9d3b30f2f" providerId="ADAL" clId="{6E039243-4417-4220-A582-B1623E3F270F}" dt="2026-05-19T14:10:38.977" v="21" actId="27636"/>
        <pc:sldMkLst>
          <pc:docMk/>
          <pc:sldMk cId="2920447891" sldId="4327"/>
        </pc:sldMkLst>
        <pc:spChg chg="mod">
          <ac:chgData name="Rebecca Hannah Ainis" userId="116137a0-2af5-436b-85e1-74d9d3b30f2f" providerId="ADAL" clId="{6E039243-4417-4220-A582-B1623E3F270F}" dt="2026-05-19T14:10:38.977" v="21" actId="27636"/>
          <ac:spMkLst>
            <pc:docMk/>
            <pc:sldMk cId="2920447891" sldId="4327"/>
            <ac:spMk id="2" creationId="{82BC09A3-2C8F-59C6-23B8-2770B92F4B7A}"/>
          </ac:spMkLst>
        </pc:spChg>
      </pc:sldChg>
      <pc:sldChg chg="modSp add del mod">
        <pc:chgData name="Rebecca Hannah Ainis" userId="116137a0-2af5-436b-85e1-74d9d3b30f2f" providerId="ADAL" clId="{6E039243-4417-4220-A582-B1623E3F270F}" dt="2026-05-19T14:10:38.783" v="17"/>
        <pc:sldMkLst>
          <pc:docMk/>
          <pc:sldMk cId="3287476970" sldId="4328"/>
        </pc:sldMkLst>
        <pc:spChg chg="mod">
          <ac:chgData name="Rebecca Hannah Ainis" userId="116137a0-2af5-436b-85e1-74d9d3b30f2f" providerId="ADAL" clId="{6E039243-4417-4220-A582-B1623E3F270F}" dt="2026-05-19T14:10:38.723" v="16"/>
          <ac:spMkLst>
            <pc:docMk/>
            <pc:sldMk cId="3287476970" sldId="4328"/>
            <ac:spMk id="2" creationId="{49F8F513-D684-723D-096D-180F43CCD7F4}"/>
          </ac:spMkLst>
        </pc:spChg>
        <pc:spChg chg="mod">
          <ac:chgData name="Rebecca Hannah Ainis" userId="116137a0-2af5-436b-85e1-74d9d3b30f2f" providerId="ADAL" clId="{6E039243-4417-4220-A582-B1623E3F270F}" dt="2026-05-19T14:10:38.723" v="16"/>
          <ac:spMkLst>
            <pc:docMk/>
            <pc:sldMk cId="3287476970" sldId="4328"/>
            <ac:spMk id="3" creationId="{B4139738-8D93-1FEF-3289-DC08A7E6167B}"/>
          </ac:spMkLst>
        </pc:spChg>
        <pc:spChg chg="mod">
          <ac:chgData name="Rebecca Hannah Ainis" userId="116137a0-2af5-436b-85e1-74d9d3b30f2f" providerId="ADAL" clId="{6E039243-4417-4220-A582-B1623E3F270F}" dt="2026-05-19T14:10:38.723" v="16"/>
          <ac:spMkLst>
            <pc:docMk/>
            <pc:sldMk cId="3287476970" sldId="4328"/>
            <ac:spMk id="4" creationId="{9D649FCA-DE6D-67A4-19B4-67FC20EB5970}"/>
          </ac:spMkLst>
        </pc:spChg>
      </pc:sldChg>
      <pc:sldChg chg="modSp add del mod">
        <pc:chgData name="Rebecca Hannah Ainis" userId="116137a0-2af5-436b-85e1-74d9d3b30f2f" providerId="ADAL" clId="{6E039243-4417-4220-A582-B1623E3F270F}" dt="2026-05-19T14:10:38.783" v="17"/>
        <pc:sldMkLst>
          <pc:docMk/>
          <pc:sldMk cId="2577791436" sldId="4329"/>
        </pc:sldMkLst>
        <pc:spChg chg="mod">
          <ac:chgData name="Rebecca Hannah Ainis" userId="116137a0-2af5-436b-85e1-74d9d3b30f2f" providerId="ADAL" clId="{6E039243-4417-4220-A582-B1623E3F270F}" dt="2026-05-19T14:10:38.723" v="16"/>
          <ac:spMkLst>
            <pc:docMk/>
            <pc:sldMk cId="2577791436" sldId="4329"/>
            <ac:spMk id="2" creationId="{34233E54-5DE8-9889-8104-96577F354A73}"/>
          </ac:spMkLst>
        </pc:spChg>
        <pc:spChg chg="mod">
          <ac:chgData name="Rebecca Hannah Ainis" userId="116137a0-2af5-436b-85e1-74d9d3b30f2f" providerId="ADAL" clId="{6E039243-4417-4220-A582-B1623E3F270F}" dt="2026-05-19T14:10:38.723" v="16"/>
          <ac:spMkLst>
            <pc:docMk/>
            <pc:sldMk cId="2577791436" sldId="4329"/>
            <ac:spMk id="6" creationId="{2F43E8F0-F5DC-8F28-BAFD-7B82B079A080}"/>
          </ac:spMkLst>
        </pc:spChg>
      </pc:sldChg>
      <pc:sldChg chg="modSp add del mod">
        <pc:chgData name="Rebecca Hannah Ainis" userId="116137a0-2af5-436b-85e1-74d9d3b30f2f" providerId="ADAL" clId="{6E039243-4417-4220-A582-B1623E3F270F}" dt="2026-05-19T14:10:38.907" v="19" actId="27636"/>
        <pc:sldMkLst>
          <pc:docMk/>
          <pc:sldMk cId="4082889224" sldId="4330"/>
        </pc:sldMkLst>
        <pc:spChg chg="mod">
          <ac:chgData name="Rebecca Hannah Ainis" userId="116137a0-2af5-436b-85e1-74d9d3b30f2f" providerId="ADAL" clId="{6E039243-4417-4220-A582-B1623E3F270F}" dt="2026-05-19T14:10:38.907" v="19" actId="27636"/>
          <ac:spMkLst>
            <pc:docMk/>
            <pc:sldMk cId="4082889224" sldId="4330"/>
            <ac:spMk id="2" creationId="{7370A941-B8C0-FE82-910E-24A856FCD1F9}"/>
          </ac:spMkLst>
        </pc:spChg>
      </pc:sldChg>
      <pc:sldChg chg="add del">
        <pc:chgData name="Rebecca Hannah Ainis" userId="116137a0-2af5-436b-85e1-74d9d3b30f2f" providerId="ADAL" clId="{6E039243-4417-4220-A582-B1623E3F270F}" dt="2026-05-19T14:10:38.783" v="17"/>
        <pc:sldMkLst>
          <pc:docMk/>
          <pc:sldMk cId="3062149661" sldId="4331"/>
        </pc:sldMkLst>
      </pc:sldChg>
      <pc:sldChg chg="modSp mod modNotesTx">
        <pc:chgData name="Rebecca Hannah Ainis" userId="116137a0-2af5-436b-85e1-74d9d3b30f2f" providerId="ADAL" clId="{6E039243-4417-4220-A582-B1623E3F270F}" dt="2026-05-19T23:56:40.494" v="2779" actId="20577"/>
        <pc:sldMkLst>
          <pc:docMk/>
          <pc:sldMk cId="51075404" sldId="9012"/>
        </pc:sldMkLst>
        <pc:spChg chg="mod">
          <ac:chgData name="Rebecca Hannah Ainis" userId="116137a0-2af5-436b-85e1-74d9d3b30f2f" providerId="ADAL" clId="{6E039243-4417-4220-A582-B1623E3F270F}" dt="2026-05-19T19:28:40.852" v="1761" actId="1076"/>
          <ac:spMkLst>
            <pc:docMk/>
            <pc:sldMk cId="51075404" sldId="9012"/>
            <ac:spMk id="26312" creationId="{0665C03C-ACE3-199C-3C17-25397DDD9B98}"/>
          </ac:spMkLst>
        </pc:spChg>
      </pc:sldChg>
      <pc:sldChg chg="addSp delSp modSp mod modNotesTx">
        <pc:chgData name="Rebecca Hannah Ainis" userId="116137a0-2af5-436b-85e1-74d9d3b30f2f" providerId="ADAL" clId="{6E039243-4417-4220-A582-B1623E3F270F}" dt="2026-05-19T19:37:23.519" v="2741" actId="20577"/>
        <pc:sldMkLst>
          <pc:docMk/>
          <pc:sldMk cId="3646803475" sldId="9021"/>
        </pc:sldMkLst>
        <pc:spChg chg="mod">
          <ac:chgData name="Rebecca Hannah Ainis" userId="116137a0-2af5-436b-85e1-74d9d3b30f2f" providerId="ADAL" clId="{6E039243-4417-4220-A582-B1623E3F270F}" dt="2026-05-19T14:11:12.412" v="25" actId="20577"/>
          <ac:spMkLst>
            <pc:docMk/>
            <pc:sldMk cId="3646803475" sldId="9021"/>
            <ac:spMk id="46" creationId="{805CF3B7-99A6-4FEE-874D-BD801BB1420C}"/>
          </ac:spMkLst>
        </pc:spChg>
        <pc:spChg chg="mod">
          <ac:chgData name="Rebecca Hannah Ainis" userId="116137a0-2af5-436b-85e1-74d9d3b30f2f" providerId="ADAL" clId="{6E039243-4417-4220-A582-B1623E3F270F}" dt="2026-05-19T19:10:11.140" v="198" actId="20577"/>
          <ac:spMkLst>
            <pc:docMk/>
            <pc:sldMk cId="3646803475" sldId="9021"/>
            <ac:spMk id="51" creationId="{BED41F00-2AFD-4FB9-979C-D373EA50B6A9}"/>
          </ac:spMkLst>
        </pc:spChg>
        <pc:spChg chg="mod">
          <ac:chgData name="Rebecca Hannah Ainis" userId="116137a0-2af5-436b-85e1-74d9d3b30f2f" providerId="ADAL" clId="{6E039243-4417-4220-A582-B1623E3F270F}" dt="2026-05-19T17:46:15.919" v="26" actId="114"/>
          <ac:spMkLst>
            <pc:docMk/>
            <pc:sldMk cId="3646803475" sldId="9021"/>
            <ac:spMk id="57" creationId="{C989EC77-FC5E-4E52-805F-E607FC5E53E4}"/>
          </ac:spMkLst>
        </pc:spChg>
        <pc:spChg chg="mod">
          <ac:chgData name="Rebecca Hannah Ainis" userId="116137a0-2af5-436b-85e1-74d9d3b30f2f" providerId="ADAL" clId="{6E039243-4417-4220-A582-B1623E3F270F}" dt="2026-05-19T19:08:08.904" v="187" actId="1036"/>
          <ac:spMkLst>
            <pc:docMk/>
            <pc:sldMk cId="3646803475" sldId="9021"/>
            <ac:spMk id="58" creationId="{7761B708-478B-43CB-BF3E-8C93E8910DD5}"/>
          </ac:spMkLst>
        </pc:spChg>
        <pc:spChg chg="mod">
          <ac:chgData name="Rebecca Hannah Ainis" userId="116137a0-2af5-436b-85e1-74d9d3b30f2f" providerId="ADAL" clId="{6E039243-4417-4220-A582-B1623E3F270F}" dt="2026-05-19T19:10:30.208" v="199" actId="20577"/>
          <ac:spMkLst>
            <pc:docMk/>
            <pc:sldMk cId="3646803475" sldId="9021"/>
            <ac:spMk id="62" creationId="{00000000-0000-0000-0000-000000000000}"/>
          </ac:spMkLst>
        </pc:spChg>
        <pc:picChg chg="add mod">
          <ac:chgData name="Rebecca Hannah Ainis" userId="116137a0-2af5-436b-85e1-74d9d3b30f2f" providerId="ADAL" clId="{6E039243-4417-4220-A582-B1623E3F270F}" dt="2026-05-19T19:09:39.215" v="191" actId="1582"/>
          <ac:picMkLst>
            <pc:docMk/>
            <pc:sldMk cId="3646803475" sldId="9021"/>
            <ac:picMk id="9" creationId="{21C9DE72-12CD-A057-993B-782F70ED9498}"/>
          </ac:picMkLst>
        </pc:picChg>
        <pc:picChg chg="add mod">
          <ac:chgData name="Rebecca Hannah Ainis" userId="116137a0-2af5-436b-85e1-74d9d3b30f2f" providerId="ADAL" clId="{6E039243-4417-4220-A582-B1623E3F270F}" dt="2026-05-19T19:09:48.741" v="193" actId="1582"/>
          <ac:picMkLst>
            <pc:docMk/>
            <pc:sldMk cId="3646803475" sldId="9021"/>
            <ac:picMk id="17" creationId="{CF1A943A-E575-10F6-A752-3978CD2C7EEA}"/>
          </ac:picMkLst>
        </pc:picChg>
        <pc:picChg chg="add mod">
          <ac:chgData name="Rebecca Hannah Ainis" userId="116137a0-2af5-436b-85e1-74d9d3b30f2f" providerId="ADAL" clId="{6E039243-4417-4220-A582-B1623E3F270F}" dt="2026-05-19T19:10:01.681" v="196" actId="1582"/>
          <ac:picMkLst>
            <pc:docMk/>
            <pc:sldMk cId="3646803475" sldId="9021"/>
            <ac:picMk id="19" creationId="{6DD13A13-AD53-ECEB-DB28-C139994A48AA}"/>
          </ac:picMkLst>
        </pc:picChg>
      </pc:sldChg>
      <pc:sldChg chg="mod modClrScheme chgLayout">
        <pc:chgData name="Rebecca Hannah Ainis" userId="116137a0-2af5-436b-85e1-74d9d3b30f2f" providerId="ADAL" clId="{6E039243-4417-4220-A582-B1623E3F270F}" dt="2026-05-19T14:11:04.891" v="24"/>
        <pc:sldMkLst>
          <pc:docMk/>
          <pc:sldMk cId="3716984926" sldId="9023"/>
        </pc:sldMkLst>
      </pc:sldChg>
      <pc:sldChg chg="modSp mod modClrScheme chgLayout">
        <pc:chgData name="Rebecca Hannah Ainis" userId="116137a0-2af5-436b-85e1-74d9d3b30f2f" providerId="ADAL" clId="{6E039243-4417-4220-A582-B1623E3F270F}" dt="2026-05-19T14:11:04.891" v="24"/>
        <pc:sldMkLst>
          <pc:docMk/>
          <pc:sldMk cId="1138912923" sldId="9027"/>
        </pc:sldMkLst>
        <pc:spChg chg="mod ord">
          <ac:chgData name="Rebecca Hannah Ainis" userId="116137a0-2af5-436b-85e1-74d9d3b30f2f" providerId="ADAL" clId="{6E039243-4417-4220-A582-B1623E3F270F}" dt="2026-05-19T14:11:04.891" v="24"/>
          <ac:spMkLst>
            <pc:docMk/>
            <pc:sldMk cId="1138912923" sldId="9027"/>
            <ac:spMk id="20528" creationId="{13218167-602C-4391-A8A2-1F6F76B87433}"/>
          </ac:spMkLst>
        </pc:spChg>
      </pc:sldChg>
      <pc:sldChg chg="add del">
        <pc:chgData name="Rebecca Hannah Ainis" userId="116137a0-2af5-436b-85e1-74d9d3b30f2f" providerId="ADAL" clId="{6E039243-4417-4220-A582-B1623E3F270F}" dt="2026-05-19T19:04:38.331" v="139"/>
        <pc:sldMkLst>
          <pc:docMk/>
          <pc:sldMk cId="3943237905" sldId="2147480274"/>
        </pc:sldMkLst>
      </pc:sldChg>
      <pc:sldChg chg="modSp add mod">
        <pc:chgData name="Rebecca Hannah Ainis" userId="116137a0-2af5-436b-85e1-74d9d3b30f2f" providerId="ADAL" clId="{6E039243-4417-4220-A582-B1623E3F270F}" dt="2026-05-20T02:53:16.275" v="2797" actId="14100"/>
        <pc:sldMkLst>
          <pc:docMk/>
          <pc:sldMk cId="1208006510" sldId="2147480282"/>
        </pc:sldMkLst>
        <pc:spChg chg="mod">
          <ac:chgData name="Rebecca Hannah Ainis" userId="116137a0-2af5-436b-85e1-74d9d3b30f2f" providerId="ADAL" clId="{6E039243-4417-4220-A582-B1623E3F270F}" dt="2026-05-20T02:53:16.275" v="2797" actId="14100"/>
          <ac:spMkLst>
            <pc:docMk/>
            <pc:sldMk cId="1208006510" sldId="2147480282"/>
            <ac:spMk id="6" creationId="{D31B47C1-8C34-1A21-9312-FE77920D568F}"/>
          </ac:spMkLst>
        </pc:spChg>
      </pc:sldChg>
      <pc:sldMasterChg chg="delSldLayout modSldLayout sldLayoutOrd">
        <pc:chgData name="Rebecca Hannah Ainis" userId="116137a0-2af5-436b-85e1-74d9d3b30f2f" providerId="ADAL" clId="{6E039243-4417-4220-A582-B1623E3F270F}" dt="2026-05-19T14:10:58.598" v="23"/>
        <pc:sldMasterMkLst>
          <pc:docMk/>
          <pc:sldMasterMk cId="0" sldId="2147485248"/>
        </pc:sldMasterMkLst>
        <pc:sldLayoutChg chg="modSp mod ord">
          <pc:chgData name="Rebecca Hannah Ainis" userId="116137a0-2af5-436b-85e1-74d9d3b30f2f" providerId="ADAL" clId="{6E039243-4417-4220-A582-B1623E3F270F}" dt="2026-05-19T14:10:51.979" v="22"/>
          <pc:sldLayoutMkLst>
            <pc:docMk/>
            <pc:sldMasterMk cId="0" sldId="2147485248"/>
            <pc:sldLayoutMk cId="1454990179" sldId="2147487772"/>
          </pc:sldLayoutMkLst>
          <pc:spChg chg="mod">
            <ac:chgData name="Rebecca Hannah Ainis" userId="116137a0-2af5-436b-85e1-74d9d3b30f2f" providerId="ADAL" clId="{6E039243-4417-4220-A582-B1623E3F270F}" dt="2026-05-19T14:10:51.979" v="22"/>
            <ac:spMkLst>
              <pc:docMk/>
              <pc:sldMasterMk cId="0" sldId="2147485248"/>
              <pc:sldLayoutMk cId="1454990179" sldId="2147487772"/>
              <ac:spMk id="60"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1454990179" sldId="2147487772"/>
              <ac:spMk id="61"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1454990179" sldId="2147487772"/>
              <ac:spMk id="62"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1454990179" sldId="2147487772"/>
              <ac:spMk id="6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0" sldId="2147485248"/>
            <pc:sldLayoutMk cId="2725123176" sldId="2147487804"/>
          </pc:sldLayoutMkLst>
          <pc:spChg chg="mod">
            <ac:chgData name="Rebecca Hannah Ainis" userId="116137a0-2af5-436b-85e1-74d9d3b30f2f" providerId="ADAL" clId="{6E039243-4417-4220-A582-B1623E3F270F}" dt="2026-05-19T14:10:51.979" v="22"/>
            <ac:spMkLst>
              <pc:docMk/>
              <pc:sldMasterMk cId="0" sldId="2147485248"/>
              <pc:sldLayoutMk cId="2725123176" sldId="2147487804"/>
              <ac:spMk id="450"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2725123176" sldId="2147487804"/>
              <ac:spMk id="451"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2725123176" sldId="2147487804"/>
              <ac:spMk id="452"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2725123176" sldId="2147487804"/>
              <ac:spMk id="45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0" sldId="2147485248"/>
            <pc:sldLayoutMk cId="2618512210" sldId="2147487889"/>
          </pc:sldLayoutMkLst>
          <pc:spChg chg="mod">
            <ac:chgData name="Rebecca Hannah Ainis" userId="116137a0-2af5-436b-85e1-74d9d3b30f2f" providerId="ADAL" clId="{6E039243-4417-4220-A582-B1623E3F270F}" dt="2026-05-19T14:10:51.979" v="22"/>
            <ac:spMkLst>
              <pc:docMk/>
              <pc:sldMasterMk cId="0" sldId="2147485248"/>
              <pc:sldLayoutMk cId="2618512210" sldId="2147487889"/>
              <ac:spMk id="49"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2618512210" sldId="2147487889"/>
              <ac:spMk id="50"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2618512210" sldId="2147487889"/>
              <ac:spMk id="51" creationId="{00000000-0000-0000-0000-000000000000}"/>
            </ac:spMkLst>
          </pc:spChg>
          <pc:spChg chg="mod">
            <ac:chgData name="Rebecca Hannah Ainis" userId="116137a0-2af5-436b-85e1-74d9d3b30f2f" providerId="ADAL" clId="{6E039243-4417-4220-A582-B1623E3F270F}" dt="2026-05-19T14:10:51.979" v="22"/>
            <ac:spMkLst>
              <pc:docMk/>
              <pc:sldMasterMk cId="0" sldId="2147485248"/>
              <pc:sldLayoutMk cId="2618512210" sldId="2147487889"/>
              <ac:spMk id="53" creationId="{00000000-0000-0000-0000-000000000000}"/>
            </ac:spMkLst>
          </pc:spChg>
        </pc:sldLayoutChg>
      </pc:sldMasterChg>
      <pc:sldMasterChg chg="delSldLayout modSldLayout sldLayoutOrd">
        <pc:chgData name="Rebecca Hannah Ainis" userId="116137a0-2af5-436b-85e1-74d9d3b30f2f" providerId="ADAL" clId="{6E039243-4417-4220-A582-B1623E3F270F}" dt="2026-06-01T16:37:38.593" v="2810"/>
        <pc:sldMasterMkLst>
          <pc:docMk/>
          <pc:sldMasterMk cId="1288455799" sldId="2147487484"/>
        </pc:sldMasterMkLst>
        <pc:sldLayoutChg chg="modSp mod ord">
          <pc:chgData name="Rebecca Hannah Ainis" userId="116137a0-2af5-436b-85e1-74d9d3b30f2f" providerId="ADAL" clId="{6E039243-4417-4220-A582-B1623E3F270F}" dt="2026-05-19T14:10:51.979" v="22"/>
          <pc:sldLayoutMkLst>
            <pc:docMk/>
            <pc:sldMasterMk cId="1288455799" sldId="2147487484"/>
            <pc:sldLayoutMk cId="4264016809" sldId="2147487899"/>
          </pc:sldLayoutMkLst>
          <pc:spChg chg="mod">
            <ac:chgData name="Rebecca Hannah Ainis" userId="116137a0-2af5-436b-85e1-74d9d3b30f2f" providerId="ADAL" clId="{6E039243-4417-4220-A582-B1623E3F270F}" dt="2026-05-19T14:10:51.979" v="22"/>
            <ac:spMkLst>
              <pc:docMk/>
              <pc:sldMasterMk cId="1288455799" sldId="2147487484"/>
              <pc:sldLayoutMk cId="4264016809" sldId="2147487899"/>
              <ac:spMk id="157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64016809" sldId="2147487899"/>
              <ac:spMk id="1571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524375087" sldId="2147487900"/>
          </pc:sldLayoutMkLst>
          <pc:spChg chg="mod">
            <ac:chgData name="Rebecca Hannah Ainis" userId="116137a0-2af5-436b-85e1-74d9d3b30f2f" providerId="ADAL" clId="{6E039243-4417-4220-A582-B1623E3F270F}" dt="2026-05-19T14:10:51.979" v="22"/>
            <ac:spMkLst>
              <pc:docMk/>
              <pc:sldMasterMk cId="1288455799" sldId="2147487484"/>
              <pc:sldLayoutMk cId="524375087" sldId="2147487900"/>
              <ac:spMk id="157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24375087" sldId="2147487900"/>
              <ac:spMk id="1572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24375087" sldId="2147487900"/>
              <ac:spMk id="1572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24375087" sldId="2147487900"/>
              <ac:spMk id="1572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289391754" sldId="2147487901"/>
          </pc:sldLayoutMkLst>
          <pc:spChg chg="mod">
            <ac:chgData name="Rebecca Hannah Ainis" userId="116137a0-2af5-436b-85e1-74d9d3b30f2f" providerId="ADAL" clId="{6E039243-4417-4220-A582-B1623E3F270F}" dt="2026-05-19T14:10:51.979" v="22"/>
            <ac:spMkLst>
              <pc:docMk/>
              <pc:sldMasterMk cId="1288455799" sldId="2147487484"/>
              <pc:sldLayoutMk cId="2289391754" sldId="2147487901"/>
              <ac:spMk id="157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289391754" sldId="2147487901"/>
              <ac:spMk id="1573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289391754" sldId="2147487901"/>
              <ac:spMk id="1573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289391754" sldId="2147487901"/>
              <ac:spMk id="1573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04319608" sldId="2147487903"/>
          </pc:sldLayoutMkLst>
          <pc:spChg chg="mod">
            <ac:chgData name="Rebecca Hannah Ainis" userId="116137a0-2af5-436b-85e1-74d9d3b30f2f" providerId="ADAL" clId="{6E039243-4417-4220-A582-B1623E3F270F}" dt="2026-05-19T14:10:51.979" v="22"/>
            <ac:spMkLst>
              <pc:docMk/>
              <pc:sldMasterMk cId="1288455799" sldId="2147487484"/>
              <pc:sldLayoutMk cId="2904319608" sldId="2147487903"/>
              <ac:spMk id="1574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04319608" sldId="2147487903"/>
              <ac:spMk id="157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04319608" sldId="2147487903"/>
              <ac:spMk id="157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04319608" sldId="2147487903"/>
              <ac:spMk id="157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04319608" sldId="2147487903"/>
              <ac:spMk id="1575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546357071" sldId="2147487904"/>
          </pc:sldLayoutMkLst>
          <pc:spChg chg="mod">
            <ac:chgData name="Rebecca Hannah Ainis" userId="116137a0-2af5-436b-85e1-74d9d3b30f2f" providerId="ADAL" clId="{6E039243-4417-4220-A582-B1623E3F270F}" dt="2026-05-19T14:10:51.979" v="22"/>
            <ac:spMkLst>
              <pc:docMk/>
              <pc:sldMasterMk cId="1288455799" sldId="2147487484"/>
              <pc:sldLayoutMk cId="546357071" sldId="2147487904"/>
              <ac:spMk id="157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46357071" sldId="2147487904"/>
              <ac:spMk id="157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46357071" sldId="2147487904"/>
              <ac:spMk id="1576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46357071" sldId="2147487904"/>
              <ac:spMk id="157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46357071" sldId="2147487904"/>
              <ac:spMk id="1576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812095731" sldId="2147487905"/>
          </pc:sldLayoutMkLst>
          <pc:spChg chg="mod">
            <ac:chgData name="Rebecca Hannah Ainis" userId="116137a0-2af5-436b-85e1-74d9d3b30f2f" providerId="ADAL" clId="{6E039243-4417-4220-A582-B1623E3F270F}" dt="2026-05-19T14:10:51.979" v="22"/>
            <ac:spMkLst>
              <pc:docMk/>
              <pc:sldMasterMk cId="1288455799" sldId="2147487484"/>
              <pc:sldLayoutMk cId="812095731" sldId="2147487905"/>
              <ac:spMk id="1577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12095731" sldId="2147487905"/>
              <ac:spMk id="157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12095731" sldId="2147487905"/>
              <ac:spMk id="1577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12095731" sldId="2147487905"/>
              <ac:spMk id="1577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94851622" sldId="2147487906"/>
          </pc:sldLayoutMkLst>
          <pc:spChg chg="mod">
            <ac:chgData name="Rebecca Hannah Ainis" userId="116137a0-2af5-436b-85e1-74d9d3b30f2f" providerId="ADAL" clId="{6E039243-4417-4220-A582-B1623E3F270F}" dt="2026-05-19T14:10:51.979" v="22"/>
            <ac:spMkLst>
              <pc:docMk/>
              <pc:sldMasterMk cId="1288455799" sldId="2147487484"/>
              <pc:sldLayoutMk cId="694851622" sldId="2147487906"/>
              <ac:spMk id="1578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592150617" sldId="2147487907"/>
          </pc:sldLayoutMkLst>
          <pc:spChg chg="mod">
            <ac:chgData name="Rebecca Hannah Ainis" userId="116137a0-2af5-436b-85e1-74d9d3b30f2f" providerId="ADAL" clId="{6E039243-4417-4220-A582-B1623E3F270F}" dt="2026-05-19T14:10:51.979" v="22"/>
            <ac:spMkLst>
              <pc:docMk/>
              <pc:sldMasterMk cId="1288455799" sldId="2147487484"/>
              <pc:sldLayoutMk cId="3592150617" sldId="2147487907"/>
              <ac:spMk id="157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92150617" sldId="2147487907"/>
              <ac:spMk id="157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92150617" sldId="2147487907"/>
              <ac:spMk id="157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92150617" sldId="2147487907"/>
              <ac:spMk id="1579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420855735" sldId="2147487909"/>
          </pc:sldLayoutMkLst>
          <pc:spChg chg="mod">
            <ac:chgData name="Rebecca Hannah Ainis" userId="116137a0-2af5-436b-85e1-74d9d3b30f2f" providerId="ADAL" clId="{6E039243-4417-4220-A582-B1623E3F270F}" dt="2026-05-19T14:10:51.979" v="22"/>
            <ac:spMkLst>
              <pc:docMk/>
              <pc:sldMasterMk cId="1288455799" sldId="2147487484"/>
              <pc:sldLayoutMk cId="1420855735" sldId="2147487909"/>
              <ac:spMk id="1581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420855735" sldId="2147487909"/>
              <ac:spMk id="158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420855735" sldId="2147487909"/>
              <ac:spMk id="158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420855735" sldId="2147487909"/>
              <ac:spMk id="1581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864944519" sldId="2147487912"/>
          </pc:sldLayoutMkLst>
          <pc:spChg chg="mod">
            <ac:chgData name="Rebecca Hannah Ainis" userId="116137a0-2af5-436b-85e1-74d9d3b30f2f" providerId="ADAL" clId="{6E039243-4417-4220-A582-B1623E3F270F}" dt="2026-05-19T14:10:51.979" v="22"/>
            <ac:spMkLst>
              <pc:docMk/>
              <pc:sldMasterMk cId="1288455799" sldId="2147487484"/>
              <pc:sldLayoutMk cId="2864944519" sldId="2147487912"/>
              <ac:spMk id="1583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910198093" sldId="2147487913"/>
          </pc:sldLayoutMkLst>
          <pc:spChg chg="mod">
            <ac:chgData name="Rebecca Hannah Ainis" userId="116137a0-2af5-436b-85e1-74d9d3b30f2f" providerId="ADAL" clId="{6E039243-4417-4220-A582-B1623E3F270F}" dt="2026-05-19T14:10:51.979" v="22"/>
            <ac:spMkLst>
              <pc:docMk/>
              <pc:sldMasterMk cId="1288455799" sldId="2147487484"/>
              <pc:sldLayoutMk cId="910198093" sldId="2147487913"/>
              <ac:spMk id="1584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10198093" sldId="2147487913"/>
              <ac:spMk id="1584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10198093" sldId="2147487913"/>
              <ac:spMk id="158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10198093" sldId="2147487913"/>
              <ac:spMk id="1584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975269049" sldId="2147487914"/>
          </pc:sldLayoutMkLst>
          <pc:spChg chg="mod">
            <ac:chgData name="Rebecca Hannah Ainis" userId="116137a0-2af5-436b-85e1-74d9d3b30f2f" providerId="ADAL" clId="{6E039243-4417-4220-A582-B1623E3F270F}" dt="2026-05-19T14:10:51.979" v="22"/>
            <ac:spMkLst>
              <pc:docMk/>
              <pc:sldMasterMk cId="1288455799" sldId="2147487484"/>
              <pc:sldLayoutMk cId="3975269049" sldId="2147487914"/>
              <ac:spMk id="158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5269049" sldId="2147487914"/>
              <ac:spMk id="1585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5269049" sldId="2147487914"/>
              <ac:spMk id="1586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5269049" sldId="2147487914"/>
              <ac:spMk id="1586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294377066" sldId="2147487915"/>
          </pc:sldLayoutMkLst>
          <pc:spChg chg="mod">
            <ac:chgData name="Rebecca Hannah Ainis" userId="116137a0-2af5-436b-85e1-74d9d3b30f2f" providerId="ADAL" clId="{6E039243-4417-4220-A582-B1623E3F270F}" dt="2026-05-19T14:10:51.979" v="22"/>
            <ac:spMkLst>
              <pc:docMk/>
              <pc:sldMasterMk cId="1288455799" sldId="2147487484"/>
              <pc:sldLayoutMk cId="3294377066" sldId="2147487915"/>
              <ac:spMk id="1586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94377066" sldId="2147487915"/>
              <ac:spMk id="158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94377066" sldId="2147487915"/>
              <ac:spMk id="1587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94377066" sldId="2147487915"/>
              <ac:spMk id="1587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94377066" sldId="2147487915"/>
              <ac:spMk id="1587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24928129" sldId="2147487916"/>
          </pc:sldLayoutMkLst>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24928129" sldId="2147487916"/>
              <ac:spMk id="1588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44289381" sldId="2147487917"/>
          </pc:sldLayoutMkLst>
          <pc:spChg chg="mod">
            <ac:chgData name="Rebecca Hannah Ainis" userId="116137a0-2af5-436b-85e1-74d9d3b30f2f" providerId="ADAL" clId="{6E039243-4417-4220-A582-B1623E3F270F}" dt="2026-05-19T14:10:51.979" v="22"/>
            <ac:spMkLst>
              <pc:docMk/>
              <pc:sldMasterMk cId="1288455799" sldId="2147487484"/>
              <pc:sldLayoutMk cId="444289381" sldId="2147487917"/>
              <ac:spMk id="158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44289381" sldId="2147487917"/>
              <ac:spMk id="1589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34081019" sldId="2147487918"/>
          </pc:sldLayoutMkLst>
          <pc:spChg chg="mod">
            <ac:chgData name="Rebecca Hannah Ainis" userId="116137a0-2af5-436b-85e1-74d9d3b30f2f" providerId="ADAL" clId="{6E039243-4417-4220-A582-B1623E3F270F}" dt="2026-05-19T14:10:51.979" v="22"/>
            <ac:spMkLst>
              <pc:docMk/>
              <pc:sldMasterMk cId="1288455799" sldId="2147487484"/>
              <pc:sldLayoutMk cId="2434081019" sldId="2147487918"/>
              <ac:spMk id="158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34081019" sldId="2147487918"/>
              <ac:spMk id="159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34081019" sldId="2147487918"/>
              <ac:spMk id="159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34081019" sldId="2147487918"/>
              <ac:spMk id="1590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32116027" sldId="2147487921"/>
          </pc:sldLayoutMkLst>
          <pc:spChg chg="mod">
            <ac:chgData name="Rebecca Hannah Ainis" userId="116137a0-2af5-436b-85e1-74d9d3b30f2f" providerId="ADAL" clId="{6E039243-4417-4220-A582-B1623E3F270F}" dt="2026-05-19T14:10:51.979" v="22"/>
            <ac:spMkLst>
              <pc:docMk/>
              <pc:sldMasterMk cId="1288455799" sldId="2147487484"/>
              <pc:sldLayoutMk cId="232116027" sldId="2147487921"/>
              <ac:spMk id="1592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164869646" sldId="2147487922"/>
          </pc:sldLayoutMkLst>
          <pc:spChg chg="mod">
            <ac:chgData name="Rebecca Hannah Ainis" userId="116137a0-2af5-436b-85e1-74d9d3b30f2f" providerId="ADAL" clId="{6E039243-4417-4220-A582-B1623E3F270F}" dt="2026-05-19T14:10:51.979" v="22"/>
            <ac:spMkLst>
              <pc:docMk/>
              <pc:sldMasterMk cId="1288455799" sldId="2147487484"/>
              <pc:sldLayoutMk cId="1164869646" sldId="2147487922"/>
              <ac:spMk id="159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64869646" sldId="2147487922"/>
              <ac:spMk id="159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64869646" sldId="2147487922"/>
              <ac:spMk id="1593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64869646" sldId="2147487922"/>
              <ac:spMk id="1593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67600741" sldId="2147487923"/>
          </pc:sldLayoutMkLst>
          <pc:spChg chg="mod">
            <ac:chgData name="Rebecca Hannah Ainis" userId="116137a0-2af5-436b-85e1-74d9d3b30f2f" providerId="ADAL" clId="{6E039243-4417-4220-A582-B1623E3F270F}" dt="2026-05-19T14:10:51.979" v="22"/>
            <ac:spMkLst>
              <pc:docMk/>
              <pc:sldMasterMk cId="1288455799" sldId="2147487484"/>
              <pc:sldLayoutMk cId="267600741" sldId="2147487923"/>
              <ac:spMk id="159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7600741" sldId="2147487923"/>
              <ac:spMk id="159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7600741" sldId="2147487923"/>
              <ac:spMk id="159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7600741" sldId="2147487923"/>
              <ac:spMk id="1595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832026521" sldId="2147487924"/>
          </pc:sldLayoutMkLst>
          <pc:spChg chg="mod">
            <ac:chgData name="Rebecca Hannah Ainis" userId="116137a0-2af5-436b-85e1-74d9d3b30f2f" providerId="ADAL" clId="{6E039243-4417-4220-A582-B1623E3F270F}" dt="2026-05-19T14:10:51.979" v="22"/>
            <ac:spMkLst>
              <pc:docMk/>
              <pc:sldMasterMk cId="1288455799" sldId="2147487484"/>
              <pc:sldLayoutMk cId="832026521" sldId="2147487924"/>
              <ac:spMk id="159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32026521" sldId="2147487924"/>
              <ac:spMk id="1595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32026521" sldId="2147487924"/>
              <ac:spMk id="159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32026521" sldId="2147487924"/>
              <ac:spMk id="159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32026521" sldId="2147487924"/>
              <ac:spMk id="1596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13807066" sldId="2147487925"/>
          </pc:sldLayoutMkLst>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7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7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7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7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3807066" sldId="2147487925"/>
              <ac:spMk id="1598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53107668" sldId="2147487927"/>
          </pc:sldLayoutMkLst>
          <pc:spChg chg="mod">
            <ac:chgData name="Rebecca Hannah Ainis" userId="116137a0-2af5-436b-85e1-74d9d3b30f2f" providerId="ADAL" clId="{6E039243-4417-4220-A582-B1623E3F270F}" dt="2026-05-19T14:10:51.979" v="22"/>
            <ac:spMkLst>
              <pc:docMk/>
              <pc:sldMasterMk cId="1288455799" sldId="2147487484"/>
              <pc:sldLayoutMk cId="4153107668" sldId="2147487927"/>
              <ac:spMk id="1599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53107668" sldId="2147487927"/>
              <ac:spMk id="1599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088547726" sldId="2147487929"/>
          </pc:sldLayoutMkLst>
          <pc:spChg chg="mod">
            <ac:chgData name="Rebecca Hannah Ainis" userId="116137a0-2af5-436b-85e1-74d9d3b30f2f" providerId="ADAL" clId="{6E039243-4417-4220-A582-B1623E3F270F}" dt="2026-05-19T14:10:51.979" v="22"/>
            <ac:spMkLst>
              <pc:docMk/>
              <pc:sldMasterMk cId="1288455799" sldId="2147487484"/>
              <pc:sldLayoutMk cId="3088547726" sldId="2147487929"/>
              <ac:spMk id="160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8547726" sldId="2147487929"/>
              <ac:spMk id="160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8547726" sldId="2147487929"/>
              <ac:spMk id="160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8547726" sldId="2147487929"/>
              <ac:spMk id="1601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424504" sldId="2147487932"/>
          </pc:sldLayoutMkLst>
          <pc:spChg chg="mod">
            <ac:chgData name="Rebecca Hannah Ainis" userId="116137a0-2af5-436b-85e1-74d9d3b30f2f" providerId="ADAL" clId="{6E039243-4417-4220-A582-B1623E3F270F}" dt="2026-05-19T14:10:51.979" v="22"/>
            <ac:spMkLst>
              <pc:docMk/>
              <pc:sldMasterMk cId="1288455799" sldId="2147487484"/>
              <pc:sldLayoutMk cId="42424504" sldId="2147487932"/>
              <ac:spMk id="1604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507541518" sldId="2147487933"/>
          </pc:sldLayoutMkLst>
          <pc:spChg chg="mod">
            <ac:chgData name="Rebecca Hannah Ainis" userId="116137a0-2af5-436b-85e1-74d9d3b30f2f" providerId="ADAL" clId="{6E039243-4417-4220-A582-B1623E3F270F}" dt="2026-05-19T14:10:51.979" v="22"/>
            <ac:spMkLst>
              <pc:docMk/>
              <pc:sldMasterMk cId="1288455799" sldId="2147487484"/>
              <pc:sldLayoutMk cId="1507541518" sldId="2147487933"/>
              <ac:spMk id="1604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507541518" sldId="2147487933"/>
              <ac:spMk id="1604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507541518" sldId="2147487933"/>
              <ac:spMk id="1605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507541518" sldId="2147487933"/>
              <ac:spMk id="1605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7665032" sldId="2147487934"/>
          </pc:sldLayoutMkLst>
          <pc:spChg chg="mod">
            <ac:chgData name="Rebecca Hannah Ainis" userId="116137a0-2af5-436b-85e1-74d9d3b30f2f" providerId="ADAL" clId="{6E039243-4417-4220-A582-B1623E3F270F}" dt="2026-05-19T14:10:51.979" v="22"/>
            <ac:spMkLst>
              <pc:docMk/>
              <pc:sldMasterMk cId="1288455799" sldId="2147487484"/>
              <pc:sldLayoutMk cId="387665032" sldId="2147487934"/>
              <ac:spMk id="1606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7665032" sldId="2147487934"/>
              <ac:spMk id="1606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7665032" sldId="2147487934"/>
              <ac:spMk id="1606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7665032" sldId="2147487934"/>
              <ac:spMk id="1606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061416211" sldId="2147487935"/>
          </pc:sldLayoutMkLst>
          <pc:spChg chg="mod">
            <ac:chgData name="Rebecca Hannah Ainis" userId="116137a0-2af5-436b-85e1-74d9d3b30f2f" providerId="ADAL" clId="{6E039243-4417-4220-A582-B1623E3F270F}" dt="2026-05-19T14:10:51.979" v="22"/>
            <ac:spMkLst>
              <pc:docMk/>
              <pc:sldMasterMk cId="1288455799" sldId="2147487484"/>
              <pc:sldLayoutMk cId="1061416211" sldId="2147487935"/>
              <ac:spMk id="1607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1416211" sldId="2147487935"/>
              <ac:spMk id="1607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1416211" sldId="2147487935"/>
              <ac:spMk id="160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1416211" sldId="2147487935"/>
              <ac:spMk id="160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1416211" sldId="2147487935"/>
              <ac:spMk id="1608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091690624" sldId="2147487936"/>
          </pc:sldLayoutMkLst>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91690624" sldId="2147487936"/>
              <ac:spMk id="1609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5058631" sldId="2147487938"/>
          </pc:sldLayoutMkLst>
          <pc:spChg chg="mod">
            <ac:chgData name="Rebecca Hannah Ainis" userId="116137a0-2af5-436b-85e1-74d9d3b30f2f" providerId="ADAL" clId="{6E039243-4417-4220-A582-B1623E3F270F}" dt="2026-05-19T14:10:51.979" v="22"/>
            <ac:spMkLst>
              <pc:docMk/>
              <pc:sldMasterMk cId="1288455799" sldId="2147487484"/>
              <pc:sldLayoutMk cId="125058631" sldId="2147487938"/>
              <ac:spMk id="161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058631" sldId="2147487938"/>
              <ac:spMk id="1611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23060690" sldId="2147487939"/>
          </pc:sldLayoutMkLst>
          <pc:spChg chg="mod">
            <ac:chgData name="Rebecca Hannah Ainis" userId="116137a0-2af5-436b-85e1-74d9d3b30f2f" providerId="ADAL" clId="{6E039243-4417-4220-A582-B1623E3F270F}" dt="2026-05-19T14:10:51.979" v="22"/>
            <ac:spMkLst>
              <pc:docMk/>
              <pc:sldMasterMk cId="1288455799" sldId="2147487484"/>
              <pc:sldLayoutMk cId="3323060690" sldId="2147487939"/>
              <ac:spMk id="1611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23060690" sldId="2147487939"/>
              <ac:spMk id="1611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23060690" sldId="2147487939"/>
              <ac:spMk id="161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23060690" sldId="2147487939"/>
              <ac:spMk id="1612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13182667" sldId="2147487940"/>
          </pc:sldLayoutMkLst>
          <pc:spChg chg="mod">
            <ac:chgData name="Rebecca Hannah Ainis" userId="116137a0-2af5-436b-85e1-74d9d3b30f2f" providerId="ADAL" clId="{6E039243-4417-4220-A582-B1623E3F270F}" dt="2026-05-19T14:10:51.979" v="22"/>
            <ac:spMkLst>
              <pc:docMk/>
              <pc:sldMasterMk cId="1288455799" sldId="2147487484"/>
              <pc:sldLayoutMk cId="613182667" sldId="2147487940"/>
              <ac:spMk id="161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13182667" sldId="2147487940"/>
              <ac:spMk id="1613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13182667" sldId="2147487940"/>
              <ac:spMk id="1613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13182667" sldId="2147487940"/>
              <ac:spMk id="1613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88146169" sldId="2147487941"/>
          </pc:sldLayoutMkLst>
          <pc:spChg chg="mod">
            <ac:chgData name="Rebecca Hannah Ainis" userId="116137a0-2af5-436b-85e1-74d9d3b30f2f" providerId="ADAL" clId="{6E039243-4417-4220-A582-B1623E3F270F}" dt="2026-05-19T14:10:51.979" v="22"/>
            <ac:spMkLst>
              <pc:docMk/>
              <pc:sldMasterMk cId="1288455799" sldId="2147487484"/>
              <pc:sldLayoutMk cId="1788146169" sldId="2147487941"/>
              <ac:spMk id="1614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88146169" sldId="2147487941"/>
              <ac:spMk id="1614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88146169" sldId="2147487941"/>
              <ac:spMk id="161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88146169" sldId="2147487941"/>
              <ac:spMk id="1614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936866067" sldId="2147487942"/>
          </pc:sldLayoutMkLst>
          <pc:spChg chg="mod">
            <ac:chgData name="Rebecca Hannah Ainis" userId="116137a0-2af5-436b-85e1-74d9d3b30f2f" providerId="ADAL" clId="{6E039243-4417-4220-A582-B1623E3F270F}" dt="2026-05-19T14:10:51.979" v="22"/>
            <ac:spMkLst>
              <pc:docMk/>
              <pc:sldMasterMk cId="1288455799" sldId="2147487484"/>
              <pc:sldLayoutMk cId="936866067" sldId="2147487942"/>
              <ac:spMk id="161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36866067" sldId="2147487942"/>
              <ac:spMk id="161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36866067" sldId="2147487942"/>
              <ac:spMk id="1615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36866067" sldId="2147487942"/>
              <ac:spMk id="1616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266656514" sldId="2147487945"/>
          </pc:sldLayoutMkLst>
          <pc:spChg chg="mod">
            <ac:chgData name="Rebecca Hannah Ainis" userId="116137a0-2af5-436b-85e1-74d9d3b30f2f" providerId="ADAL" clId="{6E039243-4417-4220-A582-B1623E3F270F}" dt="2026-05-19T14:10:51.979" v="22"/>
            <ac:spMkLst>
              <pc:docMk/>
              <pc:sldMasterMk cId="1288455799" sldId="2147487484"/>
              <pc:sldLayoutMk cId="2266656514" sldId="2147487945"/>
              <ac:spMk id="1618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020532368" sldId="2147487946"/>
          </pc:sldLayoutMkLst>
          <pc:spChg chg="mod">
            <ac:chgData name="Rebecca Hannah Ainis" userId="116137a0-2af5-436b-85e1-74d9d3b30f2f" providerId="ADAL" clId="{6E039243-4417-4220-A582-B1623E3F270F}" dt="2026-05-19T14:10:51.979" v="22"/>
            <ac:spMkLst>
              <pc:docMk/>
              <pc:sldMasterMk cId="1288455799" sldId="2147487484"/>
              <pc:sldLayoutMk cId="3020532368" sldId="2147487946"/>
              <ac:spMk id="161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20532368" sldId="2147487946"/>
              <ac:spMk id="161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20532368" sldId="2147487946"/>
              <ac:spMk id="1619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20532368" sldId="2147487946"/>
              <ac:spMk id="1619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784601188" sldId="2147487947"/>
          </pc:sldLayoutMkLst>
          <pc:spChg chg="mod">
            <ac:chgData name="Rebecca Hannah Ainis" userId="116137a0-2af5-436b-85e1-74d9d3b30f2f" providerId="ADAL" clId="{6E039243-4417-4220-A582-B1623E3F270F}" dt="2026-05-19T14:10:51.979" v="22"/>
            <ac:spMkLst>
              <pc:docMk/>
              <pc:sldMasterMk cId="1288455799" sldId="2147487484"/>
              <pc:sldLayoutMk cId="784601188" sldId="2147487947"/>
              <ac:spMk id="1620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84601188" sldId="2147487947"/>
              <ac:spMk id="162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84601188" sldId="2147487947"/>
              <ac:spMk id="1620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84601188" sldId="2147487947"/>
              <ac:spMk id="1621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165001850" sldId="2147487948"/>
          </pc:sldLayoutMkLst>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2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2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2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2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65001850" sldId="2147487948"/>
              <ac:spMk id="1623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103892470" sldId="2147487952"/>
          </pc:sldLayoutMkLst>
          <pc:spChg chg="mod">
            <ac:chgData name="Rebecca Hannah Ainis" userId="116137a0-2af5-436b-85e1-74d9d3b30f2f" providerId="ADAL" clId="{6E039243-4417-4220-A582-B1623E3F270F}" dt="2026-05-19T14:10:51.979" v="22"/>
            <ac:spMkLst>
              <pc:docMk/>
              <pc:sldMasterMk cId="1288455799" sldId="2147487484"/>
              <pc:sldLayoutMk cId="1103892470" sldId="2147487952"/>
              <ac:spMk id="1625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979941433" sldId="2147487953"/>
          </pc:sldLayoutMkLst>
          <pc:spChg chg="mod">
            <ac:chgData name="Rebecca Hannah Ainis" userId="116137a0-2af5-436b-85e1-74d9d3b30f2f" providerId="ADAL" clId="{6E039243-4417-4220-A582-B1623E3F270F}" dt="2026-05-19T14:10:51.979" v="22"/>
            <ac:spMkLst>
              <pc:docMk/>
              <pc:sldMasterMk cId="1288455799" sldId="2147487484"/>
              <pc:sldLayoutMk cId="979941433" sldId="2147487953"/>
              <ac:spMk id="162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79941433" sldId="2147487953"/>
              <ac:spMk id="1626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79941433" sldId="2147487953"/>
              <ac:spMk id="1626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79941433" sldId="2147487953"/>
              <ac:spMk id="1627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17671046" sldId="2147487954"/>
          </pc:sldLayoutMkLst>
          <pc:spChg chg="mod">
            <ac:chgData name="Rebecca Hannah Ainis" userId="116137a0-2af5-436b-85e1-74d9d3b30f2f" providerId="ADAL" clId="{6E039243-4417-4220-A582-B1623E3F270F}" dt="2026-05-19T14:10:51.979" v="22"/>
            <ac:spMkLst>
              <pc:docMk/>
              <pc:sldMasterMk cId="1288455799" sldId="2147487484"/>
              <pc:sldLayoutMk cId="3617671046" sldId="2147487954"/>
              <ac:spMk id="1627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17671046" sldId="2147487954"/>
              <ac:spMk id="162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17671046" sldId="2147487954"/>
              <ac:spMk id="162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17671046" sldId="2147487954"/>
              <ac:spMk id="1628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69310261" sldId="2147487955"/>
          </pc:sldLayoutMkLst>
          <pc:spChg chg="mod">
            <ac:chgData name="Rebecca Hannah Ainis" userId="116137a0-2af5-436b-85e1-74d9d3b30f2f" providerId="ADAL" clId="{6E039243-4417-4220-A582-B1623E3F270F}" dt="2026-05-19T14:10:51.979" v="22"/>
            <ac:spMkLst>
              <pc:docMk/>
              <pc:sldMasterMk cId="1288455799" sldId="2147487484"/>
              <pc:sldLayoutMk cId="2469310261" sldId="2147487955"/>
              <ac:spMk id="1629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69310261" sldId="2147487955"/>
              <ac:spMk id="162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69310261" sldId="2147487955"/>
              <ac:spMk id="1629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69310261" sldId="2147487955"/>
              <ac:spMk id="162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69310261" sldId="2147487955"/>
              <ac:spMk id="1630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62027600" sldId="2147487956"/>
          </pc:sldLayoutMkLst>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0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0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1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1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2027600" sldId="2147487956"/>
              <ac:spMk id="1631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987929870" sldId="2147487958"/>
          </pc:sldLayoutMkLst>
          <pc:spChg chg="mod">
            <ac:chgData name="Rebecca Hannah Ainis" userId="116137a0-2af5-436b-85e1-74d9d3b30f2f" providerId="ADAL" clId="{6E039243-4417-4220-A582-B1623E3F270F}" dt="2026-05-19T14:10:51.979" v="22"/>
            <ac:spMkLst>
              <pc:docMk/>
              <pc:sldMasterMk cId="1288455799" sldId="2147487484"/>
              <pc:sldLayoutMk cId="1987929870" sldId="2147487958"/>
              <ac:spMk id="163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87929870" sldId="2147487958"/>
              <ac:spMk id="1633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340033609" sldId="2147487960"/>
          </pc:sldLayoutMkLst>
          <pc:spChg chg="mod">
            <ac:chgData name="Rebecca Hannah Ainis" userId="116137a0-2af5-436b-85e1-74d9d3b30f2f" providerId="ADAL" clId="{6E039243-4417-4220-A582-B1623E3F270F}" dt="2026-05-19T14:10:51.979" v="22"/>
            <ac:spMkLst>
              <pc:docMk/>
              <pc:sldMasterMk cId="1288455799" sldId="2147487484"/>
              <pc:sldLayoutMk cId="1340033609" sldId="2147487960"/>
              <ac:spMk id="1634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40033609" sldId="2147487960"/>
              <ac:spMk id="1634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484721449" sldId="2147487963"/>
          </pc:sldLayoutMkLst>
          <pc:spChg chg="mod">
            <ac:chgData name="Rebecca Hannah Ainis" userId="116137a0-2af5-436b-85e1-74d9d3b30f2f" providerId="ADAL" clId="{6E039243-4417-4220-A582-B1623E3F270F}" dt="2026-05-19T14:10:51.979" v="22"/>
            <ac:spMkLst>
              <pc:docMk/>
              <pc:sldMasterMk cId="1288455799" sldId="2147487484"/>
              <pc:sldLayoutMk cId="1484721449" sldId="2147487963"/>
              <ac:spMk id="1636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94176677" sldId="2147487964"/>
          </pc:sldLayoutMkLst>
          <pc:spChg chg="mod">
            <ac:chgData name="Rebecca Hannah Ainis" userId="116137a0-2af5-436b-85e1-74d9d3b30f2f" providerId="ADAL" clId="{6E039243-4417-4220-A582-B1623E3F270F}" dt="2026-05-19T14:10:51.979" v="22"/>
            <ac:spMkLst>
              <pc:docMk/>
              <pc:sldMasterMk cId="1288455799" sldId="2147487484"/>
              <pc:sldLayoutMk cId="2994176677" sldId="2147487964"/>
              <ac:spMk id="163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94176677" sldId="2147487964"/>
              <ac:spMk id="1637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94176677" sldId="2147487964"/>
              <ac:spMk id="1637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94176677" sldId="2147487964"/>
              <ac:spMk id="1637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66930027" sldId="2147487965"/>
          </pc:sldLayoutMkLst>
          <pc:spChg chg="mod">
            <ac:chgData name="Rebecca Hannah Ainis" userId="116137a0-2af5-436b-85e1-74d9d3b30f2f" providerId="ADAL" clId="{6E039243-4417-4220-A582-B1623E3F270F}" dt="2026-05-19T14:10:51.979" v="22"/>
            <ac:spMkLst>
              <pc:docMk/>
              <pc:sldMasterMk cId="1288455799" sldId="2147487484"/>
              <pc:sldLayoutMk cId="1866930027" sldId="2147487965"/>
              <ac:spMk id="163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6930027" sldId="2147487965"/>
              <ac:spMk id="1638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6930027" sldId="2147487965"/>
              <ac:spMk id="163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6930027" sldId="2147487965"/>
              <ac:spMk id="1639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986775646" sldId="2147487966"/>
          </pc:sldLayoutMkLst>
          <pc:spChg chg="mod">
            <ac:chgData name="Rebecca Hannah Ainis" userId="116137a0-2af5-436b-85e1-74d9d3b30f2f" providerId="ADAL" clId="{6E039243-4417-4220-A582-B1623E3F270F}" dt="2026-05-19T14:10:51.979" v="22"/>
            <ac:spMkLst>
              <pc:docMk/>
              <pc:sldMasterMk cId="1288455799" sldId="2147487484"/>
              <pc:sldLayoutMk cId="986775646" sldId="2147487966"/>
              <ac:spMk id="164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86775646" sldId="2147487966"/>
              <ac:spMk id="164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86775646" sldId="2147487966"/>
              <ac:spMk id="164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86775646" sldId="2147487966"/>
              <ac:spMk id="1640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86775646" sldId="2147487966"/>
              <ac:spMk id="1641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881320864" sldId="2147487967"/>
          </pc:sldLayoutMkLst>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1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1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1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2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2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81320864" sldId="2147487967"/>
              <ac:spMk id="1642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884919769" sldId="2147487969"/>
          </pc:sldLayoutMkLst>
          <pc:spChg chg="mod">
            <ac:chgData name="Rebecca Hannah Ainis" userId="116137a0-2af5-436b-85e1-74d9d3b30f2f" providerId="ADAL" clId="{6E039243-4417-4220-A582-B1623E3F270F}" dt="2026-05-19T14:10:51.979" v="22"/>
            <ac:spMkLst>
              <pc:docMk/>
              <pc:sldMasterMk cId="1288455799" sldId="2147487484"/>
              <pc:sldLayoutMk cId="884919769" sldId="2147487969"/>
              <ac:spMk id="1644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84919769" sldId="2147487969"/>
              <ac:spMk id="1644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75671570" sldId="2147487972"/>
          </pc:sldLayoutMkLst>
          <pc:spChg chg="mod">
            <ac:chgData name="Rebecca Hannah Ainis" userId="116137a0-2af5-436b-85e1-74d9d3b30f2f" providerId="ADAL" clId="{6E039243-4417-4220-A582-B1623E3F270F}" dt="2026-05-19T14:10:51.979" v="22"/>
            <ac:spMkLst>
              <pc:docMk/>
              <pc:sldMasterMk cId="1288455799" sldId="2147487484"/>
              <pc:sldLayoutMk cId="1775671570" sldId="2147487972"/>
              <ac:spMk id="1646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463338105" sldId="2147487974"/>
          </pc:sldLayoutMkLst>
          <pc:spChg chg="mod">
            <ac:chgData name="Rebecca Hannah Ainis" userId="116137a0-2af5-436b-85e1-74d9d3b30f2f" providerId="ADAL" clId="{6E039243-4417-4220-A582-B1623E3F270F}" dt="2026-05-19T14:10:51.979" v="22"/>
            <ac:spMkLst>
              <pc:docMk/>
              <pc:sldMasterMk cId="1288455799" sldId="2147487484"/>
              <pc:sldLayoutMk cId="3463338105" sldId="2147487974"/>
              <ac:spMk id="164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63338105" sldId="2147487974"/>
              <ac:spMk id="1648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63338105" sldId="2147487974"/>
              <ac:spMk id="1648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63338105" sldId="2147487974"/>
              <ac:spMk id="1648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69342759" sldId="2147487975"/>
          </pc:sldLayoutMkLst>
          <pc:spChg chg="mod">
            <ac:chgData name="Rebecca Hannah Ainis" userId="116137a0-2af5-436b-85e1-74d9d3b30f2f" providerId="ADAL" clId="{6E039243-4417-4220-A582-B1623E3F270F}" dt="2026-05-19T14:10:51.979" v="22"/>
            <ac:spMkLst>
              <pc:docMk/>
              <pc:sldMasterMk cId="1288455799" sldId="2147487484"/>
              <pc:sldLayoutMk cId="1869342759" sldId="2147487975"/>
              <ac:spMk id="164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9342759" sldId="2147487975"/>
              <ac:spMk id="164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9342759" sldId="2147487975"/>
              <ac:spMk id="164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9342759" sldId="2147487975"/>
              <ac:spMk id="1649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69342759" sldId="2147487975"/>
              <ac:spMk id="1649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780065042" sldId="2147487976"/>
          </pc:sldLayoutMkLst>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0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0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0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0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0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80065042" sldId="2147487976"/>
              <ac:spMk id="1651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26405085" sldId="2147487977"/>
          </pc:sldLayoutMkLst>
          <pc:spChg chg="mod">
            <ac:chgData name="Rebecca Hannah Ainis" userId="116137a0-2af5-436b-85e1-74d9d3b30f2f" providerId="ADAL" clId="{6E039243-4417-4220-A582-B1623E3F270F}" dt="2026-05-19T14:10:51.979" v="22"/>
            <ac:spMkLst>
              <pc:docMk/>
              <pc:sldMasterMk cId="1288455799" sldId="2147487484"/>
              <pc:sldLayoutMk cId="3826405085" sldId="2147487977"/>
              <ac:spMk id="165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26405085" sldId="2147487977"/>
              <ac:spMk id="1651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26405085" sldId="2147487977"/>
              <ac:spMk id="1651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26405085" sldId="2147487977"/>
              <ac:spMk id="1651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51684024" sldId="2147487978"/>
          </pc:sldLayoutMkLst>
          <pc:spChg chg="mod">
            <ac:chgData name="Rebecca Hannah Ainis" userId="116137a0-2af5-436b-85e1-74d9d3b30f2f" providerId="ADAL" clId="{6E039243-4417-4220-A582-B1623E3F270F}" dt="2026-05-19T14:10:51.979" v="22"/>
            <ac:spMkLst>
              <pc:docMk/>
              <pc:sldMasterMk cId="1288455799" sldId="2147487484"/>
              <pc:sldLayoutMk cId="3651684024" sldId="2147487978"/>
              <ac:spMk id="165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1684024" sldId="2147487978"/>
              <ac:spMk id="165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1684024" sldId="2147487978"/>
              <ac:spMk id="165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1684024" sldId="2147487978"/>
              <ac:spMk id="1653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33346346" sldId="2147487979"/>
          </pc:sldLayoutMkLst>
          <pc:spChg chg="mod">
            <ac:chgData name="Rebecca Hannah Ainis" userId="116137a0-2af5-436b-85e1-74d9d3b30f2f" providerId="ADAL" clId="{6E039243-4417-4220-A582-B1623E3F270F}" dt="2026-05-19T14:10:51.979" v="22"/>
            <ac:spMkLst>
              <pc:docMk/>
              <pc:sldMasterMk cId="1288455799" sldId="2147487484"/>
              <pc:sldLayoutMk cId="2933346346" sldId="2147487979"/>
              <ac:spMk id="165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33346346" sldId="2147487979"/>
              <ac:spMk id="1654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23227567" sldId="2147487981"/>
          </pc:sldLayoutMkLst>
          <pc:spChg chg="mod">
            <ac:chgData name="Rebecca Hannah Ainis" userId="116137a0-2af5-436b-85e1-74d9d3b30f2f" providerId="ADAL" clId="{6E039243-4417-4220-A582-B1623E3F270F}" dt="2026-05-19T14:10:51.979" v="22"/>
            <ac:spMkLst>
              <pc:docMk/>
              <pc:sldMasterMk cId="1288455799" sldId="2147487484"/>
              <pc:sldLayoutMk cId="4123227567" sldId="2147487981"/>
              <ac:spMk id="1656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23227567" sldId="2147487981"/>
              <ac:spMk id="1656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114727599" sldId="2147487983"/>
          </pc:sldLayoutMkLst>
          <pc:spChg chg="mod">
            <ac:chgData name="Rebecca Hannah Ainis" userId="116137a0-2af5-436b-85e1-74d9d3b30f2f" providerId="ADAL" clId="{6E039243-4417-4220-A582-B1623E3F270F}" dt="2026-05-19T14:10:51.979" v="22"/>
            <ac:spMkLst>
              <pc:docMk/>
              <pc:sldMasterMk cId="1288455799" sldId="2147487484"/>
              <pc:sldLayoutMk cId="1114727599" sldId="2147487983"/>
              <ac:spMk id="165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14727599" sldId="2147487983"/>
              <ac:spMk id="1657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14727599" sldId="2147487983"/>
              <ac:spMk id="1657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14727599" sldId="2147487983"/>
              <ac:spMk id="1657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824319943" sldId="2147487984"/>
          </pc:sldLayoutMkLst>
          <pc:spChg chg="mod">
            <ac:chgData name="Rebecca Hannah Ainis" userId="116137a0-2af5-436b-85e1-74d9d3b30f2f" providerId="ADAL" clId="{6E039243-4417-4220-A582-B1623E3F270F}" dt="2026-05-19T14:10:51.979" v="22"/>
            <ac:spMkLst>
              <pc:docMk/>
              <pc:sldMasterMk cId="1288455799" sldId="2147487484"/>
              <pc:sldLayoutMk cId="824319943" sldId="2147487984"/>
              <ac:spMk id="165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24319943" sldId="2147487984"/>
              <ac:spMk id="1658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24319943" sldId="2147487984"/>
              <ac:spMk id="165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24319943" sldId="2147487984"/>
              <ac:spMk id="1659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510364170" sldId="2147487987"/>
          </pc:sldLayoutMkLst>
          <pc:spChg chg="mod">
            <ac:chgData name="Rebecca Hannah Ainis" userId="116137a0-2af5-436b-85e1-74d9d3b30f2f" providerId="ADAL" clId="{6E039243-4417-4220-A582-B1623E3F270F}" dt="2026-05-19T14:10:51.979" v="22"/>
            <ac:spMkLst>
              <pc:docMk/>
              <pc:sldMasterMk cId="1288455799" sldId="2147487484"/>
              <pc:sldLayoutMk cId="2510364170" sldId="2147487987"/>
              <ac:spMk id="1661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2922824" sldId="2147487988"/>
          </pc:sldLayoutMkLst>
          <pc:spChg chg="mod">
            <ac:chgData name="Rebecca Hannah Ainis" userId="116137a0-2af5-436b-85e1-74d9d3b30f2f" providerId="ADAL" clId="{6E039243-4417-4220-A582-B1623E3F270F}" dt="2026-05-19T14:10:51.979" v="22"/>
            <ac:spMkLst>
              <pc:docMk/>
              <pc:sldMasterMk cId="1288455799" sldId="2147487484"/>
              <pc:sldLayoutMk cId="332922824" sldId="2147487988"/>
              <ac:spMk id="1662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2922824" sldId="2147487988"/>
              <ac:spMk id="1662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2922824" sldId="2147487988"/>
              <ac:spMk id="1662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2922824" sldId="2147487988"/>
              <ac:spMk id="1662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008145992" sldId="2147487989"/>
          </pc:sldLayoutMkLst>
          <pc:spChg chg="mod">
            <ac:chgData name="Rebecca Hannah Ainis" userId="116137a0-2af5-436b-85e1-74d9d3b30f2f" providerId="ADAL" clId="{6E039243-4417-4220-A582-B1623E3F270F}" dt="2026-05-19T14:10:51.979" v="22"/>
            <ac:spMkLst>
              <pc:docMk/>
              <pc:sldMasterMk cId="1288455799" sldId="2147487484"/>
              <pc:sldLayoutMk cId="4008145992" sldId="2147487989"/>
              <ac:spMk id="1663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08145992" sldId="2147487989"/>
              <ac:spMk id="1663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08145992" sldId="2147487989"/>
              <ac:spMk id="1663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08145992" sldId="2147487989"/>
              <ac:spMk id="1664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011155418" sldId="2147487990"/>
          </pc:sldLayoutMkLst>
          <pc:spChg chg="mod">
            <ac:chgData name="Rebecca Hannah Ainis" userId="116137a0-2af5-436b-85e1-74d9d3b30f2f" providerId="ADAL" clId="{6E039243-4417-4220-A582-B1623E3F270F}" dt="2026-05-19T14:10:51.979" v="22"/>
            <ac:spMkLst>
              <pc:docMk/>
              <pc:sldMasterMk cId="1288455799" sldId="2147487484"/>
              <pc:sldLayoutMk cId="4011155418" sldId="2147487990"/>
              <ac:spMk id="1665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11155418" sldId="2147487990"/>
              <ac:spMk id="166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11155418" sldId="2147487990"/>
              <ac:spMk id="166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11155418" sldId="2147487990"/>
              <ac:spMk id="1665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2716239" sldId="2147487991"/>
          </pc:sldLayoutMkLst>
          <pc:spChg chg="mod">
            <ac:chgData name="Rebecca Hannah Ainis" userId="116137a0-2af5-436b-85e1-74d9d3b30f2f" providerId="ADAL" clId="{6E039243-4417-4220-A582-B1623E3F270F}" dt="2026-05-19T14:10:51.979" v="22"/>
            <ac:spMkLst>
              <pc:docMk/>
              <pc:sldMasterMk cId="1288455799" sldId="2147487484"/>
              <pc:sldLayoutMk cId="182716239" sldId="2147487991"/>
              <ac:spMk id="1666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2716239" sldId="2147487991"/>
              <ac:spMk id="1666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2716239" sldId="2147487991"/>
              <ac:spMk id="166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2716239" sldId="2147487991"/>
              <ac:spMk id="1666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73726089" sldId="2147487992"/>
          </pc:sldLayoutMkLst>
          <pc:spChg chg="mod">
            <ac:chgData name="Rebecca Hannah Ainis" userId="116137a0-2af5-436b-85e1-74d9d3b30f2f" providerId="ADAL" clId="{6E039243-4417-4220-A582-B1623E3F270F}" dt="2026-05-19T14:10:51.979" v="22"/>
            <ac:spMkLst>
              <pc:docMk/>
              <pc:sldMasterMk cId="1288455799" sldId="2147487484"/>
              <pc:sldLayoutMk cId="1273726089" sldId="2147487992"/>
              <ac:spMk id="166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73726089" sldId="2147487992"/>
              <ac:spMk id="166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73726089" sldId="2147487992"/>
              <ac:spMk id="1668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73726089" sldId="2147487992"/>
              <ac:spMk id="1668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96842687" sldId="2147487993"/>
          </pc:sldLayoutMkLst>
          <pc:spChg chg="mod">
            <ac:chgData name="Rebecca Hannah Ainis" userId="116137a0-2af5-436b-85e1-74d9d3b30f2f" providerId="ADAL" clId="{6E039243-4417-4220-A582-B1623E3F270F}" dt="2026-05-19T14:10:51.979" v="22"/>
            <ac:spMkLst>
              <pc:docMk/>
              <pc:sldMasterMk cId="1288455799" sldId="2147487484"/>
              <pc:sldLayoutMk cId="96842687" sldId="2147487993"/>
              <ac:spMk id="166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6842687" sldId="2147487993"/>
              <ac:spMk id="166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6842687" sldId="2147487993"/>
              <ac:spMk id="166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6842687" sldId="2147487993"/>
              <ac:spMk id="166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6842687" sldId="2147487993"/>
              <ac:spMk id="1669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288894980" sldId="2147487994"/>
          </pc:sldLayoutMkLst>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0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0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0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0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0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88894980" sldId="2147487994"/>
              <ac:spMk id="1671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671189477" sldId="2147487996"/>
          </pc:sldLayoutMkLst>
          <pc:spChg chg="mod">
            <ac:chgData name="Rebecca Hannah Ainis" userId="116137a0-2af5-436b-85e1-74d9d3b30f2f" providerId="ADAL" clId="{6E039243-4417-4220-A582-B1623E3F270F}" dt="2026-05-19T14:10:51.979" v="22"/>
            <ac:spMkLst>
              <pc:docMk/>
              <pc:sldMasterMk cId="1288455799" sldId="2147487484"/>
              <pc:sldLayoutMk cId="1671189477" sldId="2147487996"/>
              <ac:spMk id="1672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71189477" sldId="2147487996"/>
              <ac:spMk id="1672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920405013" sldId="2147488000"/>
          </pc:sldLayoutMkLst>
          <pc:spChg chg="mod">
            <ac:chgData name="Rebecca Hannah Ainis" userId="116137a0-2af5-436b-85e1-74d9d3b30f2f" providerId="ADAL" clId="{6E039243-4417-4220-A582-B1623E3F270F}" dt="2026-05-19T14:10:51.979" v="22"/>
            <ac:spMkLst>
              <pc:docMk/>
              <pc:sldMasterMk cId="1288455799" sldId="2147487484"/>
              <pc:sldLayoutMk cId="1920405013" sldId="2147488000"/>
              <ac:spMk id="1675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20405013" sldId="2147488000"/>
              <ac:spMk id="167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20405013" sldId="2147488000"/>
              <ac:spMk id="167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20405013" sldId="2147488000"/>
              <ac:spMk id="1676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09594195" sldId="2147488001"/>
          </pc:sldLayoutMkLst>
          <pc:spChg chg="mod">
            <ac:chgData name="Rebecca Hannah Ainis" userId="116137a0-2af5-436b-85e1-74d9d3b30f2f" providerId="ADAL" clId="{6E039243-4417-4220-A582-B1623E3F270F}" dt="2026-05-19T14:10:51.979" v="22"/>
            <ac:spMkLst>
              <pc:docMk/>
              <pc:sldMasterMk cId="1288455799" sldId="2147487484"/>
              <pc:sldLayoutMk cId="4209594195" sldId="2147488001"/>
              <ac:spMk id="1676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09594195" sldId="2147488001"/>
              <ac:spMk id="1677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09594195" sldId="2147488001"/>
              <ac:spMk id="1677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09594195" sldId="2147488001"/>
              <ac:spMk id="1677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203083923" sldId="2147488002"/>
          </pc:sldLayoutMkLst>
          <pc:spChg chg="mod">
            <ac:chgData name="Rebecca Hannah Ainis" userId="116137a0-2af5-436b-85e1-74d9d3b30f2f" providerId="ADAL" clId="{6E039243-4417-4220-A582-B1623E3F270F}" dt="2026-05-19T14:10:51.979" v="22"/>
            <ac:spMkLst>
              <pc:docMk/>
              <pc:sldMasterMk cId="1288455799" sldId="2147487484"/>
              <pc:sldLayoutMk cId="2203083923" sldId="2147488002"/>
              <ac:spMk id="167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203083923" sldId="2147488002"/>
              <ac:spMk id="167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203083923" sldId="2147488002"/>
              <ac:spMk id="167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203083923" sldId="2147488002"/>
              <ac:spMk id="1679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63600813" sldId="2147488003"/>
          </pc:sldLayoutMkLst>
          <pc:spChg chg="mod">
            <ac:chgData name="Rebecca Hannah Ainis" userId="116137a0-2af5-436b-85e1-74d9d3b30f2f" providerId="ADAL" clId="{6E039243-4417-4220-A582-B1623E3F270F}" dt="2026-05-19T14:10:51.979" v="22"/>
            <ac:spMkLst>
              <pc:docMk/>
              <pc:sldMasterMk cId="1288455799" sldId="2147487484"/>
              <pc:sldLayoutMk cId="663600813" sldId="2147488003"/>
              <ac:spMk id="167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63600813" sldId="2147488003"/>
              <ac:spMk id="167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63600813" sldId="2147488003"/>
              <ac:spMk id="167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63600813" sldId="2147488003"/>
              <ac:spMk id="168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63600813" sldId="2147488003"/>
              <ac:spMk id="1680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122116799" sldId="2147488004"/>
          </pc:sldLayoutMkLst>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0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1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1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22116799" sldId="2147488004"/>
              <ac:spMk id="1681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177982620" sldId="2147488005"/>
          </pc:sldLayoutMkLst>
          <pc:spChg chg="mod">
            <ac:chgData name="Rebecca Hannah Ainis" userId="116137a0-2af5-436b-85e1-74d9d3b30f2f" providerId="ADAL" clId="{6E039243-4417-4220-A582-B1623E3F270F}" dt="2026-05-19T14:10:51.979" v="22"/>
            <ac:spMkLst>
              <pc:docMk/>
              <pc:sldMasterMk cId="1288455799" sldId="2147487484"/>
              <pc:sldLayoutMk cId="3177982620" sldId="2147488005"/>
              <ac:spMk id="1681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455849112" sldId="2147488006"/>
          </pc:sldLayoutMkLst>
          <pc:spChg chg="mod">
            <ac:chgData name="Rebecca Hannah Ainis" userId="116137a0-2af5-436b-85e1-74d9d3b30f2f" providerId="ADAL" clId="{6E039243-4417-4220-A582-B1623E3F270F}" dt="2026-05-19T14:10:51.979" v="22"/>
            <ac:spMkLst>
              <pc:docMk/>
              <pc:sldMasterMk cId="1288455799" sldId="2147487484"/>
              <pc:sldLayoutMk cId="3455849112" sldId="2147488006"/>
              <ac:spMk id="168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55849112" sldId="2147488006"/>
              <ac:spMk id="1683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75837757" sldId="2147488009"/>
          </pc:sldLayoutMkLst>
          <pc:spChg chg="mod">
            <ac:chgData name="Rebecca Hannah Ainis" userId="116137a0-2af5-436b-85e1-74d9d3b30f2f" providerId="ADAL" clId="{6E039243-4417-4220-A582-B1623E3F270F}" dt="2026-05-19T14:10:51.979" v="22"/>
            <ac:spMkLst>
              <pc:docMk/>
              <pc:sldMasterMk cId="1288455799" sldId="2147487484"/>
              <pc:sldLayoutMk cId="275837757" sldId="2147488009"/>
              <ac:spMk id="168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5837757" sldId="2147488009"/>
              <ac:spMk id="1685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3293801" sldId="2147488010"/>
          </pc:sldLayoutMkLst>
          <pc:spChg chg="mod">
            <ac:chgData name="Rebecca Hannah Ainis" userId="116137a0-2af5-436b-85e1-74d9d3b30f2f" providerId="ADAL" clId="{6E039243-4417-4220-A582-B1623E3F270F}" dt="2026-05-19T14:10:51.979" v="22"/>
            <ac:spMkLst>
              <pc:docMk/>
              <pc:sldMasterMk cId="1288455799" sldId="2147487484"/>
              <pc:sldLayoutMk cId="293293801" sldId="2147488010"/>
              <ac:spMk id="1686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3293801" sldId="2147488010"/>
              <ac:spMk id="1686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3293801" sldId="2147488010"/>
              <ac:spMk id="1686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3293801" sldId="2147488010"/>
              <ac:spMk id="1686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063523836" sldId="2147488011"/>
          </pc:sldLayoutMkLst>
          <pc:spChg chg="mod">
            <ac:chgData name="Rebecca Hannah Ainis" userId="116137a0-2af5-436b-85e1-74d9d3b30f2f" providerId="ADAL" clId="{6E039243-4417-4220-A582-B1623E3F270F}" dt="2026-05-19T14:10:51.979" v="22"/>
            <ac:spMkLst>
              <pc:docMk/>
              <pc:sldMasterMk cId="1288455799" sldId="2147487484"/>
              <pc:sldLayoutMk cId="1063523836" sldId="2147488011"/>
              <ac:spMk id="1687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3523836" sldId="2147488011"/>
              <ac:spMk id="1687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3523836" sldId="2147488011"/>
              <ac:spMk id="168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63523836" sldId="2147488011"/>
              <ac:spMk id="1687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95106993" sldId="2147488012"/>
          </pc:sldLayoutMkLst>
          <pc:spChg chg="mod">
            <ac:chgData name="Rebecca Hannah Ainis" userId="116137a0-2af5-436b-85e1-74d9d3b30f2f" providerId="ADAL" clId="{6E039243-4417-4220-A582-B1623E3F270F}" dt="2026-05-19T14:10:51.979" v="22"/>
            <ac:spMkLst>
              <pc:docMk/>
              <pc:sldMasterMk cId="1288455799" sldId="2147487484"/>
              <pc:sldLayoutMk cId="3395106993" sldId="2147488012"/>
              <ac:spMk id="168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95106993" sldId="2147488012"/>
              <ac:spMk id="168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95106993" sldId="2147488012"/>
              <ac:spMk id="168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95106993" sldId="2147488012"/>
              <ac:spMk id="1689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11930350" sldId="2147488013"/>
          </pc:sldLayoutMkLst>
          <pc:spChg chg="mod">
            <ac:chgData name="Rebecca Hannah Ainis" userId="116137a0-2af5-436b-85e1-74d9d3b30f2f" providerId="ADAL" clId="{6E039243-4417-4220-A582-B1623E3F270F}" dt="2026-05-19T14:10:51.979" v="22"/>
            <ac:spMkLst>
              <pc:docMk/>
              <pc:sldMasterMk cId="1288455799" sldId="2147487484"/>
              <pc:sldLayoutMk cId="4111930350" sldId="2147488013"/>
              <ac:spMk id="168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11930350" sldId="2147488013"/>
              <ac:spMk id="169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11930350" sldId="2147488013"/>
              <ac:spMk id="169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11930350" sldId="2147488013"/>
              <ac:spMk id="1690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525591217" sldId="2147488014"/>
          </pc:sldLayoutMkLst>
          <pc:spChg chg="mod">
            <ac:chgData name="Rebecca Hannah Ainis" userId="116137a0-2af5-436b-85e1-74d9d3b30f2f" providerId="ADAL" clId="{6E039243-4417-4220-A582-B1623E3F270F}" dt="2026-05-19T14:10:51.979" v="22"/>
            <ac:spMkLst>
              <pc:docMk/>
              <pc:sldMasterMk cId="1288455799" sldId="2147487484"/>
              <pc:sldLayoutMk cId="3525591217" sldId="2147488014"/>
              <ac:spMk id="169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25591217" sldId="2147488014"/>
              <ac:spMk id="169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25591217" sldId="2147488014"/>
              <ac:spMk id="169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25591217" sldId="2147488014"/>
              <ac:spMk id="1691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667240290" sldId="2147488015"/>
          </pc:sldLayoutMkLst>
          <pc:spChg chg="mod">
            <ac:chgData name="Rebecca Hannah Ainis" userId="116137a0-2af5-436b-85e1-74d9d3b30f2f" providerId="ADAL" clId="{6E039243-4417-4220-A582-B1623E3F270F}" dt="2026-05-19T14:10:51.979" v="22"/>
            <ac:spMkLst>
              <pc:docMk/>
              <pc:sldMasterMk cId="1288455799" sldId="2147487484"/>
              <pc:sldLayoutMk cId="1667240290" sldId="2147488015"/>
              <ac:spMk id="1692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7240290" sldId="2147488015"/>
              <ac:spMk id="1692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7240290" sldId="2147488015"/>
              <ac:spMk id="169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7240290" sldId="2147488015"/>
              <ac:spMk id="1692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843937741" sldId="2147488016"/>
          </pc:sldLayoutMkLst>
          <pc:spChg chg="mod">
            <ac:chgData name="Rebecca Hannah Ainis" userId="116137a0-2af5-436b-85e1-74d9d3b30f2f" providerId="ADAL" clId="{6E039243-4417-4220-A582-B1623E3F270F}" dt="2026-05-19T14:10:51.979" v="22"/>
            <ac:spMkLst>
              <pc:docMk/>
              <pc:sldMasterMk cId="1288455799" sldId="2147487484"/>
              <pc:sldLayoutMk cId="843937741" sldId="2147488016"/>
              <ac:spMk id="169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43937741" sldId="2147488016"/>
              <ac:spMk id="1694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43937741" sldId="2147488016"/>
              <ac:spMk id="1694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43937741" sldId="2147488016"/>
              <ac:spMk id="169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43937741" sldId="2147488016"/>
              <ac:spMk id="1694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143983799" sldId="2147488017"/>
          </pc:sldLayoutMkLst>
          <pc:spChg chg="mod">
            <ac:chgData name="Rebecca Hannah Ainis" userId="116137a0-2af5-436b-85e1-74d9d3b30f2f" providerId="ADAL" clId="{6E039243-4417-4220-A582-B1623E3F270F}" dt="2026-05-19T14:10:51.979" v="22"/>
            <ac:spMkLst>
              <pc:docMk/>
              <pc:sldMasterMk cId="1288455799" sldId="2147487484"/>
              <pc:sldLayoutMk cId="3143983799" sldId="2147488017"/>
              <ac:spMk id="1695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43983799" sldId="2147488017"/>
              <ac:spMk id="169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43983799" sldId="2147488017"/>
              <ac:spMk id="169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43983799" sldId="2147488017"/>
              <ac:spMk id="1695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771588827" sldId="2147488018"/>
          </pc:sldLayoutMkLst>
          <pc:spChg chg="mod">
            <ac:chgData name="Rebecca Hannah Ainis" userId="116137a0-2af5-436b-85e1-74d9d3b30f2f" providerId="ADAL" clId="{6E039243-4417-4220-A582-B1623E3F270F}" dt="2026-05-19T14:10:51.979" v="22"/>
            <ac:spMkLst>
              <pc:docMk/>
              <pc:sldMasterMk cId="1288455799" sldId="2147487484"/>
              <pc:sldLayoutMk cId="2771588827" sldId="2147488018"/>
              <ac:spMk id="1696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71588827" sldId="2147488018"/>
              <ac:spMk id="1696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71588827" sldId="2147488018"/>
              <ac:spMk id="169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71588827" sldId="2147488018"/>
              <ac:spMk id="1696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70420251" sldId="2147488021"/>
          </pc:sldLayoutMkLst>
          <pc:spChg chg="mod">
            <ac:chgData name="Rebecca Hannah Ainis" userId="116137a0-2af5-436b-85e1-74d9d3b30f2f" providerId="ADAL" clId="{6E039243-4417-4220-A582-B1623E3F270F}" dt="2026-05-19T14:10:51.979" v="22"/>
            <ac:spMkLst>
              <pc:docMk/>
              <pc:sldMasterMk cId="1288455799" sldId="2147487484"/>
              <pc:sldLayoutMk cId="670420251" sldId="2147488021"/>
              <ac:spMk id="1699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28289923" sldId="2147488022"/>
          </pc:sldLayoutMkLst>
          <pc:spChg chg="mod">
            <ac:chgData name="Rebecca Hannah Ainis" userId="116137a0-2af5-436b-85e1-74d9d3b30f2f" providerId="ADAL" clId="{6E039243-4417-4220-A582-B1623E3F270F}" dt="2026-05-19T14:10:51.979" v="22"/>
            <ac:spMkLst>
              <pc:docMk/>
              <pc:sldMasterMk cId="1288455799" sldId="2147487484"/>
              <pc:sldLayoutMk cId="1728289923" sldId="2147488022"/>
              <ac:spMk id="169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28289923" sldId="2147488022"/>
              <ac:spMk id="170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28289923" sldId="2147488022"/>
              <ac:spMk id="170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28289923" sldId="2147488022"/>
              <ac:spMk id="1700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79669399" sldId="2147488023"/>
          </pc:sldLayoutMkLst>
          <pc:spChg chg="mod">
            <ac:chgData name="Rebecca Hannah Ainis" userId="116137a0-2af5-436b-85e1-74d9d3b30f2f" providerId="ADAL" clId="{6E039243-4417-4220-A582-B1623E3F270F}" dt="2026-05-19T14:10:51.979" v="22"/>
            <ac:spMkLst>
              <pc:docMk/>
              <pc:sldMasterMk cId="1288455799" sldId="2147487484"/>
              <pc:sldLayoutMk cId="2479669399" sldId="2147488023"/>
              <ac:spMk id="170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79669399" sldId="2147488023"/>
              <ac:spMk id="170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79669399" sldId="2147488023"/>
              <ac:spMk id="170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79669399" sldId="2147488023"/>
              <ac:spMk id="1701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271450747" sldId="2147488024"/>
          </pc:sldLayoutMkLst>
          <pc:spChg chg="mod">
            <ac:chgData name="Rebecca Hannah Ainis" userId="116137a0-2af5-436b-85e1-74d9d3b30f2f" providerId="ADAL" clId="{6E039243-4417-4220-A582-B1623E3F270F}" dt="2026-05-19T14:10:51.979" v="22"/>
            <ac:spMkLst>
              <pc:docMk/>
              <pc:sldMasterMk cId="1288455799" sldId="2147487484"/>
              <pc:sldLayoutMk cId="3271450747" sldId="2147488024"/>
              <ac:spMk id="170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71450747" sldId="2147488024"/>
              <ac:spMk id="1703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71450747" sldId="2147488024"/>
              <ac:spMk id="170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71450747" sldId="2147488024"/>
              <ac:spMk id="1703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361073466" sldId="2147488025"/>
          </pc:sldLayoutMkLst>
          <pc:spChg chg="mod">
            <ac:chgData name="Rebecca Hannah Ainis" userId="116137a0-2af5-436b-85e1-74d9d3b30f2f" providerId="ADAL" clId="{6E039243-4417-4220-A582-B1623E3F270F}" dt="2026-05-19T14:10:51.979" v="22"/>
            <ac:spMkLst>
              <pc:docMk/>
              <pc:sldMasterMk cId="1288455799" sldId="2147487484"/>
              <pc:sldLayoutMk cId="2361073466" sldId="2147488025"/>
              <ac:spMk id="170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61073466" sldId="2147488025"/>
              <ac:spMk id="170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61073466" sldId="2147488025"/>
              <ac:spMk id="1704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61073466" sldId="2147488025"/>
              <ac:spMk id="170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61073466" sldId="2147488025"/>
              <ac:spMk id="1704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14470378" sldId="2147488026"/>
          </pc:sldLayoutMkLst>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14470378" sldId="2147488026"/>
              <ac:spMk id="1705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357796004" sldId="2147488028"/>
          </pc:sldLayoutMkLst>
          <pc:spChg chg="mod">
            <ac:chgData name="Rebecca Hannah Ainis" userId="116137a0-2af5-436b-85e1-74d9d3b30f2f" providerId="ADAL" clId="{6E039243-4417-4220-A582-B1623E3F270F}" dt="2026-05-19T14:10:51.979" v="22"/>
            <ac:spMkLst>
              <pc:docMk/>
              <pc:sldMasterMk cId="1288455799" sldId="2147487484"/>
              <pc:sldLayoutMk cId="2357796004" sldId="2147488028"/>
              <ac:spMk id="170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57796004" sldId="2147488028"/>
              <ac:spMk id="1707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722994528" sldId="2147488032"/>
          </pc:sldLayoutMkLst>
          <pc:spChg chg="mod">
            <ac:chgData name="Rebecca Hannah Ainis" userId="116137a0-2af5-436b-85e1-74d9d3b30f2f" providerId="ADAL" clId="{6E039243-4417-4220-A582-B1623E3F270F}" dt="2026-05-19T14:10:51.979" v="22"/>
            <ac:spMkLst>
              <pc:docMk/>
              <pc:sldMasterMk cId="1288455799" sldId="2147487484"/>
              <pc:sldLayoutMk cId="3722994528" sldId="2147488032"/>
              <ac:spMk id="1710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27420741" sldId="2147488033"/>
          </pc:sldLayoutMkLst>
          <pc:spChg chg="mod">
            <ac:chgData name="Rebecca Hannah Ainis" userId="116137a0-2af5-436b-85e1-74d9d3b30f2f" providerId="ADAL" clId="{6E039243-4417-4220-A582-B1623E3F270F}" dt="2026-05-19T14:10:51.979" v="22"/>
            <ac:spMkLst>
              <pc:docMk/>
              <pc:sldMasterMk cId="1288455799" sldId="2147487484"/>
              <pc:sldLayoutMk cId="327420741" sldId="2147488033"/>
              <ac:spMk id="171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7420741" sldId="2147488033"/>
              <ac:spMk id="171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7420741" sldId="2147488033"/>
              <ac:spMk id="171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27420741" sldId="2147488033"/>
              <ac:spMk id="1711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1139145" sldId="2147488034"/>
          </pc:sldLayoutMkLst>
          <pc:spChg chg="mod">
            <ac:chgData name="Rebecca Hannah Ainis" userId="116137a0-2af5-436b-85e1-74d9d3b30f2f" providerId="ADAL" clId="{6E039243-4417-4220-A582-B1623E3F270F}" dt="2026-05-19T14:10:51.979" v="22"/>
            <ac:spMkLst>
              <pc:docMk/>
              <pc:sldMasterMk cId="1288455799" sldId="2147487484"/>
              <pc:sldLayoutMk cId="411139145" sldId="2147488034"/>
              <ac:spMk id="171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1139145" sldId="2147488034"/>
              <ac:spMk id="1713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1139145" sldId="2147488034"/>
              <ac:spMk id="171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1139145" sldId="2147488034"/>
              <ac:spMk id="1713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326491628" sldId="2147488035"/>
          </pc:sldLayoutMkLst>
          <pc:spChg chg="mod">
            <ac:chgData name="Rebecca Hannah Ainis" userId="116137a0-2af5-436b-85e1-74d9d3b30f2f" providerId="ADAL" clId="{6E039243-4417-4220-A582-B1623E3F270F}" dt="2026-05-19T14:10:51.979" v="22"/>
            <ac:spMkLst>
              <pc:docMk/>
              <pc:sldMasterMk cId="1288455799" sldId="2147487484"/>
              <pc:sldLayoutMk cId="2326491628" sldId="2147488035"/>
              <ac:spMk id="171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26491628" sldId="2147488035"/>
              <ac:spMk id="171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26491628" sldId="2147488035"/>
              <ac:spMk id="1714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26491628" sldId="2147488035"/>
              <ac:spMk id="171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26491628" sldId="2147488035"/>
              <ac:spMk id="1714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1513552" sldId="2147488036"/>
          </pc:sldLayoutMkLst>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1513552" sldId="2147488036"/>
              <ac:spMk id="1715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98050102" sldId="2147488038"/>
          </pc:sldLayoutMkLst>
          <pc:spChg chg="mod">
            <ac:chgData name="Rebecca Hannah Ainis" userId="116137a0-2af5-436b-85e1-74d9d3b30f2f" providerId="ADAL" clId="{6E039243-4417-4220-A582-B1623E3F270F}" dt="2026-05-19T14:10:51.979" v="22"/>
            <ac:spMkLst>
              <pc:docMk/>
              <pc:sldMasterMk cId="1288455799" sldId="2147487484"/>
              <pc:sldLayoutMk cId="3898050102" sldId="2147488038"/>
              <ac:spMk id="171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98050102" sldId="2147488038"/>
              <ac:spMk id="1717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39754427" sldId="2147488040"/>
          </pc:sldLayoutMkLst>
          <pc:spChg chg="mod">
            <ac:chgData name="Rebecca Hannah Ainis" userId="116137a0-2af5-436b-85e1-74d9d3b30f2f" providerId="ADAL" clId="{6E039243-4417-4220-A582-B1623E3F270F}" dt="2026-05-19T14:10:51.979" v="22"/>
            <ac:spMkLst>
              <pc:docMk/>
              <pc:sldMasterMk cId="1288455799" sldId="2147487484"/>
              <pc:sldLayoutMk cId="4239754427" sldId="2147488040"/>
              <ac:spMk id="1718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9754427" sldId="2147488040"/>
              <ac:spMk id="171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9754427" sldId="2147488040"/>
              <ac:spMk id="1719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9754427" sldId="2147488040"/>
              <ac:spMk id="1719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46479964" sldId="2147488043"/>
          </pc:sldLayoutMkLst>
          <pc:spChg chg="mod">
            <ac:chgData name="Rebecca Hannah Ainis" userId="116137a0-2af5-436b-85e1-74d9d3b30f2f" providerId="ADAL" clId="{6E039243-4417-4220-A582-B1623E3F270F}" dt="2026-05-19T14:10:51.979" v="22"/>
            <ac:spMkLst>
              <pc:docMk/>
              <pc:sldMasterMk cId="1288455799" sldId="2147487484"/>
              <pc:sldLayoutMk cId="2446479964" sldId="2147488043"/>
              <ac:spMk id="1721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011206073" sldId="2147488044"/>
          </pc:sldLayoutMkLst>
          <pc:spChg chg="mod">
            <ac:chgData name="Rebecca Hannah Ainis" userId="116137a0-2af5-436b-85e1-74d9d3b30f2f" providerId="ADAL" clId="{6E039243-4417-4220-A582-B1623E3F270F}" dt="2026-05-19T14:10:51.979" v="22"/>
            <ac:spMkLst>
              <pc:docMk/>
              <pc:sldMasterMk cId="1288455799" sldId="2147487484"/>
              <pc:sldLayoutMk cId="1011206073" sldId="2147488044"/>
              <ac:spMk id="1722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11206073" sldId="2147488044"/>
              <ac:spMk id="1722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11206073" sldId="2147488044"/>
              <ac:spMk id="172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11206073" sldId="2147488044"/>
              <ac:spMk id="1722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746914695" sldId="2147488045"/>
          </pc:sldLayoutMkLst>
          <pc:spChg chg="mod">
            <ac:chgData name="Rebecca Hannah Ainis" userId="116137a0-2af5-436b-85e1-74d9d3b30f2f" providerId="ADAL" clId="{6E039243-4417-4220-A582-B1623E3F270F}" dt="2026-05-19T14:10:51.979" v="22"/>
            <ac:spMkLst>
              <pc:docMk/>
              <pc:sldMasterMk cId="1288455799" sldId="2147487484"/>
              <pc:sldLayoutMk cId="746914695" sldId="2147488045"/>
              <ac:spMk id="1724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46914695" sldId="2147488045"/>
              <ac:spMk id="172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46914695" sldId="2147488045"/>
              <ac:spMk id="1724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46914695" sldId="2147488045"/>
              <ac:spMk id="1724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386814257" sldId="2147488046"/>
          </pc:sldLayoutMkLst>
          <pc:spChg chg="mod">
            <ac:chgData name="Rebecca Hannah Ainis" userId="116137a0-2af5-436b-85e1-74d9d3b30f2f" providerId="ADAL" clId="{6E039243-4417-4220-A582-B1623E3F270F}" dt="2026-05-19T14:10:51.979" v="22"/>
            <ac:spMkLst>
              <pc:docMk/>
              <pc:sldMasterMk cId="1288455799" sldId="2147487484"/>
              <pc:sldLayoutMk cId="2386814257" sldId="2147488046"/>
              <ac:spMk id="1724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86814257" sldId="2147488046"/>
              <ac:spMk id="1724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86814257" sldId="2147488046"/>
              <ac:spMk id="172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86814257" sldId="2147488046"/>
              <ac:spMk id="1725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86814257" sldId="2147488046"/>
              <ac:spMk id="1725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8718729" sldId="2147488047"/>
          </pc:sldLayoutMkLst>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6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6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6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7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718729" sldId="2147488047"/>
              <ac:spMk id="1727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349919125" sldId="2147488049"/>
          </pc:sldLayoutMkLst>
          <pc:spChg chg="mod">
            <ac:chgData name="Rebecca Hannah Ainis" userId="116137a0-2af5-436b-85e1-74d9d3b30f2f" providerId="ADAL" clId="{6E039243-4417-4220-A582-B1623E3F270F}" dt="2026-05-19T14:10:51.979" v="22"/>
            <ac:spMkLst>
              <pc:docMk/>
              <pc:sldMasterMk cId="1288455799" sldId="2147487484"/>
              <pc:sldLayoutMk cId="1349919125" sldId="2147488049"/>
              <ac:spMk id="172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49919125" sldId="2147488049"/>
              <ac:spMk id="1728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947864310" sldId="2147488051"/>
          </pc:sldLayoutMkLst>
          <pc:spChg chg="mod">
            <ac:chgData name="Rebecca Hannah Ainis" userId="116137a0-2af5-436b-85e1-74d9d3b30f2f" providerId="ADAL" clId="{6E039243-4417-4220-A582-B1623E3F270F}" dt="2026-05-19T14:10:51.979" v="22"/>
            <ac:spMkLst>
              <pc:docMk/>
              <pc:sldMasterMk cId="1288455799" sldId="2147487484"/>
              <pc:sldLayoutMk cId="3947864310" sldId="2147488051"/>
              <ac:spMk id="1730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47864310" sldId="2147488051"/>
              <ac:spMk id="1730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47864310" sldId="2147488051"/>
              <ac:spMk id="1730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47864310" sldId="2147488051"/>
              <ac:spMk id="1730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976112975" sldId="2147488053"/>
          </pc:sldLayoutMkLst>
          <pc:spChg chg="mod">
            <ac:chgData name="Rebecca Hannah Ainis" userId="116137a0-2af5-436b-85e1-74d9d3b30f2f" providerId="ADAL" clId="{6E039243-4417-4220-A582-B1623E3F270F}" dt="2026-05-19T14:10:51.979" v="22"/>
            <ac:spMkLst>
              <pc:docMk/>
              <pc:sldMasterMk cId="1288455799" sldId="2147487484"/>
              <pc:sldLayoutMk cId="3976112975" sldId="2147488053"/>
              <ac:spMk id="173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6112975" sldId="2147488053"/>
              <ac:spMk id="1732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6112975" sldId="2147488053"/>
              <ac:spMk id="1732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6112975" sldId="2147488053"/>
              <ac:spMk id="1732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6112975" sldId="2147488053"/>
              <ac:spMk id="1732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76112975" sldId="2147488053"/>
              <ac:spMk id="1732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557259378" sldId="2147488054"/>
          </pc:sldLayoutMkLst>
          <pc:spChg chg="mod">
            <ac:chgData name="Rebecca Hannah Ainis" userId="116137a0-2af5-436b-85e1-74d9d3b30f2f" providerId="ADAL" clId="{6E039243-4417-4220-A582-B1623E3F270F}" dt="2026-05-19T14:10:51.979" v="22"/>
            <ac:spMkLst>
              <pc:docMk/>
              <pc:sldMasterMk cId="1288455799" sldId="2147487484"/>
              <pc:sldLayoutMk cId="3557259378" sldId="2147488054"/>
              <ac:spMk id="1733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57259378" sldId="2147488054"/>
              <ac:spMk id="173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57259378" sldId="2147488054"/>
              <ac:spMk id="1733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57259378" sldId="2147488054"/>
              <ac:spMk id="1733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57259378" sldId="2147488054"/>
              <ac:spMk id="1733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557259378" sldId="2147488054"/>
              <ac:spMk id="1733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72168347" sldId="2147488055"/>
          </pc:sldLayoutMkLst>
          <pc:spChg chg="mod">
            <ac:chgData name="Rebecca Hannah Ainis" userId="116137a0-2af5-436b-85e1-74d9d3b30f2f" providerId="ADAL" clId="{6E039243-4417-4220-A582-B1623E3F270F}" dt="2026-05-19T14:10:51.979" v="22"/>
            <ac:spMkLst>
              <pc:docMk/>
              <pc:sldMasterMk cId="1288455799" sldId="2147487484"/>
              <pc:sldLayoutMk cId="1772168347" sldId="2147488055"/>
              <ac:spMk id="1734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72168347" sldId="2147488055"/>
              <ac:spMk id="1734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86966692" sldId="2147488056"/>
          </pc:sldLayoutMkLst>
          <pc:spChg chg="mod">
            <ac:chgData name="Rebecca Hannah Ainis" userId="116137a0-2af5-436b-85e1-74d9d3b30f2f" providerId="ADAL" clId="{6E039243-4417-4220-A582-B1623E3F270F}" dt="2026-05-19T14:10:51.979" v="22"/>
            <ac:spMkLst>
              <pc:docMk/>
              <pc:sldMasterMk cId="1288455799" sldId="2147487484"/>
              <pc:sldLayoutMk cId="1786966692" sldId="2147488056"/>
              <ac:spMk id="1734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86966692" sldId="2147488056"/>
              <ac:spMk id="1735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80097454" sldId="2147488057"/>
          </pc:sldLayoutMkLst>
          <pc:spChg chg="mod">
            <ac:chgData name="Rebecca Hannah Ainis" userId="116137a0-2af5-436b-85e1-74d9d3b30f2f" providerId="ADAL" clId="{6E039243-4417-4220-A582-B1623E3F270F}" dt="2026-05-19T14:10:51.979" v="22"/>
            <ac:spMkLst>
              <pc:docMk/>
              <pc:sldMasterMk cId="1288455799" sldId="2147487484"/>
              <pc:sldLayoutMk cId="680097454" sldId="2147488057"/>
              <ac:spMk id="173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80097454" sldId="2147488057"/>
              <ac:spMk id="173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80097454" sldId="2147488057"/>
              <ac:spMk id="1735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011093994" sldId="2147488058"/>
          </pc:sldLayoutMkLst>
          <pc:spChg chg="mod">
            <ac:chgData name="Rebecca Hannah Ainis" userId="116137a0-2af5-436b-85e1-74d9d3b30f2f" providerId="ADAL" clId="{6E039243-4417-4220-A582-B1623E3F270F}" dt="2026-05-19T14:10:51.979" v="22"/>
            <ac:spMkLst>
              <pc:docMk/>
              <pc:sldMasterMk cId="1288455799" sldId="2147487484"/>
              <pc:sldLayoutMk cId="3011093994" sldId="2147488058"/>
              <ac:spMk id="1735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11093994" sldId="2147488058"/>
              <ac:spMk id="1736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11093994" sldId="2147488058"/>
              <ac:spMk id="1736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11093994" sldId="2147488058"/>
              <ac:spMk id="1736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11093994" sldId="2147488058"/>
              <ac:spMk id="1736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11093994" sldId="2147488058"/>
              <ac:spMk id="1736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529673348" sldId="2147488059"/>
          </pc:sldLayoutMkLst>
          <pc:spChg chg="mod">
            <ac:chgData name="Rebecca Hannah Ainis" userId="116137a0-2af5-436b-85e1-74d9d3b30f2f" providerId="ADAL" clId="{6E039243-4417-4220-A582-B1623E3F270F}" dt="2026-05-19T14:10:51.979" v="22"/>
            <ac:spMkLst>
              <pc:docMk/>
              <pc:sldMasterMk cId="1288455799" sldId="2147487484"/>
              <pc:sldLayoutMk cId="2529673348" sldId="2147488059"/>
              <ac:spMk id="1736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29673348" sldId="2147488059"/>
              <ac:spMk id="1737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713246828" sldId="2147488060"/>
          </pc:sldLayoutMkLst>
          <pc:spChg chg="mod">
            <ac:chgData name="Rebecca Hannah Ainis" userId="116137a0-2af5-436b-85e1-74d9d3b30f2f" providerId="ADAL" clId="{6E039243-4417-4220-A582-B1623E3F270F}" dt="2026-05-19T14:10:51.979" v="22"/>
            <ac:spMkLst>
              <pc:docMk/>
              <pc:sldMasterMk cId="1288455799" sldId="2147487484"/>
              <pc:sldLayoutMk cId="3713246828" sldId="2147488060"/>
              <ac:spMk id="1737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13246828" sldId="2147488060"/>
              <ac:spMk id="1737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306572502" sldId="2147488061"/>
          </pc:sldLayoutMkLst>
          <pc:spChg chg="mod">
            <ac:chgData name="Rebecca Hannah Ainis" userId="116137a0-2af5-436b-85e1-74d9d3b30f2f" providerId="ADAL" clId="{6E039243-4417-4220-A582-B1623E3F270F}" dt="2026-05-19T14:10:51.979" v="22"/>
            <ac:spMkLst>
              <pc:docMk/>
              <pc:sldMasterMk cId="1288455799" sldId="2147487484"/>
              <pc:sldLayoutMk cId="2306572502" sldId="2147488061"/>
              <ac:spMk id="1738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06572502" sldId="2147488061"/>
              <ac:spMk id="1738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306572502" sldId="2147488061"/>
              <ac:spMk id="1738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047331989" sldId="2147488062"/>
          </pc:sldLayoutMkLst>
          <pc:spChg chg="mod">
            <ac:chgData name="Rebecca Hannah Ainis" userId="116137a0-2af5-436b-85e1-74d9d3b30f2f" providerId="ADAL" clId="{6E039243-4417-4220-A582-B1623E3F270F}" dt="2026-05-19T14:10:51.979" v="22"/>
            <ac:spMkLst>
              <pc:docMk/>
              <pc:sldMasterMk cId="1288455799" sldId="2147487484"/>
              <pc:sldLayoutMk cId="1047331989" sldId="2147488062"/>
              <ac:spMk id="173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47331989" sldId="2147488062"/>
              <ac:spMk id="1738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47331989" sldId="2147488062"/>
              <ac:spMk id="173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47331989" sldId="2147488062"/>
              <ac:spMk id="1739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47331989" sldId="2147488062"/>
              <ac:spMk id="173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47331989" sldId="2147488062"/>
              <ac:spMk id="1739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85961578" sldId="2147488063"/>
          </pc:sldLayoutMkLst>
          <pc:spChg chg="mod">
            <ac:chgData name="Rebecca Hannah Ainis" userId="116137a0-2af5-436b-85e1-74d9d3b30f2f" providerId="ADAL" clId="{6E039243-4417-4220-A582-B1623E3F270F}" dt="2026-05-19T14:10:51.979" v="22"/>
            <ac:spMkLst>
              <pc:docMk/>
              <pc:sldMasterMk cId="1288455799" sldId="2147487484"/>
              <pc:sldLayoutMk cId="685961578" sldId="2147488063"/>
              <ac:spMk id="1739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85961578" sldId="2147488063"/>
              <ac:spMk id="1740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80800940" sldId="2147488064"/>
          </pc:sldLayoutMkLst>
          <pc:spChg chg="mod">
            <ac:chgData name="Rebecca Hannah Ainis" userId="116137a0-2af5-436b-85e1-74d9d3b30f2f" providerId="ADAL" clId="{6E039243-4417-4220-A582-B1623E3F270F}" dt="2026-05-19T14:10:51.979" v="22"/>
            <ac:spMkLst>
              <pc:docMk/>
              <pc:sldMasterMk cId="1288455799" sldId="2147487484"/>
              <pc:sldLayoutMk cId="680800940" sldId="2147488064"/>
              <ac:spMk id="174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80800940" sldId="2147488064"/>
              <ac:spMk id="1740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64016098" sldId="2147488065"/>
          </pc:sldLayoutMkLst>
          <pc:spChg chg="mod">
            <ac:chgData name="Rebecca Hannah Ainis" userId="116137a0-2af5-436b-85e1-74d9d3b30f2f" providerId="ADAL" clId="{6E039243-4417-4220-A582-B1623E3F270F}" dt="2026-05-19T14:10:51.979" v="22"/>
            <ac:spMkLst>
              <pc:docMk/>
              <pc:sldMasterMk cId="1288455799" sldId="2147487484"/>
              <pc:sldLayoutMk cId="3864016098" sldId="2147488065"/>
              <ac:spMk id="174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64016098" sldId="2147488065"/>
              <ac:spMk id="174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64016098" sldId="2147488065"/>
              <ac:spMk id="1741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18257900" sldId="2147488066"/>
          </pc:sldLayoutMkLst>
          <pc:spChg chg="mod">
            <ac:chgData name="Rebecca Hannah Ainis" userId="116137a0-2af5-436b-85e1-74d9d3b30f2f" providerId="ADAL" clId="{6E039243-4417-4220-A582-B1623E3F270F}" dt="2026-05-19T14:10:51.979" v="22"/>
            <ac:spMkLst>
              <pc:docMk/>
              <pc:sldMasterMk cId="1288455799" sldId="2147487484"/>
              <pc:sldLayoutMk cId="2918257900" sldId="2147488066"/>
              <ac:spMk id="1741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18257900" sldId="2147488066"/>
              <ac:spMk id="1741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18257900" sldId="2147488066"/>
              <ac:spMk id="1741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18257900" sldId="2147488066"/>
              <ac:spMk id="174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18257900" sldId="2147488066"/>
              <ac:spMk id="1742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18257900" sldId="2147488066"/>
              <ac:spMk id="1742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12764964" sldId="2147488067"/>
          </pc:sldLayoutMkLst>
          <pc:spChg chg="mod">
            <ac:chgData name="Rebecca Hannah Ainis" userId="116137a0-2af5-436b-85e1-74d9d3b30f2f" providerId="ADAL" clId="{6E039243-4417-4220-A582-B1623E3F270F}" dt="2026-05-19T14:10:51.979" v="22"/>
            <ac:spMkLst>
              <pc:docMk/>
              <pc:sldMasterMk cId="1288455799" sldId="2147487484"/>
              <pc:sldLayoutMk cId="212764964" sldId="2147488067"/>
              <ac:spMk id="174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764964" sldId="2147488067"/>
              <ac:spMk id="174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764964" sldId="2147488067"/>
              <ac:spMk id="174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764964" sldId="2147488067"/>
              <ac:spMk id="1743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764964" sldId="2147488067"/>
              <ac:spMk id="174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764964" sldId="2147488067"/>
              <ac:spMk id="1743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32307000" sldId="2147488068"/>
          </pc:sldLayoutMkLst>
          <pc:spChg chg="mod">
            <ac:chgData name="Rebecca Hannah Ainis" userId="116137a0-2af5-436b-85e1-74d9d3b30f2f" providerId="ADAL" clId="{6E039243-4417-4220-A582-B1623E3F270F}" dt="2026-05-19T14:10:51.979" v="22"/>
            <ac:spMkLst>
              <pc:docMk/>
              <pc:sldMasterMk cId="1288455799" sldId="2147487484"/>
              <pc:sldLayoutMk cId="3832307000" sldId="2147488068"/>
              <ac:spMk id="1743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32307000" sldId="2147488068"/>
              <ac:spMk id="1744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325147426" sldId="2147488069"/>
          </pc:sldLayoutMkLst>
          <pc:spChg chg="mod">
            <ac:chgData name="Rebecca Hannah Ainis" userId="116137a0-2af5-436b-85e1-74d9d3b30f2f" providerId="ADAL" clId="{6E039243-4417-4220-A582-B1623E3F270F}" dt="2026-05-19T14:10:51.979" v="22"/>
            <ac:spMkLst>
              <pc:docMk/>
              <pc:sldMasterMk cId="1288455799" sldId="2147487484"/>
              <pc:sldLayoutMk cId="1325147426" sldId="2147488069"/>
              <ac:spMk id="174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25147426" sldId="2147488069"/>
              <ac:spMk id="1744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728342816" sldId="2147488070"/>
          </pc:sldLayoutMkLst>
          <pc:spChg chg="mod">
            <ac:chgData name="Rebecca Hannah Ainis" userId="116137a0-2af5-436b-85e1-74d9d3b30f2f" providerId="ADAL" clId="{6E039243-4417-4220-A582-B1623E3F270F}" dt="2026-05-19T14:10:51.979" v="22"/>
            <ac:spMkLst>
              <pc:docMk/>
              <pc:sldMasterMk cId="1288455799" sldId="2147487484"/>
              <pc:sldLayoutMk cId="2728342816" sldId="2147488070"/>
              <ac:spMk id="174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28342816" sldId="2147488070"/>
              <ac:spMk id="174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28342816" sldId="2147488070"/>
              <ac:spMk id="1745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55107709" sldId="2147488071"/>
          </pc:sldLayoutMkLst>
          <pc:spChg chg="mod">
            <ac:chgData name="Rebecca Hannah Ainis" userId="116137a0-2af5-436b-85e1-74d9d3b30f2f" providerId="ADAL" clId="{6E039243-4417-4220-A582-B1623E3F270F}" dt="2026-05-19T14:10:51.979" v="22"/>
            <ac:spMkLst>
              <pc:docMk/>
              <pc:sldMasterMk cId="1288455799" sldId="2147487484"/>
              <pc:sldLayoutMk cId="455107709" sldId="2147488071"/>
              <ac:spMk id="1745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55107709" sldId="2147488071"/>
              <ac:spMk id="174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55107709" sldId="2147488071"/>
              <ac:spMk id="174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55107709" sldId="2147488071"/>
              <ac:spMk id="1745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55107709" sldId="2147488071"/>
              <ac:spMk id="1746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55107709" sldId="2147488071"/>
              <ac:spMk id="1746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707320738" sldId="2147488072"/>
          </pc:sldLayoutMkLst>
          <pc:spChg chg="mod">
            <ac:chgData name="Rebecca Hannah Ainis" userId="116137a0-2af5-436b-85e1-74d9d3b30f2f" providerId="ADAL" clId="{6E039243-4417-4220-A582-B1623E3F270F}" dt="2026-05-19T14:10:51.979" v="22"/>
            <ac:spMkLst>
              <pc:docMk/>
              <pc:sldMasterMk cId="1288455799" sldId="2147487484"/>
              <pc:sldLayoutMk cId="707320738" sldId="2147488072"/>
              <ac:spMk id="174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07320738" sldId="2147488072"/>
              <ac:spMk id="1746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048520427" sldId="2147488073"/>
          </pc:sldLayoutMkLst>
          <pc:spChg chg="mod">
            <ac:chgData name="Rebecca Hannah Ainis" userId="116137a0-2af5-436b-85e1-74d9d3b30f2f" providerId="ADAL" clId="{6E039243-4417-4220-A582-B1623E3F270F}" dt="2026-05-19T14:10:51.979" v="22"/>
            <ac:spMkLst>
              <pc:docMk/>
              <pc:sldMasterMk cId="1288455799" sldId="2147487484"/>
              <pc:sldLayoutMk cId="4048520427" sldId="2147488073"/>
              <ac:spMk id="174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48520427" sldId="2147488073"/>
              <ac:spMk id="1747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28316103" sldId="2147488074"/>
          </pc:sldLayoutMkLst>
          <pc:spChg chg="mod">
            <ac:chgData name="Rebecca Hannah Ainis" userId="116137a0-2af5-436b-85e1-74d9d3b30f2f" providerId="ADAL" clId="{6E039243-4417-4220-A582-B1623E3F270F}" dt="2026-05-19T14:10:51.979" v="22"/>
            <ac:spMkLst>
              <pc:docMk/>
              <pc:sldMasterMk cId="1288455799" sldId="2147487484"/>
              <pc:sldLayoutMk cId="628316103" sldId="2147488074"/>
              <ac:spMk id="174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28316103" sldId="2147488074"/>
              <ac:spMk id="174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28316103" sldId="2147488074"/>
              <ac:spMk id="1748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61669568" sldId="2147488075"/>
          </pc:sldLayoutMkLst>
          <pc:spChg chg="mod">
            <ac:chgData name="Rebecca Hannah Ainis" userId="116137a0-2af5-436b-85e1-74d9d3b30f2f" providerId="ADAL" clId="{6E039243-4417-4220-A582-B1623E3F270F}" dt="2026-05-19T14:10:51.979" v="22"/>
            <ac:spMkLst>
              <pc:docMk/>
              <pc:sldMasterMk cId="1288455799" sldId="2147487484"/>
              <pc:sldLayoutMk cId="2961669568" sldId="2147488075"/>
              <ac:spMk id="1748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61669568" sldId="2147488075"/>
              <ac:spMk id="1748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566037856" sldId="2147488076"/>
          </pc:sldLayoutMkLst>
          <pc:spChg chg="mod">
            <ac:chgData name="Rebecca Hannah Ainis" userId="116137a0-2af5-436b-85e1-74d9d3b30f2f" providerId="ADAL" clId="{6E039243-4417-4220-A582-B1623E3F270F}" dt="2026-05-19T14:10:51.979" v="22"/>
            <ac:spMkLst>
              <pc:docMk/>
              <pc:sldMasterMk cId="1288455799" sldId="2147487484"/>
              <pc:sldLayoutMk cId="566037856" sldId="2147488076"/>
              <ac:spMk id="174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566037856" sldId="2147488076"/>
              <ac:spMk id="1749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43887747" sldId="2147488077"/>
          </pc:sldLayoutMkLst>
          <pc:spChg chg="mod">
            <ac:chgData name="Rebecca Hannah Ainis" userId="116137a0-2af5-436b-85e1-74d9d3b30f2f" providerId="ADAL" clId="{6E039243-4417-4220-A582-B1623E3F270F}" dt="2026-05-19T14:10:51.979" v="22"/>
            <ac:spMkLst>
              <pc:docMk/>
              <pc:sldMasterMk cId="1288455799" sldId="2147487484"/>
              <pc:sldLayoutMk cId="2443887747" sldId="2147488077"/>
              <ac:spMk id="174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43887747" sldId="2147488077"/>
              <ac:spMk id="175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43887747" sldId="2147488077"/>
              <ac:spMk id="1750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39527746" sldId="2147488078"/>
          </pc:sldLayoutMkLst>
          <pc:spChg chg="mod">
            <ac:chgData name="Rebecca Hannah Ainis" userId="116137a0-2af5-436b-85e1-74d9d3b30f2f" providerId="ADAL" clId="{6E039243-4417-4220-A582-B1623E3F270F}" dt="2026-05-19T14:10:51.979" v="22"/>
            <ac:spMkLst>
              <pc:docMk/>
              <pc:sldMasterMk cId="1288455799" sldId="2147487484"/>
              <pc:sldLayoutMk cId="3339527746" sldId="2147488078"/>
              <ac:spMk id="1750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39527746" sldId="2147488078"/>
              <ac:spMk id="1750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39527746" sldId="2147488078"/>
              <ac:spMk id="1750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39527746" sldId="2147488078"/>
              <ac:spMk id="175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39527746" sldId="2147488078"/>
              <ac:spMk id="1750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39527746" sldId="2147488078"/>
              <ac:spMk id="1751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080823343" sldId="2147488079"/>
          </pc:sldLayoutMkLst>
          <pc:spChg chg="mod">
            <ac:chgData name="Rebecca Hannah Ainis" userId="116137a0-2af5-436b-85e1-74d9d3b30f2f" providerId="ADAL" clId="{6E039243-4417-4220-A582-B1623E3F270F}" dt="2026-05-19T14:10:51.979" v="22"/>
            <ac:spMkLst>
              <pc:docMk/>
              <pc:sldMasterMk cId="1288455799" sldId="2147487484"/>
              <pc:sldLayoutMk cId="4080823343" sldId="2147488079"/>
              <ac:spMk id="175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80823343" sldId="2147488079"/>
              <ac:spMk id="1751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80823343" sldId="2147488079"/>
              <ac:spMk id="1751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80823343" sldId="2147488079"/>
              <ac:spMk id="1751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80823343" sldId="2147488079"/>
              <ac:spMk id="1751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080823343" sldId="2147488079"/>
              <ac:spMk id="1752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833510017" sldId="2147488080"/>
          </pc:sldLayoutMkLst>
          <pc:spChg chg="mod">
            <ac:chgData name="Rebecca Hannah Ainis" userId="116137a0-2af5-436b-85e1-74d9d3b30f2f" providerId="ADAL" clId="{6E039243-4417-4220-A582-B1623E3F270F}" dt="2026-05-19T14:10:51.979" v="22"/>
            <ac:spMkLst>
              <pc:docMk/>
              <pc:sldMasterMk cId="1288455799" sldId="2147487484"/>
              <pc:sldLayoutMk cId="2833510017" sldId="2147488080"/>
              <ac:spMk id="1752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33510017" sldId="2147488080"/>
              <ac:spMk id="1752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824677821" sldId="2147488081"/>
          </pc:sldLayoutMkLst>
          <pc:spChg chg="mod">
            <ac:chgData name="Rebecca Hannah Ainis" userId="116137a0-2af5-436b-85e1-74d9d3b30f2f" providerId="ADAL" clId="{6E039243-4417-4220-A582-B1623E3F270F}" dt="2026-05-19T14:10:51.979" v="22"/>
            <ac:spMkLst>
              <pc:docMk/>
              <pc:sldMasterMk cId="1288455799" sldId="2147487484"/>
              <pc:sldLayoutMk cId="824677821" sldId="2147488081"/>
              <ac:spMk id="1753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824677821" sldId="2147488081"/>
              <ac:spMk id="1753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75755622" sldId="2147488082"/>
          </pc:sldLayoutMkLst>
          <pc:spChg chg="mod">
            <ac:chgData name="Rebecca Hannah Ainis" userId="116137a0-2af5-436b-85e1-74d9d3b30f2f" providerId="ADAL" clId="{6E039243-4417-4220-A582-B1623E3F270F}" dt="2026-05-19T14:10:51.979" v="22"/>
            <ac:spMkLst>
              <pc:docMk/>
              <pc:sldMasterMk cId="1288455799" sldId="2147487484"/>
              <pc:sldLayoutMk cId="75755622" sldId="2147488082"/>
              <ac:spMk id="1753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5755622" sldId="2147488082"/>
              <ac:spMk id="1753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5755622" sldId="2147488082"/>
              <ac:spMk id="1754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3975713" sldId="2147488083"/>
          </pc:sldLayoutMkLst>
          <pc:spChg chg="mod">
            <ac:chgData name="Rebecca Hannah Ainis" userId="116137a0-2af5-436b-85e1-74d9d3b30f2f" providerId="ADAL" clId="{6E039243-4417-4220-A582-B1623E3F270F}" dt="2026-05-19T14:10:51.979" v="22"/>
            <ac:spMkLst>
              <pc:docMk/>
              <pc:sldMasterMk cId="1288455799" sldId="2147487484"/>
              <pc:sldLayoutMk cId="383975713" sldId="2147488083"/>
              <ac:spMk id="175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3975713" sldId="2147488083"/>
              <ac:spMk id="1754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3975713" sldId="2147488083"/>
              <ac:spMk id="1754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3975713" sldId="2147488083"/>
              <ac:spMk id="175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3975713" sldId="2147488083"/>
              <ac:spMk id="1754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3975713" sldId="2147488083"/>
              <ac:spMk id="1755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81891891" sldId="2147488084"/>
          </pc:sldLayoutMkLst>
          <pc:spChg chg="mod">
            <ac:chgData name="Rebecca Hannah Ainis" userId="116137a0-2af5-436b-85e1-74d9d3b30f2f" providerId="ADAL" clId="{6E039243-4417-4220-A582-B1623E3F270F}" dt="2026-05-19T14:10:51.979" v="22"/>
            <ac:spMkLst>
              <pc:docMk/>
              <pc:sldMasterMk cId="1288455799" sldId="2147487484"/>
              <pc:sldLayoutMk cId="681891891" sldId="2147488084"/>
              <ac:spMk id="175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81891891" sldId="2147488084"/>
              <ac:spMk id="1755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196446573" sldId="2147488085"/>
          </pc:sldLayoutMkLst>
          <pc:spChg chg="mod">
            <ac:chgData name="Rebecca Hannah Ainis" userId="116137a0-2af5-436b-85e1-74d9d3b30f2f" providerId="ADAL" clId="{6E039243-4417-4220-A582-B1623E3F270F}" dt="2026-05-19T14:10:51.979" v="22"/>
            <ac:spMkLst>
              <pc:docMk/>
              <pc:sldMasterMk cId="1288455799" sldId="2147487484"/>
              <pc:sldLayoutMk cId="1196446573" sldId="2147488085"/>
              <ac:spMk id="1756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96446573" sldId="2147488085"/>
              <ac:spMk id="1756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34074666" sldId="2147488086"/>
          </pc:sldLayoutMkLst>
          <pc:spChg chg="mod">
            <ac:chgData name="Rebecca Hannah Ainis" userId="116137a0-2af5-436b-85e1-74d9d3b30f2f" providerId="ADAL" clId="{6E039243-4417-4220-A582-B1623E3F270F}" dt="2026-05-19T14:10:51.979" v="22"/>
            <ac:spMkLst>
              <pc:docMk/>
              <pc:sldMasterMk cId="1288455799" sldId="2147487484"/>
              <pc:sldLayoutMk cId="4234074666" sldId="2147488086"/>
              <ac:spMk id="1756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4074666" sldId="2147488086"/>
              <ac:spMk id="1756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4074666" sldId="2147488086"/>
              <ac:spMk id="1756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34961456" sldId="2147488089"/>
          </pc:sldLayoutMkLst>
          <pc:spChg chg="mod">
            <ac:chgData name="Rebecca Hannah Ainis" userId="116137a0-2af5-436b-85e1-74d9d3b30f2f" providerId="ADAL" clId="{6E039243-4417-4220-A582-B1623E3F270F}" dt="2026-05-19T14:10:51.979" v="22"/>
            <ac:spMkLst>
              <pc:docMk/>
              <pc:sldMasterMk cId="1288455799" sldId="2147487484"/>
              <pc:sldLayoutMk cId="1234961456" sldId="2147488089"/>
              <ac:spMk id="1758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315532576" sldId="2147488090"/>
          </pc:sldLayoutMkLst>
          <pc:spChg chg="mod">
            <ac:chgData name="Rebecca Hannah Ainis" userId="116137a0-2af5-436b-85e1-74d9d3b30f2f" providerId="ADAL" clId="{6E039243-4417-4220-A582-B1623E3F270F}" dt="2026-05-19T14:10:51.979" v="22"/>
            <ac:spMkLst>
              <pc:docMk/>
              <pc:sldMasterMk cId="1288455799" sldId="2147487484"/>
              <pc:sldLayoutMk cId="1315532576" sldId="2147488090"/>
              <ac:spMk id="1759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15532576" sldId="2147488090"/>
              <ac:spMk id="1759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15532576" sldId="2147488090"/>
              <ac:spMk id="1759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15532576" sldId="2147488090"/>
              <ac:spMk id="1760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89829895" sldId="2147488091"/>
          </pc:sldLayoutMkLst>
          <pc:spChg chg="mod">
            <ac:chgData name="Rebecca Hannah Ainis" userId="116137a0-2af5-436b-85e1-74d9d3b30f2f" providerId="ADAL" clId="{6E039243-4417-4220-A582-B1623E3F270F}" dt="2026-05-19T14:10:51.979" v="22"/>
            <ac:spMkLst>
              <pc:docMk/>
              <pc:sldMasterMk cId="1288455799" sldId="2147487484"/>
              <pc:sldLayoutMk cId="3389829895" sldId="2147488091"/>
              <ac:spMk id="1760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89829895" sldId="2147488091"/>
              <ac:spMk id="1761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89829895" sldId="2147488091"/>
              <ac:spMk id="1761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89829895" sldId="2147488091"/>
              <ac:spMk id="1761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596306659" sldId="2147488092"/>
          </pc:sldLayoutMkLst>
          <pc:spChg chg="mod">
            <ac:chgData name="Rebecca Hannah Ainis" userId="116137a0-2af5-436b-85e1-74d9d3b30f2f" providerId="ADAL" clId="{6E039243-4417-4220-A582-B1623E3F270F}" dt="2026-05-19T14:10:51.979" v="22"/>
            <ac:spMkLst>
              <pc:docMk/>
              <pc:sldMasterMk cId="1288455799" sldId="2147487484"/>
              <pc:sldLayoutMk cId="2596306659" sldId="2147488092"/>
              <ac:spMk id="1762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96306659" sldId="2147488092"/>
              <ac:spMk id="1762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96306659" sldId="2147488092"/>
              <ac:spMk id="176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96306659" sldId="2147488092"/>
              <ac:spMk id="176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96306659" sldId="2147488092"/>
              <ac:spMk id="1763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994792492" sldId="2147488093"/>
          </pc:sldLayoutMkLst>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3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3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4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4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4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4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94792492" sldId="2147488093"/>
              <ac:spMk id="1764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35497031" sldId="2147488095"/>
          </pc:sldLayoutMkLst>
          <pc:spChg chg="mod">
            <ac:chgData name="Rebecca Hannah Ainis" userId="116137a0-2af5-436b-85e1-74d9d3b30f2f" providerId="ADAL" clId="{6E039243-4417-4220-A582-B1623E3F270F}" dt="2026-05-19T14:10:51.979" v="22"/>
            <ac:spMkLst>
              <pc:docMk/>
              <pc:sldMasterMk cId="1288455799" sldId="2147487484"/>
              <pc:sldLayoutMk cId="1235497031" sldId="2147488095"/>
              <ac:spMk id="1766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35497031" sldId="2147488095"/>
              <ac:spMk id="1766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71911177" sldId="2147488099"/>
          </pc:sldLayoutMkLst>
          <pc:spChg chg="mod">
            <ac:chgData name="Rebecca Hannah Ainis" userId="116137a0-2af5-436b-85e1-74d9d3b30f2f" providerId="ADAL" clId="{6E039243-4417-4220-A582-B1623E3F270F}" dt="2026-05-19T14:10:51.979" v="22"/>
            <ac:spMkLst>
              <pc:docMk/>
              <pc:sldMasterMk cId="1288455799" sldId="2147487484"/>
              <pc:sldLayoutMk cId="4171911177" sldId="2147488099"/>
              <ac:spMk id="1769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76645803" sldId="2147488100"/>
          </pc:sldLayoutMkLst>
          <pc:spChg chg="mod">
            <ac:chgData name="Rebecca Hannah Ainis" userId="116137a0-2af5-436b-85e1-74d9d3b30f2f" providerId="ADAL" clId="{6E039243-4417-4220-A582-B1623E3F270F}" dt="2026-05-19T14:10:51.979" v="22"/>
            <ac:spMkLst>
              <pc:docMk/>
              <pc:sldMasterMk cId="1288455799" sldId="2147487484"/>
              <pc:sldLayoutMk cId="276645803" sldId="2147488100"/>
              <ac:spMk id="1769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6645803" sldId="2147488100"/>
              <ac:spMk id="176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6645803" sldId="2147488100"/>
              <ac:spMk id="177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76645803" sldId="2147488100"/>
              <ac:spMk id="1770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1884917" sldId="2147488101"/>
          </pc:sldLayoutMkLst>
          <pc:spChg chg="mod">
            <ac:chgData name="Rebecca Hannah Ainis" userId="116137a0-2af5-436b-85e1-74d9d3b30f2f" providerId="ADAL" clId="{6E039243-4417-4220-A582-B1623E3F270F}" dt="2026-05-19T14:10:51.979" v="22"/>
            <ac:spMkLst>
              <pc:docMk/>
              <pc:sldMasterMk cId="1288455799" sldId="2147487484"/>
              <pc:sldLayoutMk cId="361884917" sldId="2147488101"/>
              <ac:spMk id="1771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1884917" sldId="2147488101"/>
              <ac:spMk id="177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1884917" sldId="2147488101"/>
              <ac:spMk id="177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1884917" sldId="2147488101"/>
              <ac:spMk id="1771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7828192" sldId="2147488102"/>
          </pc:sldLayoutMkLst>
          <pc:spChg chg="mod">
            <ac:chgData name="Rebecca Hannah Ainis" userId="116137a0-2af5-436b-85e1-74d9d3b30f2f" providerId="ADAL" clId="{6E039243-4417-4220-A582-B1623E3F270F}" dt="2026-05-19T14:10:51.979" v="22"/>
            <ac:spMkLst>
              <pc:docMk/>
              <pc:sldMasterMk cId="1288455799" sldId="2147487484"/>
              <pc:sldLayoutMk cId="127828192" sldId="2147488102"/>
              <ac:spMk id="177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7828192" sldId="2147488102"/>
              <ac:spMk id="1772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7828192" sldId="2147488102"/>
              <ac:spMk id="1773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7828192" sldId="2147488102"/>
              <ac:spMk id="1773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668199283" sldId="2147488103"/>
          </pc:sldLayoutMkLst>
          <pc:spChg chg="mod">
            <ac:chgData name="Rebecca Hannah Ainis" userId="116137a0-2af5-436b-85e1-74d9d3b30f2f" providerId="ADAL" clId="{6E039243-4417-4220-A582-B1623E3F270F}" dt="2026-05-19T14:10:51.979" v="22"/>
            <ac:spMkLst>
              <pc:docMk/>
              <pc:sldMasterMk cId="1288455799" sldId="2147487484"/>
              <pc:sldLayoutMk cId="1668199283" sldId="2147488103"/>
              <ac:spMk id="1773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8199283" sldId="2147488103"/>
              <ac:spMk id="177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8199283" sldId="2147488103"/>
              <ac:spMk id="1774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8199283" sldId="2147488103"/>
              <ac:spMk id="1774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68199283" sldId="2147488103"/>
              <ac:spMk id="1774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446829078" sldId="2147488104"/>
          </pc:sldLayoutMkLst>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46829078" sldId="2147488104"/>
              <ac:spMk id="1775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801954645" sldId="2147488106"/>
          </pc:sldLayoutMkLst>
          <pc:spChg chg="mod">
            <ac:chgData name="Rebecca Hannah Ainis" userId="116137a0-2af5-436b-85e1-74d9d3b30f2f" providerId="ADAL" clId="{6E039243-4417-4220-A582-B1623E3F270F}" dt="2026-05-19T14:10:51.979" v="22"/>
            <ac:spMkLst>
              <pc:docMk/>
              <pc:sldMasterMk cId="1288455799" sldId="2147487484"/>
              <pc:sldLayoutMk cId="2801954645" sldId="2147488106"/>
              <ac:spMk id="1777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01954645" sldId="2147488106"/>
              <ac:spMk id="1777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121719308" sldId="2147488108"/>
          </pc:sldLayoutMkLst>
          <pc:spChg chg="mod">
            <ac:chgData name="Rebecca Hannah Ainis" userId="116137a0-2af5-436b-85e1-74d9d3b30f2f" providerId="ADAL" clId="{6E039243-4417-4220-A582-B1623E3F270F}" dt="2026-05-19T14:10:51.979" v="22"/>
            <ac:spMkLst>
              <pc:docMk/>
              <pc:sldMasterMk cId="1288455799" sldId="2147487484"/>
              <pc:sldLayoutMk cId="2121719308" sldId="2147488108"/>
              <ac:spMk id="177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1719308" sldId="2147488108"/>
              <ac:spMk id="177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1719308" sldId="2147488108"/>
              <ac:spMk id="177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21719308" sldId="2147488108"/>
              <ac:spMk id="1779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69056036" sldId="2147488109"/>
          </pc:sldLayoutMkLst>
          <pc:spChg chg="mod">
            <ac:chgData name="Rebecca Hannah Ainis" userId="116137a0-2af5-436b-85e1-74d9d3b30f2f" providerId="ADAL" clId="{6E039243-4417-4220-A582-B1623E3F270F}" dt="2026-05-19T14:10:51.979" v="22"/>
            <ac:spMkLst>
              <pc:docMk/>
              <pc:sldMasterMk cId="1288455799" sldId="2147487484"/>
              <pc:sldLayoutMk cId="4269056036" sldId="2147488109"/>
              <ac:spMk id="1780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69056036" sldId="2147488109"/>
              <ac:spMk id="1780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69056036" sldId="2147488109"/>
              <ac:spMk id="1780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69056036" sldId="2147488109"/>
              <ac:spMk id="1780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949153722" sldId="2147488110"/>
          </pc:sldLayoutMkLst>
          <pc:spChg chg="mod">
            <ac:chgData name="Rebecca Hannah Ainis" userId="116137a0-2af5-436b-85e1-74d9d3b30f2f" providerId="ADAL" clId="{6E039243-4417-4220-A582-B1623E3F270F}" dt="2026-05-19T14:10:51.979" v="22"/>
            <ac:spMkLst>
              <pc:docMk/>
              <pc:sldMasterMk cId="1288455799" sldId="2147487484"/>
              <pc:sldLayoutMk cId="1949153722" sldId="2147488110"/>
              <ac:spMk id="178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9153722" sldId="2147488110"/>
              <ac:spMk id="178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9153722" sldId="2147488110"/>
              <ac:spMk id="1781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9153722" sldId="2147488110"/>
              <ac:spMk id="1781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694721917" sldId="2147488111"/>
          </pc:sldLayoutMkLst>
          <pc:spChg chg="mod">
            <ac:chgData name="Rebecca Hannah Ainis" userId="116137a0-2af5-436b-85e1-74d9d3b30f2f" providerId="ADAL" clId="{6E039243-4417-4220-A582-B1623E3F270F}" dt="2026-05-19T14:10:51.979" v="22"/>
            <ac:spMkLst>
              <pc:docMk/>
              <pc:sldMasterMk cId="1288455799" sldId="2147487484"/>
              <pc:sldLayoutMk cId="1694721917" sldId="2147488111"/>
              <ac:spMk id="1781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94721917" sldId="2147488111"/>
              <ac:spMk id="1781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94721917" sldId="2147488111"/>
              <ac:spMk id="178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694721917" sldId="2147488111"/>
              <ac:spMk id="1782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44503303" sldId="2147488112"/>
          </pc:sldLayoutMkLst>
          <pc:spChg chg="mod">
            <ac:chgData name="Rebecca Hannah Ainis" userId="116137a0-2af5-436b-85e1-74d9d3b30f2f" providerId="ADAL" clId="{6E039243-4417-4220-A582-B1623E3F270F}" dt="2026-05-19T14:10:51.979" v="22"/>
            <ac:spMkLst>
              <pc:docMk/>
              <pc:sldMasterMk cId="1288455799" sldId="2147487484"/>
              <pc:sldLayoutMk cId="1844503303" sldId="2147488112"/>
              <ac:spMk id="1782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44503303" sldId="2147488112"/>
              <ac:spMk id="1782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44503303" sldId="2147488112"/>
              <ac:spMk id="1782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44503303" sldId="2147488112"/>
              <ac:spMk id="178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44503303" sldId="2147488112"/>
              <ac:spMk id="178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44503303" sldId="2147488112"/>
              <ac:spMk id="1783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53924624" sldId="2147488113"/>
          </pc:sldLayoutMkLst>
          <pc:spChg chg="mod">
            <ac:chgData name="Rebecca Hannah Ainis" userId="116137a0-2af5-436b-85e1-74d9d3b30f2f" providerId="ADAL" clId="{6E039243-4417-4220-A582-B1623E3F270F}" dt="2026-05-19T14:10:51.979" v="22"/>
            <ac:spMkLst>
              <pc:docMk/>
              <pc:sldMasterMk cId="1288455799" sldId="2147487484"/>
              <pc:sldLayoutMk cId="4153924624" sldId="2147488113"/>
              <ac:spMk id="1783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53924624" sldId="2147488113"/>
              <ac:spMk id="1784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53924624" sldId="2147488113"/>
              <ac:spMk id="1784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53924624" sldId="2147488113"/>
              <ac:spMk id="1784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95548140" sldId="2147488114"/>
          </pc:sldLayoutMkLst>
          <pc:spChg chg="mod">
            <ac:chgData name="Rebecca Hannah Ainis" userId="116137a0-2af5-436b-85e1-74d9d3b30f2f" providerId="ADAL" clId="{6E039243-4417-4220-A582-B1623E3F270F}" dt="2026-05-19T14:10:51.979" v="22"/>
            <ac:spMkLst>
              <pc:docMk/>
              <pc:sldMasterMk cId="1288455799" sldId="2147487484"/>
              <pc:sldLayoutMk cId="3895548140" sldId="2147488114"/>
              <ac:spMk id="1784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95548140" sldId="2147488114"/>
              <ac:spMk id="178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95548140" sldId="2147488114"/>
              <ac:spMk id="1784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95548140" sldId="2147488114"/>
              <ac:spMk id="1784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421414746" sldId="2147488115"/>
          </pc:sldLayoutMkLst>
          <pc:spChg chg="mod">
            <ac:chgData name="Rebecca Hannah Ainis" userId="116137a0-2af5-436b-85e1-74d9d3b30f2f" providerId="ADAL" clId="{6E039243-4417-4220-A582-B1623E3F270F}" dt="2026-05-19T14:10:51.979" v="22"/>
            <ac:spMkLst>
              <pc:docMk/>
              <pc:sldMasterMk cId="1288455799" sldId="2147487484"/>
              <pc:sldLayoutMk cId="3421414746" sldId="2147488115"/>
              <ac:spMk id="178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21414746" sldId="2147488115"/>
              <ac:spMk id="178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21414746" sldId="2147488115"/>
              <ac:spMk id="178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21414746" sldId="2147488115"/>
              <ac:spMk id="178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21414746" sldId="2147488115"/>
              <ac:spMk id="178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21414746" sldId="2147488115"/>
              <ac:spMk id="1785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950061719" sldId="2147488116"/>
          </pc:sldLayoutMkLst>
          <pc:spChg chg="mod">
            <ac:chgData name="Rebecca Hannah Ainis" userId="116137a0-2af5-436b-85e1-74d9d3b30f2f" providerId="ADAL" clId="{6E039243-4417-4220-A582-B1623E3F270F}" dt="2026-05-19T14:10:51.979" v="22"/>
            <ac:spMkLst>
              <pc:docMk/>
              <pc:sldMasterMk cId="1288455799" sldId="2147487484"/>
              <pc:sldLayoutMk cId="950061719" sldId="2147488116"/>
              <ac:spMk id="1786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950061719" sldId="2147488116"/>
              <ac:spMk id="1786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57973887" sldId="2147488117"/>
          </pc:sldLayoutMkLst>
          <pc:spChg chg="mod">
            <ac:chgData name="Rebecca Hannah Ainis" userId="116137a0-2af5-436b-85e1-74d9d3b30f2f" providerId="ADAL" clId="{6E039243-4417-4220-A582-B1623E3F270F}" dt="2026-05-19T14:10:51.979" v="22"/>
            <ac:spMkLst>
              <pc:docMk/>
              <pc:sldMasterMk cId="1288455799" sldId="2147487484"/>
              <pc:sldLayoutMk cId="1857973887" sldId="2147488117"/>
              <ac:spMk id="1787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57973887" sldId="2147488117"/>
              <ac:spMk id="1787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77460929" sldId="2147488118"/>
          </pc:sldLayoutMkLst>
          <pc:spChg chg="mod">
            <ac:chgData name="Rebecca Hannah Ainis" userId="116137a0-2af5-436b-85e1-74d9d3b30f2f" providerId="ADAL" clId="{6E039243-4417-4220-A582-B1623E3F270F}" dt="2026-05-19T14:10:51.979" v="22"/>
            <ac:spMkLst>
              <pc:docMk/>
              <pc:sldMasterMk cId="1288455799" sldId="2147487484"/>
              <pc:sldLayoutMk cId="4177460929" sldId="2147488118"/>
              <ac:spMk id="178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77460929" sldId="2147488118"/>
              <ac:spMk id="1787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77460929" sldId="2147488118"/>
              <ac:spMk id="1787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76615316" sldId="2147488119"/>
          </pc:sldLayoutMkLst>
          <pc:spChg chg="mod">
            <ac:chgData name="Rebecca Hannah Ainis" userId="116137a0-2af5-436b-85e1-74d9d3b30f2f" providerId="ADAL" clId="{6E039243-4417-4220-A582-B1623E3F270F}" dt="2026-05-19T14:10:51.979" v="22"/>
            <ac:spMkLst>
              <pc:docMk/>
              <pc:sldMasterMk cId="1288455799" sldId="2147487484"/>
              <pc:sldLayoutMk cId="1876615316" sldId="2147488119"/>
              <ac:spMk id="1788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76615316" sldId="2147488119"/>
              <ac:spMk id="178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76615316" sldId="2147488119"/>
              <ac:spMk id="178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76615316" sldId="2147488119"/>
              <ac:spMk id="1788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967377909" sldId="2147488120"/>
          </pc:sldLayoutMkLst>
          <pc:spChg chg="mod">
            <ac:chgData name="Rebecca Hannah Ainis" userId="116137a0-2af5-436b-85e1-74d9d3b30f2f" providerId="ADAL" clId="{6E039243-4417-4220-A582-B1623E3F270F}" dt="2026-05-19T14:10:51.979" v="22"/>
            <ac:spMkLst>
              <pc:docMk/>
              <pc:sldMasterMk cId="1288455799" sldId="2147487484"/>
              <pc:sldLayoutMk cId="3967377909" sldId="2147488120"/>
              <ac:spMk id="178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67377909" sldId="2147488120"/>
              <ac:spMk id="1789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67377909" sldId="2147488120"/>
              <ac:spMk id="178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67377909" sldId="2147488120"/>
              <ac:spMk id="178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67377909" sldId="2147488120"/>
              <ac:spMk id="178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67377909" sldId="2147488120"/>
              <ac:spMk id="1789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03375829" sldId="2147488121"/>
          </pc:sldLayoutMkLst>
          <pc:spChg chg="mod">
            <ac:chgData name="Rebecca Hannah Ainis" userId="116137a0-2af5-436b-85e1-74d9d3b30f2f" providerId="ADAL" clId="{6E039243-4417-4220-A582-B1623E3F270F}" dt="2026-05-19T14:10:51.979" v="22"/>
            <ac:spMkLst>
              <pc:docMk/>
              <pc:sldMasterMk cId="1288455799" sldId="2147487484"/>
              <pc:sldLayoutMk cId="103375829" sldId="2147488121"/>
              <ac:spMk id="1790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3375829" sldId="2147488121"/>
              <ac:spMk id="1790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3375829" sldId="2147488121"/>
              <ac:spMk id="1790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03375829" sldId="2147488121"/>
              <ac:spMk id="1790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51653079" sldId="2147488122"/>
          </pc:sldLayoutMkLst>
          <pc:spChg chg="mod">
            <ac:chgData name="Rebecca Hannah Ainis" userId="116137a0-2af5-436b-85e1-74d9d3b30f2f" providerId="ADAL" clId="{6E039243-4417-4220-A582-B1623E3F270F}" dt="2026-05-19T14:10:51.979" v="22"/>
            <ac:spMkLst>
              <pc:docMk/>
              <pc:sldMasterMk cId="1288455799" sldId="2147487484"/>
              <pc:sldLayoutMk cId="3351653079" sldId="2147488122"/>
              <ac:spMk id="1791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51653079" sldId="2147488122"/>
              <ac:spMk id="1791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51653079" sldId="2147488122"/>
              <ac:spMk id="179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51653079" sldId="2147488122"/>
              <ac:spMk id="179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51653079" sldId="2147488122"/>
              <ac:spMk id="1791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947661959" sldId="2147488123"/>
          </pc:sldLayoutMkLst>
          <pc:spChg chg="mod">
            <ac:chgData name="Rebecca Hannah Ainis" userId="116137a0-2af5-436b-85e1-74d9d3b30f2f" providerId="ADAL" clId="{6E039243-4417-4220-A582-B1623E3F270F}" dt="2026-05-19T14:10:51.979" v="22"/>
            <ac:spMkLst>
              <pc:docMk/>
              <pc:sldMasterMk cId="1288455799" sldId="2147487484"/>
              <pc:sldLayoutMk cId="1947661959" sldId="2147488123"/>
              <ac:spMk id="1791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7661959" sldId="2147488123"/>
              <ac:spMk id="1791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7661959" sldId="2147488123"/>
              <ac:spMk id="1791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7661959" sldId="2147488123"/>
              <ac:spMk id="1791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7661959" sldId="2147488123"/>
              <ac:spMk id="179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947661959" sldId="2147488123"/>
              <ac:spMk id="1792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916644874" sldId="2147488124"/>
          </pc:sldLayoutMkLst>
          <pc:spChg chg="mod">
            <ac:chgData name="Rebecca Hannah Ainis" userId="116137a0-2af5-436b-85e1-74d9d3b30f2f" providerId="ADAL" clId="{6E039243-4417-4220-A582-B1623E3F270F}" dt="2026-05-19T14:10:51.979" v="22"/>
            <ac:spMkLst>
              <pc:docMk/>
              <pc:sldMasterMk cId="1288455799" sldId="2147487484"/>
              <pc:sldLayoutMk cId="3916644874" sldId="2147488124"/>
              <ac:spMk id="1792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16644874" sldId="2147488124"/>
              <ac:spMk id="1792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16644874" sldId="2147488124"/>
              <ac:spMk id="1792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916644874" sldId="2147488124"/>
              <ac:spMk id="1793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30868420" sldId="2147488125"/>
          </pc:sldLayoutMkLst>
          <pc:spChg chg="mod">
            <ac:chgData name="Rebecca Hannah Ainis" userId="116137a0-2af5-436b-85e1-74d9d3b30f2f" providerId="ADAL" clId="{6E039243-4417-4220-A582-B1623E3F270F}" dt="2026-05-19T14:10:51.979" v="22"/>
            <ac:spMkLst>
              <pc:docMk/>
              <pc:sldMasterMk cId="1288455799" sldId="2147487484"/>
              <pc:sldLayoutMk cId="4230868420" sldId="2147488125"/>
              <ac:spMk id="1793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0868420" sldId="2147488125"/>
              <ac:spMk id="179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0868420" sldId="2147488125"/>
              <ac:spMk id="179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30868420" sldId="2147488125"/>
              <ac:spMk id="1793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21914165" sldId="2147488126"/>
          </pc:sldLayoutMkLst>
          <pc:spChg chg="mod">
            <ac:chgData name="Rebecca Hannah Ainis" userId="116137a0-2af5-436b-85e1-74d9d3b30f2f" providerId="ADAL" clId="{6E039243-4417-4220-A582-B1623E3F270F}" dt="2026-05-19T14:10:51.979" v="22"/>
            <ac:spMkLst>
              <pc:docMk/>
              <pc:sldMasterMk cId="1288455799" sldId="2147487484"/>
              <pc:sldLayoutMk cId="4221914165" sldId="2147488126"/>
              <ac:spMk id="1794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21914165" sldId="2147488126"/>
              <ac:spMk id="1795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21914165" sldId="2147488126"/>
              <ac:spMk id="179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21914165" sldId="2147488126"/>
              <ac:spMk id="1795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73680001" sldId="2147488129"/>
          </pc:sldLayoutMkLst>
          <pc:spChg chg="mod">
            <ac:chgData name="Rebecca Hannah Ainis" userId="116137a0-2af5-436b-85e1-74d9d3b30f2f" providerId="ADAL" clId="{6E039243-4417-4220-A582-B1623E3F270F}" dt="2026-05-19T14:10:51.979" v="22"/>
            <ac:spMkLst>
              <pc:docMk/>
              <pc:sldMasterMk cId="1288455799" sldId="2147487484"/>
              <pc:sldLayoutMk cId="1273680001" sldId="2147488129"/>
              <ac:spMk id="1797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108861040" sldId="2147488130"/>
          </pc:sldLayoutMkLst>
          <pc:spChg chg="mod">
            <ac:chgData name="Rebecca Hannah Ainis" userId="116137a0-2af5-436b-85e1-74d9d3b30f2f" providerId="ADAL" clId="{6E039243-4417-4220-A582-B1623E3F270F}" dt="2026-05-19T14:10:51.979" v="22"/>
            <ac:spMkLst>
              <pc:docMk/>
              <pc:sldMasterMk cId="1288455799" sldId="2147487484"/>
              <pc:sldLayoutMk cId="2108861040" sldId="2147488130"/>
              <ac:spMk id="179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08861040" sldId="2147488130"/>
              <ac:spMk id="179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08861040" sldId="2147488130"/>
              <ac:spMk id="1798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08861040" sldId="2147488130"/>
              <ac:spMk id="1798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452812522" sldId="2147488131"/>
          </pc:sldLayoutMkLst>
          <pc:spChg chg="mod">
            <ac:chgData name="Rebecca Hannah Ainis" userId="116137a0-2af5-436b-85e1-74d9d3b30f2f" providerId="ADAL" clId="{6E039243-4417-4220-A582-B1623E3F270F}" dt="2026-05-19T14:10:51.979" v="22"/>
            <ac:spMkLst>
              <pc:docMk/>
              <pc:sldMasterMk cId="1288455799" sldId="2147487484"/>
              <pc:sldLayoutMk cId="3452812522" sldId="2147488131"/>
              <ac:spMk id="179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52812522" sldId="2147488131"/>
              <ac:spMk id="1799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52812522" sldId="2147488131"/>
              <ac:spMk id="1799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452812522" sldId="2147488131"/>
              <ac:spMk id="1799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947083880" sldId="2147488134"/>
          </pc:sldLayoutMkLst>
          <pc:spChg chg="mod">
            <ac:chgData name="Rebecca Hannah Ainis" userId="116137a0-2af5-436b-85e1-74d9d3b30f2f" providerId="ADAL" clId="{6E039243-4417-4220-A582-B1623E3F270F}" dt="2026-05-19T14:10:51.979" v="22"/>
            <ac:spMkLst>
              <pc:docMk/>
              <pc:sldMasterMk cId="1288455799" sldId="2147487484"/>
              <pc:sldLayoutMk cId="1947083880" sldId="2147488134"/>
              <ac:spMk id="1801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699329430" sldId="2147488136"/>
          </pc:sldLayoutMkLst>
          <pc:spChg chg="mod">
            <ac:chgData name="Rebecca Hannah Ainis" userId="116137a0-2af5-436b-85e1-74d9d3b30f2f" providerId="ADAL" clId="{6E039243-4417-4220-A582-B1623E3F270F}" dt="2026-05-19T14:10:51.979" v="22"/>
            <ac:spMkLst>
              <pc:docMk/>
              <pc:sldMasterMk cId="1288455799" sldId="2147487484"/>
              <pc:sldLayoutMk cId="699329430" sldId="2147488136"/>
              <ac:spMk id="180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99329430" sldId="2147488136"/>
              <ac:spMk id="180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99329430" sldId="2147488136"/>
              <ac:spMk id="1803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699329430" sldId="2147488136"/>
              <ac:spMk id="18039"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156908669" sldId="2147488137"/>
          </pc:sldLayoutMkLst>
          <pc:spChg chg="mod">
            <ac:chgData name="Rebecca Hannah Ainis" userId="116137a0-2af5-436b-85e1-74d9d3b30f2f" providerId="ADAL" clId="{6E039243-4417-4220-A582-B1623E3F270F}" dt="2026-05-19T14:10:51.979" v="22"/>
            <ac:spMkLst>
              <pc:docMk/>
              <pc:sldMasterMk cId="1288455799" sldId="2147487484"/>
              <pc:sldLayoutMk cId="1156908669" sldId="2147488137"/>
              <ac:spMk id="1804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56908669" sldId="2147488137"/>
              <ac:spMk id="1804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56908669" sldId="2147488137"/>
              <ac:spMk id="180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56908669" sldId="2147488137"/>
              <ac:spMk id="1805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156908669" sldId="2147488137"/>
              <ac:spMk id="1805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803847963" sldId="2147488138"/>
          </pc:sldLayoutMkLst>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6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6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6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6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803847963" sldId="2147488138"/>
              <ac:spMk id="1807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063008101" sldId="2147488140"/>
          </pc:sldLayoutMkLst>
          <pc:spChg chg="mod">
            <ac:chgData name="Rebecca Hannah Ainis" userId="116137a0-2af5-436b-85e1-74d9d3b30f2f" providerId="ADAL" clId="{6E039243-4417-4220-A582-B1623E3F270F}" dt="2026-05-19T14:10:51.979" v="22"/>
            <ac:spMkLst>
              <pc:docMk/>
              <pc:sldMasterMk cId="1288455799" sldId="2147487484"/>
              <pc:sldLayoutMk cId="3063008101" sldId="2147488140"/>
              <ac:spMk id="180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63008101" sldId="2147488140"/>
              <ac:spMk id="1808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22460417" sldId="2147488142"/>
          </pc:sldLayoutMkLst>
          <pc:spChg chg="mod">
            <ac:chgData name="Rebecca Hannah Ainis" userId="116137a0-2af5-436b-85e1-74d9d3b30f2f" providerId="ADAL" clId="{6E039243-4417-4220-A582-B1623E3F270F}" dt="2026-05-19T14:10:51.979" v="22"/>
            <ac:spMkLst>
              <pc:docMk/>
              <pc:sldMasterMk cId="1288455799" sldId="2147487484"/>
              <pc:sldLayoutMk cId="1222460417" sldId="2147488142"/>
              <ac:spMk id="181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22460417" sldId="2147488142"/>
              <ac:spMk id="1810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22460417" sldId="2147488142"/>
              <ac:spMk id="1810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22460417" sldId="2147488142"/>
              <ac:spMk id="1810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810618792" sldId="2147488143"/>
          </pc:sldLayoutMkLst>
          <pc:spChg chg="mod">
            <ac:chgData name="Rebecca Hannah Ainis" userId="116137a0-2af5-436b-85e1-74d9d3b30f2f" providerId="ADAL" clId="{6E039243-4417-4220-A582-B1623E3F270F}" dt="2026-05-19T14:10:51.979" v="22"/>
            <ac:spMkLst>
              <pc:docMk/>
              <pc:sldMasterMk cId="1288455799" sldId="2147487484"/>
              <pc:sldLayoutMk cId="3810618792" sldId="2147488143"/>
              <ac:spMk id="1811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810618792" sldId="2147488143"/>
              <ac:spMk id="1811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5649277" sldId="2147488146"/>
          </pc:sldLayoutMkLst>
          <pc:spChg chg="mod">
            <ac:chgData name="Rebecca Hannah Ainis" userId="116137a0-2af5-436b-85e1-74d9d3b30f2f" providerId="ADAL" clId="{6E039243-4417-4220-A582-B1623E3F270F}" dt="2026-05-19T14:10:51.979" v="22"/>
            <ac:spMkLst>
              <pc:docMk/>
              <pc:sldMasterMk cId="1288455799" sldId="2147487484"/>
              <pc:sldLayoutMk cId="365649277" sldId="2147488146"/>
              <ac:spMk id="1813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737663592" sldId="2147488147"/>
          </pc:sldLayoutMkLst>
          <pc:spChg chg="mod">
            <ac:chgData name="Rebecca Hannah Ainis" userId="116137a0-2af5-436b-85e1-74d9d3b30f2f" providerId="ADAL" clId="{6E039243-4417-4220-A582-B1623E3F270F}" dt="2026-05-19T14:10:51.979" v="22"/>
            <ac:spMkLst>
              <pc:docMk/>
              <pc:sldMasterMk cId="1288455799" sldId="2147487484"/>
              <pc:sldLayoutMk cId="3737663592" sldId="2147488147"/>
              <ac:spMk id="1814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37663592" sldId="2147488147"/>
              <ac:spMk id="1814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37663592" sldId="2147488147"/>
              <ac:spMk id="181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737663592" sldId="2147488147"/>
              <ac:spMk id="1814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72961357" sldId="2147488148"/>
          </pc:sldLayoutMkLst>
          <pc:spChg chg="mod">
            <ac:chgData name="Rebecca Hannah Ainis" userId="116137a0-2af5-436b-85e1-74d9d3b30f2f" providerId="ADAL" clId="{6E039243-4417-4220-A582-B1623E3F270F}" dt="2026-05-19T14:10:51.979" v="22"/>
            <ac:spMkLst>
              <pc:docMk/>
              <pc:sldMasterMk cId="1288455799" sldId="2147487484"/>
              <pc:sldLayoutMk cId="2472961357" sldId="2147488148"/>
              <ac:spMk id="1815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72961357" sldId="2147488148"/>
              <ac:spMk id="1815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72961357" sldId="2147488148"/>
              <ac:spMk id="1815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72961357" sldId="2147488148"/>
              <ac:spMk id="1816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798428070" sldId="2147488149"/>
          </pc:sldLayoutMkLst>
          <pc:spChg chg="mod">
            <ac:chgData name="Rebecca Hannah Ainis" userId="116137a0-2af5-436b-85e1-74d9d3b30f2f" providerId="ADAL" clId="{6E039243-4417-4220-A582-B1623E3F270F}" dt="2026-05-19T14:10:51.979" v="22"/>
            <ac:spMkLst>
              <pc:docMk/>
              <pc:sldMasterMk cId="1288455799" sldId="2147487484"/>
              <pc:sldLayoutMk cId="1798428070" sldId="2147488149"/>
              <ac:spMk id="1817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98428070" sldId="2147488149"/>
              <ac:spMk id="1817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98428070" sldId="2147488149"/>
              <ac:spMk id="1817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798428070" sldId="2147488149"/>
              <ac:spMk id="1817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368232799" sldId="2147488150"/>
          </pc:sldLayoutMkLst>
          <pc:spChg chg="mod">
            <ac:chgData name="Rebecca Hannah Ainis" userId="116137a0-2af5-436b-85e1-74d9d3b30f2f" providerId="ADAL" clId="{6E039243-4417-4220-A582-B1623E3F270F}" dt="2026-05-19T14:10:51.979" v="22"/>
            <ac:spMkLst>
              <pc:docMk/>
              <pc:sldMasterMk cId="1288455799" sldId="2147487484"/>
              <pc:sldLayoutMk cId="1368232799" sldId="2147488150"/>
              <ac:spMk id="181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68232799" sldId="2147488150"/>
              <ac:spMk id="1818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68232799" sldId="2147488150"/>
              <ac:spMk id="181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68232799" sldId="2147488150"/>
              <ac:spMk id="181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368232799" sldId="2147488150"/>
              <ac:spMk id="1819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084205527" sldId="2147488151"/>
          </pc:sldLayoutMkLst>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19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19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19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2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2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20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084205527" sldId="2147488151"/>
              <ac:spMk id="1820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890798620" sldId="2147488153"/>
          </pc:sldLayoutMkLst>
          <pc:spChg chg="mod">
            <ac:chgData name="Rebecca Hannah Ainis" userId="116137a0-2af5-436b-85e1-74d9d3b30f2f" providerId="ADAL" clId="{6E039243-4417-4220-A582-B1623E3F270F}" dt="2026-05-19T14:10:51.979" v="22"/>
            <ac:spMkLst>
              <pc:docMk/>
              <pc:sldMasterMk cId="1288455799" sldId="2147487484"/>
              <pc:sldLayoutMk cId="2890798620" sldId="2147488153"/>
              <ac:spMk id="1822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890798620" sldId="2147488153"/>
              <ac:spMk id="18221"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49258120" sldId="2147488155"/>
          </pc:sldLayoutMkLst>
          <pc:spChg chg="mod">
            <ac:chgData name="Rebecca Hannah Ainis" userId="116137a0-2af5-436b-85e1-74d9d3b30f2f" providerId="ADAL" clId="{6E039243-4417-4220-A582-B1623E3F270F}" dt="2026-05-19T14:10:51.979" v="22"/>
            <ac:spMkLst>
              <pc:docMk/>
              <pc:sldMasterMk cId="1288455799" sldId="2147487484"/>
              <pc:sldLayoutMk cId="4149258120" sldId="2147488155"/>
              <ac:spMk id="1823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49258120" sldId="2147488155"/>
              <ac:spMk id="1823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49258120" sldId="2147488155"/>
              <ac:spMk id="182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49258120" sldId="2147488155"/>
              <ac:spMk id="1823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962467780" sldId="2147488156"/>
          </pc:sldLayoutMkLst>
          <pc:spChg chg="mod">
            <ac:chgData name="Rebecca Hannah Ainis" userId="116137a0-2af5-436b-85e1-74d9d3b30f2f" providerId="ADAL" clId="{6E039243-4417-4220-A582-B1623E3F270F}" dt="2026-05-19T14:10:51.979" v="22"/>
            <ac:spMkLst>
              <pc:docMk/>
              <pc:sldMasterMk cId="1288455799" sldId="2147487484"/>
              <pc:sldLayoutMk cId="2962467780" sldId="2147488156"/>
              <ac:spMk id="1824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62467780" sldId="2147488156"/>
              <ac:spMk id="1824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62467780" sldId="2147488156"/>
              <ac:spMk id="182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62467780" sldId="2147488156"/>
              <ac:spMk id="1825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962467780" sldId="2147488156"/>
              <ac:spMk id="1825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50761066" sldId="2147488157"/>
          </pc:sldLayoutMkLst>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6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6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65"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6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6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50761066" sldId="2147488157"/>
              <ac:spMk id="1827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392138586" sldId="2147488159"/>
          </pc:sldLayoutMkLst>
          <pc:spChg chg="mod">
            <ac:chgData name="Rebecca Hannah Ainis" userId="116137a0-2af5-436b-85e1-74d9d3b30f2f" providerId="ADAL" clId="{6E039243-4417-4220-A582-B1623E3F270F}" dt="2026-05-19T14:10:51.979" v="22"/>
            <ac:spMkLst>
              <pc:docMk/>
              <pc:sldMasterMk cId="1288455799" sldId="2147487484"/>
              <pc:sldLayoutMk cId="3392138586" sldId="2147488159"/>
              <ac:spMk id="182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392138586" sldId="2147488159"/>
              <ac:spMk id="18287"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185898990" sldId="2147488161"/>
          </pc:sldLayoutMkLst>
          <pc:spChg chg="mod">
            <ac:chgData name="Rebecca Hannah Ainis" userId="116137a0-2af5-436b-85e1-74d9d3b30f2f" providerId="ADAL" clId="{6E039243-4417-4220-A582-B1623E3F270F}" dt="2026-05-19T14:10:51.979" v="22"/>
            <ac:spMkLst>
              <pc:docMk/>
              <pc:sldMasterMk cId="1288455799" sldId="2147487484"/>
              <pc:sldLayoutMk cId="2185898990" sldId="2147488161"/>
              <ac:spMk id="1830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85898990" sldId="2147488161"/>
              <ac:spMk id="1830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85898990" sldId="2147488161"/>
              <ac:spMk id="1830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185898990" sldId="2147488161"/>
              <ac:spMk id="18304"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038357595" sldId="2147488164"/>
          </pc:sldLayoutMkLst>
          <pc:spChg chg="mod">
            <ac:chgData name="Rebecca Hannah Ainis" userId="116137a0-2af5-436b-85e1-74d9d3b30f2f" providerId="ADAL" clId="{6E039243-4417-4220-A582-B1623E3F270F}" dt="2026-05-19T14:10:51.979" v="22"/>
            <ac:spMkLst>
              <pc:docMk/>
              <pc:sldMasterMk cId="1288455799" sldId="2147487484"/>
              <pc:sldLayoutMk cId="1038357595" sldId="2147488164"/>
              <ac:spMk id="18328"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063207564" sldId="2147488165"/>
          </pc:sldLayoutMkLst>
          <pc:spChg chg="mod">
            <ac:chgData name="Rebecca Hannah Ainis" userId="116137a0-2af5-436b-85e1-74d9d3b30f2f" providerId="ADAL" clId="{6E039243-4417-4220-A582-B1623E3F270F}" dt="2026-05-19T14:10:51.979" v="22"/>
            <ac:spMkLst>
              <pc:docMk/>
              <pc:sldMasterMk cId="1288455799" sldId="2147487484"/>
              <pc:sldLayoutMk cId="2063207564" sldId="2147488165"/>
              <ac:spMk id="1833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063207564" sldId="2147488165"/>
              <ac:spMk id="1833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063207564" sldId="2147488165"/>
              <ac:spMk id="1833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063207564" sldId="2147488165"/>
              <ac:spMk id="1834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172817810" sldId="2147488166"/>
          </pc:sldLayoutMkLst>
          <pc:spChg chg="mod">
            <ac:chgData name="Rebecca Hannah Ainis" userId="116137a0-2af5-436b-85e1-74d9d3b30f2f" providerId="ADAL" clId="{6E039243-4417-4220-A582-B1623E3F270F}" dt="2026-05-19T14:10:51.979" v="22"/>
            <ac:spMkLst>
              <pc:docMk/>
              <pc:sldMasterMk cId="1288455799" sldId="2147487484"/>
              <pc:sldLayoutMk cId="4172817810" sldId="2147488166"/>
              <ac:spMk id="1834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72817810" sldId="2147488166"/>
              <ac:spMk id="1835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72817810" sldId="2147488166"/>
              <ac:spMk id="183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172817810" sldId="2147488166"/>
              <ac:spMk id="1835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84052354" sldId="2147488167"/>
          </pc:sldLayoutMkLst>
          <pc:spChg chg="mod">
            <ac:chgData name="Rebecca Hannah Ainis" userId="116137a0-2af5-436b-85e1-74d9d3b30f2f" providerId="ADAL" clId="{6E039243-4417-4220-A582-B1623E3F270F}" dt="2026-05-19T14:10:51.979" v="22"/>
            <ac:spMkLst>
              <pc:docMk/>
              <pc:sldMasterMk cId="1288455799" sldId="2147487484"/>
              <pc:sldLayoutMk cId="1284052354" sldId="2147488167"/>
              <ac:spMk id="1836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84052354" sldId="2147488167"/>
              <ac:spMk id="1836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84052354" sldId="2147488167"/>
              <ac:spMk id="1836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84052354" sldId="2147488167"/>
              <ac:spMk id="1837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423569907" sldId="2147488168"/>
          </pc:sldLayoutMkLst>
          <pc:spChg chg="mod">
            <ac:chgData name="Rebecca Hannah Ainis" userId="116137a0-2af5-436b-85e1-74d9d3b30f2f" providerId="ADAL" clId="{6E039243-4417-4220-A582-B1623E3F270F}" dt="2026-05-19T14:10:51.979" v="22"/>
            <ac:spMkLst>
              <pc:docMk/>
              <pc:sldMasterMk cId="1288455799" sldId="2147487484"/>
              <pc:sldLayoutMk cId="2423569907" sldId="2147488168"/>
              <ac:spMk id="1837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23569907" sldId="2147488168"/>
              <ac:spMk id="1837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23569907" sldId="2147488168"/>
              <ac:spMk id="1837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23569907" sldId="2147488168"/>
              <ac:spMk id="1838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423569907" sldId="2147488168"/>
              <ac:spMk id="1838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1254248640" sldId="2147488169"/>
          </pc:sldLayoutMkLst>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8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9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9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9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9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1254248640" sldId="2147488169"/>
              <ac:spMk id="18396"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677117923" sldId="2147488171"/>
          </pc:sldLayoutMkLst>
          <pc:spChg chg="mod">
            <ac:chgData name="Rebecca Hannah Ainis" userId="116137a0-2af5-436b-85e1-74d9d3b30f2f" providerId="ADAL" clId="{6E039243-4417-4220-A582-B1623E3F270F}" dt="2026-05-19T14:10:51.979" v="22"/>
            <ac:spMkLst>
              <pc:docMk/>
              <pc:sldMasterMk cId="1288455799" sldId="2147487484"/>
              <pc:sldLayoutMk cId="2677117923" sldId="2147488171"/>
              <ac:spMk id="1841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677117923" sldId="2147488171"/>
              <ac:spMk id="18413"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197662187" sldId="2147488173"/>
          </pc:sldLayoutMkLst>
          <pc:spChg chg="mod">
            <ac:chgData name="Rebecca Hannah Ainis" userId="116137a0-2af5-436b-85e1-74d9d3b30f2f" providerId="ADAL" clId="{6E039243-4417-4220-A582-B1623E3F270F}" dt="2026-05-19T14:10:51.979" v="22"/>
            <ac:spMkLst>
              <pc:docMk/>
              <pc:sldMasterMk cId="1288455799" sldId="2147487484"/>
              <pc:sldLayoutMk cId="3197662187" sldId="2147488173"/>
              <ac:spMk id="1843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97662187" sldId="2147488173"/>
              <ac:spMk id="1843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97662187" sldId="2147488173"/>
              <ac:spMk id="1843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97662187" sldId="2147488173"/>
              <ac:spMk id="18434"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197662187" sldId="2147488173"/>
              <ac:spMk id="1843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367695083" sldId="2147488174"/>
          </pc:sldLayoutMkLst>
          <pc:spChg chg="mod">
            <ac:chgData name="Rebecca Hannah Ainis" userId="116137a0-2af5-436b-85e1-74d9d3b30f2f" providerId="ADAL" clId="{6E039243-4417-4220-A582-B1623E3F270F}" dt="2026-05-19T14:10:51.979" v="22"/>
            <ac:spMkLst>
              <pc:docMk/>
              <pc:sldMasterMk cId="1288455799" sldId="2147487484"/>
              <pc:sldLayoutMk cId="367695083" sldId="2147488174"/>
              <ac:spMk id="1843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7695083" sldId="2147488174"/>
              <ac:spMk id="18439"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7695083" sldId="2147488174"/>
              <ac:spMk id="18440"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367695083" sldId="2147488174"/>
              <ac:spMk id="18442"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2547323146" sldId="2147488175"/>
          </pc:sldLayoutMkLst>
          <pc:spChg chg="mod">
            <ac:chgData name="Rebecca Hannah Ainis" userId="116137a0-2af5-436b-85e1-74d9d3b30f2f" providerId="ADAL" clId="{6E039243-4417-4220-A582-B1623E3F270F}" dt="2026-05-19T14:10:51.979" v="22"/>
            <ac:spMkLst>
              <pc:docMk/>
              <pc:sldMasterMk cId="1288455799" sldId="2147487484"/>
              <pc:sldLayoutMk cId="2547323146" sldId="2147488175"/>
              <ac:spMk id="18451"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47323146" sldId="2147488175"/>
              <ac:spMk id="1845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47323146" sldId="2147488175"/>
              <ac:spMk id="18453"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2547323146" sldId="2147488175"/>
              <ac:spMk id="18455"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4217763025" sldId="2147488177"/>
          </pc:sldLayoutMkLst>
          <pc:spChg chg="mod">
            <ac:chgData name="Rebecca Hannah Ainis" userId="116137a0-2af5-436b-85e1-74d9d3b30f2f" providerId="ADAL" clId="{6E039243-4417-4220-A582-B1623E3F270F}" dt="2026-05-19T14:10:51.979" v="22"/>
            <ac:spMkLst>
              <pc:docMk/>
              <pc:sldMasterMk cId="1288455799" sldId="2147487484"/>
              <pc:sldLayoutMk cId="4217763025" sldId="2147488177"/>
              <ac:spMk id="18486"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17763025" sldId="2147488177"/>
              <ac:spMk id="18487"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17763025" sldId="2147488177"/>
              <ac:spMk id="18488"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4217763025" sldId="2147488177"/>
              <ac:spMk id="18490" creationId="{00000000-0000-0000-0000-000000000000}"/>
            </ac:spMkLst>
          </pc:spChg>
        </pc:sldLayoutChg>
        <pc:sldLayoutChg chg="modSp mod ord">
          <pc:chgData name="Rebecca Hannah Ainis" userId="116137a0-2af5-436b-85e1-74d9d3b30f2f" providerId="ADAL" clId="{6E039243-4417-4220-A582-B1623E3F270F}" dt="2026-05-19T14:10:51.979" v="22"/>
          <pc:sldLayoutMkLst>
            <pc:docMk/>
            <pc:sldMasterMk cId="1288455799" sldId="2147487484"/>
            <pc:sldLayoutMk cId="760042695" sldId="2147488178"/>
          </pc:sldLayoutMkLst>
          <pc:spChg chg="mod">
            <ac:chgData name="Rebecca Hannah Ainis" userId="116137a0-2af5-436b-85e1-74d9d3b30f2f" providerId="ADAL" clId="{6E039243-4417-4220-A582-B1623E3F270F}" dt="2026-05-19T14:10:51.979" v="22"/>
            <ac:spMkLst>
              <pc:docMk/>
              <pc:sldMasterMk cId="1288455799" sldId="2147487484"/>
              <pc:sldLayoutMk cId="760042695" sldId="2147488178"/>
              <ac:spMk id="18492" creationId="{00000000-0000-0000-0000-000000000000}"/>
            </ac:spMkLst>
          </pc:spChg>
          <pc:spChg chg="mod">
            <ac:chgData name="Rebecca Hannah Ainis" userId="116137a0-2af5-436b-85e1-74d9d3b30f2f" providerId="ADAL" clId="{6E039243-4417-4220-A582-B1623E3F270F}" dt="2026-05-19T14:10:51.979" v="22"/>
            <ac:spMkLst>
              <pc:docMk/>
              <pc:sldMasterMk cId="1288455799" sldId="2147487484"/>
              <pc:sldLayoutMk cId="760042695" sldId="2147488178"/>
              <ac:spMk id="1849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20200073" sldId="2147489278"/>
          </pc:sldLayoutMkLst>
          <pc:spChg chg="mod">
            <ac:chgData name="Rebecca Hannah Ainis" userId="116137a0-2af5-436b-85e1-74d9d3b30f2f" providerId="ADAL" clId="{6E039243-4417-4220-A582-B1623E3F270F}" dt="2026-06-01T16:37:28.639" v="2809"/>
            <ac:spMkLst>
              <pc:docMk/>
              <pc:sldMasterMk cId="1288455799" sldId="2147487484"/>
              <pc:sldLayoutMk cId="3020200073" sldId="2147489278"/>
              <ac:spMk id="1567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0200073" sldId="2147489278"/>
              <ac:spMk id="156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0200073" sldId="2147489278"/>
              <ac:spMk id="156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0200073" sldId="2147489278"/>
              <ac:spMk id="15678"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694122470" sldId="2147489279"/>
          </pc:sldLayoutMkLst>
          <pc:spChg chg="mod">
            <ac:chgData name="Rebecca Hannah Ainis" userId="116137a0-2af5-436b-85e1-74d9d3b30f2f" providerId="ADAL" clId="{6E039243-4417-4220-A582-B1623E3F270F}" dt="2026-06-01T16:37:28.639" v="2809"/>
            <ac:spMkLst>
              <pc:docMk/>
              <pc:sldMasterMk cId="1288455799" sldId="2147487484"/>
              <pc:sldLayoutMk cId="3694122470" sldId="2147489279"/>
              <ac:spMk id="1568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94122470" sldId="2147489279"/>
              <ac:spMk id="156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94122470" sldId="2147489279"/>
              <ac:spMk id="15688"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578500423" sldId="2147489280"/>
          </pc:sldLayoutMkLst>
          <pc:spChg chg="mod">
            <ac:chgData name="Rebecca Hannah Ainis" userId="116137a0-2af5-436b-85e1-74d9d3b30f2f" providerId="ADAL" clId="{6E039243-4417-4220-A582-B1623E3F270F}" dt="2026-06-01T16:37:28.639" v="2809"/>
            <ac:spMkLst>
              <pc:docMk/>
              <pc:sldMasterMk cId="1288455799" sldId="2147487484"/>
              <pc:sldLayoutMk cId="578500423" sldId="2147489280"/>
              <ac:spMk id="1569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78500423" sldId="2147489280"/>
              <ac:spMk id="1569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074506443" sldId="2147489281"/>
          </pc:sldLayoutMkLst>
          <pc:spChg chg="mod">
            <ac:chgData name="Rebecca Hannah Ainis" userId="116137a0-2af5-436b-85e1-74d9d3b30f2f" providerId="ADAL" clId="{6E039243-4417-4220-A582-B1623E3F270F}" dt="2026-06-01T16:37:28.639" v="2809"/>
            <ac:spMkLst>
              <pc:docMk/>
              <pc:sldMasterMk cId="1288455799" sldId="2147487484"/>
              <pc:sldLayoutMk cId="2074506443" sldId="2147489281"/>
              <ac:spMk id="156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74506443" sldId="2147489281"/>
              <ac:spMk id="1570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22568446" sldId="2147489282"/>
          </pc:sldLayoutMkLst>
          <pc:spChg chg="mod">
            <ac:chgData name="Rebecca Hannah Ainis" userId="116137a0-2af5-436b-85e1-74d9d3b30f2f" providerId="ADAL" clId="{6E039243-4417-4220-A582-B1623E3F270F}" dt="2026-06-01T16:37:28.639" v="2809"/>
            <ac:spMkLst>
              <pc:docMk/>
              <pc:sldMasterMk cId="1288455799" sldId="2147487484"/>
              <pc:sldLayoutMk cId="3922568446" sldId="2147489282"/>
              <ac:spMk id="157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22568446" sldId="2147489282"/>
              <ac:spMk id="1571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893918283" sldId="2147489283"/>
          </pc:sldLayoutMkLst>
          <pc:spChg chg="mod">
            <ac:chgData name="Rebecca Hannah Ainis" userId="116137a0-2af5-436b-85e1-74d9d3b30f2f" providerId="ADAL" clId="{6E039243-4417-4220-A582-B1623E3F270F}" dt="2026-06-01T16:37:28.639" v="2809"/>
            <ac:spMkLst>
              <pc:docMk/>
              <pc:sldMasterMk cId="1288455799" sldId="2147487484"/>
              <pc:sldLayoutMk cId="3893918283" sldId="2147489283"/>
              <ac:spMk id="157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93918283" sldId="2147489283"/>
              <ac:spMk id="1572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93918283" sldId="2147489283"/>
              <ac:spMk id="1572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93918283" sldId="2147489283"/>
              <ac:spMk id="1572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03756876" sldId="2147489284"/>
          </pc:sldLayoutMkLst>
          <pc:spChg chg="mod">
            <ac:chgData name="Rebecca Hannah Ainis" userId="116137a0-2af5-436b-85e1-74d9d3b30f2f" providerId="ADAL" clId="{6E039243-4417-4220-A582-B1623E3F270F}" dt="2026-06-01T16:37:28.639" v="2809"/>
            <ac:spMkLst>
              <pc:docMk/>
              <pc:sldMasterMk cId="1288455799" sldId="2147487484"/>
              <pc:sldLayoutMk cId="103756876" sldId="2147489284"/>
              <ac:spMk id="157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3756876" sldId="2147489284"/>
              <ac:spMk id="1573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3756876" sldId="2147489284"/>
              <ac:spMk id="157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3756876" sldId="2147489284"/>
              <ac:spMk id="1573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246860453" sldId="2147489285"/>
          </pc:sldLayoutMkLst>
          <pc:spChg chg="mod">
            <ac:chgData name="Rebecca Hannah Ainis" userId="116137a0-2af5-436b-85e1-74d9d3b30f2f" providerId="ADAL" clId="{6E039243-4417-4220-A582-B1623E3F270F}" dt="2026-06-01T16:37:28.639" v="2809"/>
            <ac:spMkLst>
              <pc:docMk/>
              <pc:sldMasterMk cId="1288455799" sldId="2147487484"/>
              <pc:sldLayoutMk cId="1246860453" sldId="2147489285"/>
              <ac:spMk id="157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46860453" sldId="2147489285"/>
              <ac:spMk id="1573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801465293" sldId="2147489286"/>
          </pc:sldLayoutMkLst>
          <pc:spChg chg="mod">
            <ac:chgData name="Rebecca Hannah Ainis" userId="116137a0-2af5-436b-85e1-74d9d3b30f2f" providerId="ADAL" clId="{6E039243-4417-4220-A582-B1623E3F270F}" dt="2026-06-01T16:37:28.639" v="2809"/>
            <ac:spMkLst>
              <pc:docMk/>
              <pc:sldMasterMk cId="1288455799" sldId="2147487484"/>
              <pc:sldLayoutMk cId="2801465293" sldId="2147489286"/>
              <ac:spMk id="1574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1465293" sldId="2147489286"/>
              <ac:spMk id="157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1465293" sldId="2147489286"/>
              <ac:spMk id="157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1465293" sldId="2147489286"/>
              <ac:spMk id="157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1465293" sldId="2147489286"/>
              <ac:spMk id="1575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283184568" sldId="2147489287"/>
          </pc:sldLayoutMkLst>
          <pc:spChg chg="mod">
            <ac:chgData name="Rebecca Hannah Ainis" userId="116137a0-2af5-436b-85e1-74d9d3b30f2f" providerId="ADAL" clId="{6E039243-4417-4220-A582-B1623E3F270F}" dt="2026-06-01T16:37:28.639" v="2809"/>
            <ac:spMkLst>
              <pc:docMk/>
              <pc:sldMasterMk cId="1288455799" sldId="2147487484"/>
              <pc:sldLayoutMk cId="3283184568" sldId="2147489287"/>
              <ac:spMk id="157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83184568" sldId="2147489287"/>
              <ac:spMk id="157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83184568" sldId="2147489287"/>
              <ac:spMk id="157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83184568" sldId="2147489287"/>
              <ac:spMk id="157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83184568" sldId="2147489287"/>
              <ac:spMk id="1576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951745" sldId="2147489288"/>
          </pc:sldLayoutMkLst>
          <pc:spChg chg="mod">
            <ac:chgData name="Rebecca Hannah Ainis" userId="116137a0-2af5-436b-85e1-74d9d3b30f2f" providerId="ADAL" clId="{6E039243-4417-4220-A582-B1623E3F270F}" dt="2026-06-01T16:37:28.639" v="2809"/>
            <ac:spMkLst>
              <pc:docMk/>
              <pc:sldMasterMk cId="1288455799" sldId="2147487484"/>
              <pc:sldLayoutMk cId="2951745" sldId="2147489288"/>
              <ac:spMk id="1577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51745" sldId="2147489288"/>
              <ac:spMk id="157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51745" sldId="2147489288"/>
              <ac:spMk id="157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51745" sldId="2147489288"/>
              <ac:spMk id="1577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317337141" sldId="2147489289"/>
          </pc:sldLayoutMkLst>
          <pc:spChg chg="mod">
            <ac:chgData name="Rebecca Hannah Ainis" userId="116137a0-2af5-436b-85e1-74d9d3b30f2f" providerId="ADAL" clId="{6E039243-4417-4220-A582-B1623E3F270F}" dt="2026-06-01T16:37:28.639" v="2809"/>
            <ac:spMkLst>
              <pc:docMk/>
              <pc:sldMasterMk cId="1288455799" sldId="2147487484"/>
              <pc:sldLayoutMk cId="2317337141" sldId="2147489289"/>
              <ac:spMk id="1578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093039389" sldId="2147489290"/>
          </pc:sldLayoutMkLst>
          <pc:spChg chg="mod">
            <ac:chgData name="Rebecca Hannah Ainis" userId="116137a0-2af5-436b-85e1-74d9d3b30f2f" providerId="ADAL" clId="{6E039243-4417-4220-A582-B1623E3F270F}" dt="2026-06-01T16:37:28.639" v="2809"/>
            <ac:spMkLst>
              <pc:docMk/>
              <pc:sldMasterMk cId="1288455799" sldId="2147487484"/>
              <pc:sldLayoutMk cId="1093039389" sldId="2147489290"/>
              <ac:spMk id="157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93039389" sldId="2147489290"/>
              <ac:spMk id="157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93039389" sldId="2147489290"/>
              <ac:spMk id="157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93039389" sldId="2147489290"/>
              <ac:spMk id="1579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377367582" sldId="2147489291"/>
          </pc:sldLayoutMkLst>
          <pc:spChg chg="mod">
            <ac:chgData name="Rebecca Hannah Ainis" userId="116137a0-2af5-436b-85e1-74d9d3b30f2f" providerId="ADAL" clId="{6E039243-4417-4220-A582-B1623E3F270F}" dt="2026-06-01T16:37:28.639" v="2809"/>
            <ac:spMkLst>
              <pc:docMk/>
              <pc:sldMasterMk cId="1288455799" sldId="2147487484"/>
              <pc:sldLayoutMk cId="1377367582" sldId="2147489291"/>
              <ac:spMk id="158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77367582" sldId="2147489291"/>
              <ac:spMk id="1580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767069770" sldId="2147489292"/>
          </pc:sldLayoutMkLst>
          <pc:spChg chg="mod">
            <ac:chgData name="Rebecca Hannah Ainis" userId="116137a0-2af5-436b-85e1-74d9d3b30f2f" providerId="ADAL" clId="{6E039243-4417-4220-A582-B1623E3F270F}" dt="2026-06-01T16:37:28.639" v="2809"/>
            <ac:spMkLst>
              <pc:docMk/>
              <pc:sldMasterMk cId="1288455799" sldId="2147487484"/>
              <pc:sldLayoutMk cId="2767069770" sldId="2147489292"/>
              <ac:spMk id="158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67069770" sldId="2147489292"/>
              <ac:spMk id="158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67069770" sldId="2147489292"/>
              <ac:spMk id="158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67069770" sldId="2147489292"/>
              <ac:spMk id="1581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904715377" sldId="2147489293"/>
          </pc:sldLayoutMkLst>
          <pc:spChg chg="mod">
            <ac:chgData name="Rebecca Hannah Ainis" userId="116137a0-2af5-436b-85e1-74d9d3b30f2f" providerId="ADAL" clId="{6E039243-4417-4220-A582-B1623E3F270F}" dt="2026-06-01T16:37:28.639" v="2809"/>
            <ac:spMkLst>
              <pc:docMk/>
              <pc:sldMasterMk cId="1288455799" sldId="2147487484"/>
              <pc:sldLayoutMk cId="904715377" sldId="2147489293"/>
              <ac:spMk id="158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04715377" sldId="2147489293"/>
              <ac:spMk id="1581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96625523" sldId="2147489294"/>
          </pc:sldLayoutMkLst>
          <pc:spChg chg="mod">
            <ac:chgData name="Rebecca Hannah Ainis" userId="116137a0-2af5-436b-85e1-74d9d3b30f2f" providerId="ADAL" clId="{6E039243-4417-4220-A582-B1623E3F270F}" dt="2026-06-01T16:37:28.639" v="2809"/>
            <ac:spMkLst>
              <pc:docMk/>
              <pc:sldMasterMk cId="1288455799" sldId="2147487484"/>
              <pc:sldLayoutMk cId="196625523" sldId="2147489294"/>
              <ac:spMk id="158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6625523" sldId="2147489294"/>
              <ac:spMk id="1583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69384106" sldId="2147489295"/>
          </pc:sldLayoutMkLst>
          <pc:spChg chg="mod">
            <ac:chgData name="Rebecca Hannah Ainis" userId="116137a0-2af5-436b-85e1-74d9d3b30f2f" providerId="ADAL" clId="{6E039243-4417-4220-A582-B1623E3F270F}" dt="2026-06-01T16:37:28.639" v="2809"/>
            <ac:spMkLst>
              <pc:docMk/>
              <pc:sldMasterMk cId="1288455799" sldId="2147487484"/>
              <pc:sldLayoutMk cId="2269384106" sldId="2147489295"/>
              <ac:spMk id="1583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150194014" sldId="2147489296"/>
          </pc:sldLayoutMkLst>
          <pc:spChg chg="mod">
            <ac:chgData name="Rebecca Hannah Ainis" userId="116137a0-2af5-436b-85e1-74d9d3b30f2f" providerId="ADAL" clId="{6E039243-4417-4220-A582-B1623E3F270F}" dt="2026-06-01T16:37:28.639" v="2809"/>
            <ac:spMkLst>
              <pc:docMk/>
              <pc:sldMasterMk cId="1288455799" sldId="2147487484"/>
              <pc:sldLayoutMk cId="3150194014" sldId="2147489296"/>
              <ac:spMk id="1584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50194014" sldId="2147489296"/>
              <ac:spMk id="1584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50194014" sldId="2147489296"/>
              <ac:spMk id="158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50194014" sldId="2147489296"/>
              <ac:spMk id="1584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640303153" sldId="2147489297"/>
          </pc:sldLayoutMkLst>
          <pc:spChg chg="mod">
            <ac:chgData name="Rebecca Hannah Ainis" userId="116137a0-2af5-436b-85e1-74d9d3b30f2f" providerId="ADAL" clId="{6E039243-4417-4220-A582-B1623E3F270F}" dt="2026-06-01T16:37:28.639" v="2809"/>
            <ac:spMkLst>
              <pc:docMk/>
              <pc:sldMasterMk cId="1288455799" sldId="2147487484"/>
              <pc:sldLayoutMk cId="3640303153" sldId="2147489297"/>
              <ac:spMk id="158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40303153" sldId="2147489297"/>
              <ac:spMk id="1585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40303153" sldId="2147489297"/>
              <ac:spMk id="1586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40303153" sldId="2147489297"/>
              <ac:spMk id="1586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745188264" sldId="2147489298"/>
          </pc:sldLayoutMkLst>
          <pc:spChg chg="mod">
            <ac:chgData name="Rebecca Hannah Ainis" userId="116137a0-2af5-436b-85e1-74d9d3b30f2f" providerId="ADAL" clId="{6E039243-4417-4220-A582-B1623E3F270F}" dt="2026-06-01T16:37:28.639" v="2809"/>
            <ac:spMkLst>
              <pc:docMk/>
              <pc:sldMasterMk cId="1288455799" sldId="2147487484"/>
              <pc:sldLayoutMk cId="2745188264" sldId="2147489298"/>
              <ac:spMk id="158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45188264" sldId="2147489298"/>
              <ac:spMk id="158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45188264" sldId="2147489298"/>
              <ac:spMk id="1587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45188264" sldId="2147489298"/>
              <ac:spMk id="1587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45188264" sldId="2147489298"/>
              <ac:spMk id="1587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30830640" sldId="2147489299"/>
          </pc:sldLayoutMkLst>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30830640" sldId="2147489299"/>
              <ac:spMk id="1588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648005941" sldId="2147489300"/>
          </pc:sldLayoutMkLst>
          <pc:spChg chg="mod">
            <ac:chgData name="Rebecca Hannah Ainis" userId="116137a0-2af5-436b-85e1-74d9d3b30f2f" providerId="ADAL" clId="{6E039243-4417-4220-A582-B1623E3F270F}" dt="2026-06-01T16:37:28.639" v="2809"/>
            <ac:spMkLst>
              <pc:docMk/>
              <pc:sldMasterMk cId="1288455799" sldId="2147487484"/>
              <pc:sldLayoutMk cId="648005941" sldId="2147489300"/>
              <ac:spMk id="158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48005941" sldId="2147489300"/>
              <ac:spMk id="1589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036783610" sldId="2147489301"/>
          </pc:sldLayoutMkLst>
          <pc:spChg chg="mod">
            <ac:chgData name="Rebecca Hannah Ainis" userId="116137a0-2af5-436b-85e1-74d9d3b30f2f" providerId="ADAL" clId="{6E039243-4417-4220-A582-B1623E3F270F}" dt="2026-06-01T16:37:28.639" v="2809"/>
            <ac:spMkLst>
              <pc:docMk/>
              <pc:sldMasterMk cId="1288455799" sldId="2147487484"/>
              <pc:sldLayoutMk cId="2036783610" sldId="2147489301"/>
              <ac:spMk id="158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36783610" sldId="2147489301"/>
              <ac:spMk id="159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36783610" sldId="2147489301"/>
              <ac:spMk id="159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36783610" sldId="2147489301"/>
              <ac:spMk id="1590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59712117" sldId="2147489302"/>
          </pc:sldLayoutMkLst>
          <pc:spChg chg="mod">
            <ac:chgData name="Rebecca Hannah Ainis" userId="116137a0-2af5-436b-85e1-74d9d3b30f2f" providerId="ADAL" clId="{6E039243-4417-4220-A582-B1623E3F270F}" dt="2026-06-01T16:37:28.639" v="2809"/>
            <ac:spMkLst>
              <pc:docMk/>
              <pc:sldMasterMk cId="1288455799" sldId="2147487484"/>
              <pc:sldLayoutMk cId="159712117" sldId="2147489302"/>
              <ac:spMk id="159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9712117" sldId="2147489302"/>
              <ac:spMk id="1591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634378980" sldId="2147489303"/>
          </pc:sldLayoutMkLst>
          <pc:spChg chg="mod">
            <ac:chgData name="Rebecca Hannah Ainis" userId="116137a0-2af5-436b-85e1-74d9d3b30f2f" providerId="ADAL" clId="{6E039243-4417-4220-A582-B1623E3F270F}" dt="2026-06-01T16:37:28.639" v="2809"/>
            <ac:spMkLst>
              <pc:docMk/>
              <pc:sldMasterMk cId="1288455799" sldId="2147487484"/>
              <pc:sldLayoutMk cId="1634378980" sldId="2147489303"/>
              <ac:spMk id="159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34378980" sldId="2147489303"/>
              <ac:spMk id="1592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60280647" sldId="2147489304"/>
          </pc:sldLayoutMkLst>
          <pc:spChg chg="mod">
            <ac:chgData name="Rebecca Hannah Ainis" userId="116137a0-2af5-436b-85e1-74d9d3b30f2f" providerId="ADAL" clId="{6E039243-4417-4220-A582-B1623E3F270F}" dt="2026-06-01T16:37:28.639" v="2809"/>
            <ac:spMkLst>
              <pc:docMk/>
              <pc:sldMasterMk cId="1288455799" sldId="2147487484"/>
              <pc:sldLayoutMk cId="1460280647" sldId="2147489304"/>
              <ac:spMk id="1592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50255465" sldId="2147489305"/>
          </pc:sldLayoutMkLst>
          <pc:spChg chg="mod">
            <ac:chgData name="Rebecca Hannah Ainis" userId="116137a0-2af5-436b-85e1-74d9d3b30f2f" providerId="ADAL" clId="{6E039243-4417-4220-A582-B1623E3F270F}" dt="2026-06-01T16:37:28.639" v="2809"/>
            <ac:spMkLst>
              <pc:docMk/>
              <pc:sldMasterMk cId="1288455799" sldId="2147487484"/>
              <pc:sldLayoutMk cId="1450255465" sldId="2147489305"/>
              <ac:spMk id="159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50255465" sldId="2147489305"/>
              <ac:spMk id="159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50255465" sldId="2147489305"/>
              <ac:spMk id="159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50255465" sldId="2147489305"/>
              <ac:spMk id="1593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10134847" sldId="2147489306"/>
          </pc:sldLayoutMkLst>
          <pc:spChg chg="mod">
            <ac:chgData name="Rebecca Hannah Ainis" userId="116137a0-2af5-436b-85e1-74d9d3b30f2f" providerId="ADAL" clId="{6E039243-4417-4220-A582-B1623E3F270F}" dt="2026-06-01T16:37:28.639" v="2809"/>
            <ac:spMkLst>
              <pc:docMk/>
              <pc:sldMasterMk cId="1288455799" sldId="2147487484"/>
              <pc:sldLayoutMk cId="1410134847" sldId="2147489306"/>
              <ac:spMk id="159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0134847" sldId="2147489306"/>
              <ac:spMk id="159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0134847" sldId="2147489306"/>
              <ac:spMk id="159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0134847" sldId="2147489306"/>
              <ac:spMk id="1595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987906937" sldId="2147489307"/>
          </pc:sldLayoutMkLst>
          <pc:spChg chg="mod">
            <ac:chgData name="Rebecca Hannah Ainis" userId="116137a0-2af5-436b-85e1-74d9d3b30f2f" providerId="ADAL" clId="{6E039243-4417-4220-A582-B1623E3F270F}" dt="2026-06-01T16:37:28.639" v="2809"/>
            <ac:spMkLst>
              <pc:docMk/>
              <pc:sldMasterMk cId="1288455799" sldId="2147487484"/>
              <pc:sldLayoutMk cId="2987906937" sldId="2147489307"/>
              <ac:spMk id="159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87906937" sldId="2147489307"/>
              <ac:spMk id="1595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87906937" sldId="2147489307"/>
              <ac:spMk id="159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87906937" sldId="2147489307"/>
              <ac:spMk id="159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87906937" sldId="2147489307"/>
              <ac:spMk id="1596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12656717" sldId="2147489308"/>
          </pc:sldLayoutMkLst>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7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7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2656717" sldId="2147489308"/>
              <ac:spMk id="1598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57636615" sldId="2147489309"/>
          </pc:sldLayoutMkLst>
          <pc:spChg chg="mod">
            <ac:chgData name="Rebecca Hannah Ainis" userId="116137a0-2af5-436b-85e1-74d9d3b30f2f" providerId="ADAL" clId="{6E039243-4417-4220-A582-B1623E3F270F}" dt="2026-06-01T16:37:28.639" v="2809"/>
            <ac:spMkLst>
              <pc:docMk/>
              <pc:sldMasterMk cId="1288455799" sldId="2147487484"/>
              <pc:sldLayoutMk cId="357636615" sldId="2147489309"/>
              <ac:spMk id="159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7636615" sldId="2147489309"/>
              <ac:spMk id="159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7636615" sldId="2147489309"/>
              <ac:spMk id="1599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08068308" sldId="2147489310"/>
          </pc:sldLayoutMkLst>
          <pc:spChg chg="mod">
            <ac:chgData name="Rebecca Hannah Ainis" userId="116137a0-2af5-436b-85e1-74d9d3b30f2f" providerId="ADAL" clId="{6E039243-4417-4220-A582-B1623E3F270F}" dt="2026-06-01T16:37:28.639" v="2809"/>
            <ac:spMkLst>
              <pc:docMk/>
              <pc:sldMasterMk cId="1288455799" sldId="2147487484"/>
              <pc:sldLayoutMk cId="2108068308" sldId="2147489310"/>
              <ac:spMk id="159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08068308" sldId="2147489310"/>
              <ac:spMk id="1599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761016872" sldId="2147489311"/>
          </pc:sldLayoutMkLst>
          <pc:spChg chg="mod">
            <ac:chgData name="Rebecca Hannah Ainis" userId="116137a0-2af5-436b-85e1-74d9d3b30f2f" providerId="ADAL" clId="{6E039243-4417-4220-A582-B1623E3F270F}" dt="2026-06-01T16:37:28.639" v="2809"/>
            <ac:spMkLst>
              <pc:docMk/>
              <pc:sldMasterMk cId="1288455799" sldId="2147487484"/>
              <pc:sldLayoutMk cId="761016872" sldId="2147489311"/>
              <ac:spMk id="160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61016872" sldId="2147489311"/>
              <ac:spMk id="1600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6150795" sldId="2147489312"/>
          </pc:sldLayoutMkLst>
          <pc:spChg chg="mod">
            <ac:chgData name="Rebecca Hannah Ainis" userId="116137a0-2af5-436b-85e1-74d9d3b30f2f" providerId="ADAL" clId="{6E039243-4417-4220-A582-B1623E3F270F}" dt="2026-06-01T16:37:28.639" v="2809"/>
            <ac:spMkLst>
              <pc:docMk/>
              <pc:sldMasterMk cId="1288455799" sldId="2147487484"/>
              <pc:sldLayoutMk cId="96150795" sldId="2147489312"/>
              <ac:spMk id="160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6150795" sldId="2147489312"/>
              <ac:spMk id="160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6150795" sldId="2147489312"/>
              <ac:spMk id="160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6150795" sldId="2147489312"/>
              <ac:spMk id="1601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257857222" sldId="2147489313"/>
          </pc:sldLayoutMkLst>
          <pc:spChg chg="mod">
            <ac:chgData name="Rebecca Hannah Ainis" userId="116137a0-2af5-436b-85e1-74d9d3b30f2f" providerId="ADAL" clId="{6E039243-4417-4220-A582-B1623E3F270F}" dt="2026-06-01T16:37:28.639" v="2809"/>
            <ac:spMkLst>
              <pc:docMk/>
              <pc:sldMasterMk cId="1288455799" sldId="2147487484"/>
              <pc:sldLayoutMk cId="4257857222" sldId="2147489313"/>
              <ac:spMk id="160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57857222" sldId="2147489313"/>
              <ac:spMk id="1602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857897134" sldId="2147489314"/>
          </pc:sldLayoutMkLst>
          <pc:spChg chg="mod">
            <ac:chgData name="Rebecca Hannah Ainis" userId="116137a0-2af5-436b-85e1-74d9d3b30f2f" providerId="ADAL" clId="{6E039243-4417-4220-A582-B1623E3F270F}" dt="2026-06-01T16:37:28.639" v="2809"/>
            <ac:spMkLst>
              <pc:docMk/>
              <pc:sldMasterMk cId="1288455799" sldId="2147487484"/>
              <pc:sldLayoutMk cId="2857897134" sldId="2147489314"/>
              <ac:spMk id="160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57897134" sldId="2147489314"/>
              <ac:spMk id="1603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63300786" sldId="2147489315"/>
          </pc:sldLayoutMkLst>
          <pc:spChg chg="mod">
            <ac:chgData name="Rebecca Hannah Ainis" userId="116137a0-2af5-436b-85e1-74d9d3b30f2f" providerId="ADAL" clId="{6E039243-4417-4220-A582-B1623E3F270F}" dt="2026-06-01T16:37:28.639" v="2809"/>
            <ac:spMkLst>
              <pc:docMk/>
              <pc:sldMasterMk cId="1288455799" sldId="2147487484"/>
              <pc:sldLayoutMk cId="1163300786" sldId="2147489315"/>
              <ac:spMk id="1604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62332174" sldId="2147489316"/>
          </pc:sldLayoutMkLst>
          <pc:spChg chg="mod">
            <ac:chgData name="Rebecca Hannah Ainis" userId="116137a0-2af5-436b-85e1-74d9d3b30f2f" providerId="ADAL" clId="{6E039243-4417-4220-A582-B1623E3F270F}" dt="2026-06-01T16:37:28.639" v="2809"/>
            <ac:spMkLst>
              <pc:docMk/>
              <pc:sldMasterMk cId="1288455799" sldId="2147487484"/>
              <pc:sldLayoutMk cId="1462332174" sldId="2147489316"/>
              <ac:spMk id="1604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2332174" sldId="2147489316"/>
              <ac:spMk id="1604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2332174" sldId="2147489316"/>
              <ac:spMk id="1605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2332174" sldId="2147489316"/>
              <ac:spMk id="1605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15924128" sldId="2147489317"/>
          </pc:sldLayoutMkLst>
          <pc:spChg chg="mod">
            <ac:chgData name="Rebecca Hannah Ainis" userId="116137a0-2af5-436b-85e1-74d9d3b30f2f" providerId="ADAL" clId="{6E039243-4417-4220-A582-B1623E3F270F}" dt="2026-06-01T16:37:28.639" v="2809"/>
            <ac:spMkLst>
              <pc:docMk/>
              <pc:sldMasterMk cId="1288455799" sldId="2147487484"/>
              <pc:sldLayoutMk cId="315924128" sldId="2147489317"/>
              <ac:spMk id="1606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5924128" sldId="2147489317"/>
              <ac:spMk id="1606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5924128" sldId="2147489317"/>
              <ac:spMk id="1606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5924128" sldId="2147489317"/>
              <ac:spMk id="1606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86160433" sldId="2147489318"/>
          </pc:sldLayoutMkLst>
          <pc:spChg chg="mod">
            <ac:chgData name="Rebecca Hannah Ainis" userId="116137a0-2af5-436b-85e1-74d9d3b30f2f" providerId="ADAL" clId="{6E039243-4417-4220-A582-B1623E3F270F}" dt="2026-06-01T16:37:28.639" v="2809"/>
            <ac:spMkLst>
              <pc:docMk/>
              <pc:sldMasterMk cId="1288455799" sldId="2147487484"/>
              <pc:sldLayoutMk cId="3086160433" sldId="2147489318"/>
              <ac:spMk id="1607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86160433" sldId="2147489318"/>
              <ac:spMk id="1607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86160433" sldId="2147489318"/>
              <ac:spMk id="160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86160433" sldId="2147489318"/>
              <ac:spMk id="160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86160433" sldId="2147489318"/>
              <ac:spMk id="1608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532597706" sldId="2147489319"/>
          </pc:sldLayoutMkLst>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2597706" sldId="2147489319"/>
              <ac:spMk id="1609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81599826" sldId="2147489320"/>
          </pc:sldLayoutMkLst>
          <pc:spChg chg="mod">
            <ac:chgData name="Rebecca Hannah Ainis" userId="116137a0-2af5-436b-85e1-74d9d3b30f2f" providerId="ADAL" clId="{6E039243-4417-4220-A582-B1623E3F270F}" dt="2026-06-01T16:37:28.639" v="2809"/>
            <ac:spMkLst>
              <pc:docMk/>
              <pc:sldMasterMk cId="1288455799" sldId="2147487484"/>
              <pc:sldLayoutMk cId="481599826" sldId="2147489320"/>
              <ac:spMk id="161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1599826" sldId="2147489320"/>
              <ac:spMk id="1610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1599826" sldId="2147489320"/>
              <ac:spMk id="1610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69277996" sldId="2147489321"/>
          </pc:sldLayoutMkLst>
          <pc:spChg chg="mod">
            <ac:chgData name="Rebecca Hannah Ainis" userId="116137a0-2af5-436b-85e1-74d9d3b30f2f" providerId="ADAL" clId="{6E039243-4417-4220-A582-B1623E3F270F}" dt="2026-06-01T16:37:28.639" v="2809"/>
            <ac:spMkLst>
              <pc:docMk/>
              <pc:sldMasterMk cId="1288455799" sldId="2147487484"/>
              <pc:sldLayoutMk cId="3769277996" sldId="2147489321"/>
              <ac:spMk id="161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69277996" sldId="2147489321"/>
              <ac:spMk id="1611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778173840" sldId="2147489322"/>
          </pc:sldLayoutMkLst>
          <pc:spChg chg="mod">
            <ac:chgData name="Rebecca Hannah Ainis" userId="116137a0-2af5-436b-85e1-74d9d3b30f2f" providerId="ADAL" clId="{6E039243-4417-4220-A582-B1623E3F270F}" dt="2026-06-01T16:37:28.639" v="2809"/>
            <ac:spMkLst>
              <pc:docMk/>
              <pc:sldMasterMk cId="1288455799" sldId="2147487484"/>
              <pc:sldLayoutMk cId="778173840" sldId="2147489322"/>
              <ac:spMk id="161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78173840" sldId="2147489322"/>
              <ac:spMk id="1611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78173840" sldId="2147489322"/>
              <ac:spMk id="161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78173840" sldId="2147489322"/>
              <ac:spMk id="1612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660175824" sldId="2147489323"/>
          </pc:sldLayoutMkLst>
          <pc:spChg chg="mod">
            <ac:chgData name="Rebecca Hannah Ainis" userId="116137a0-2af5-436b-85e1-74d9d3b30f2f" providerId="ADAL" clId="{6E039243-4417-4220-A582-B1623E3F270F}" dt="2026-06-01T16:37:28.639" v="2809"/>
            <ac:spMkLst>
              <pc:docMk/>
              <pc:sldMasterMk cId="1288455799" sldId="2147487484"/>
              <pc:sldLayoutMk cId="660175824" sldId="2147489323"/>
              <ac:spMk id="161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60175824" sldId="2147489323"/>
              <ac:spMk id="1613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60175824" sldId="2147489323"/>
              <ac:spMk id="161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60175824" sldId="2147489323"/>
              <ac:spMk id="1613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147459387" sldId="2147489324"/>
          </pc:sldLayoutMkLst>
          <pc:spChg chg="mod">
            <ac:chgData name="Rebecca Hannah Ainis" userId="116137a0-2af5-436b-85e1-74d9d3b30f2f" providerId="ADAL" clId="{6E039243-4417-4220-A582-B1623E3F270F}" dt="2026-06-01T16:37:28.639" v="2809"/>
            <ac:spMkLst>
              <pc:docMk/>
              <pc:sldMasterMk cId="1288455799" sldId="2147487484"/>
              <pc:sldLayoutMk cId="3147459387" sldId="2147489324"/>
              <ac:spMk id="161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47459387" sldId="2147489324"/>
              <ac:spMk id="1614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47459387" sldId="2147489324"/>
              <ac:spMk id="161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47459387" sldId="2147489324"/>
              <ac:spMk id="1614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39203961" sldId="2147489325"/>
          </pc:sldLayoutMkLst>
          <pc:spChg chg="mod">
            <ac:chgData name="Rebecca Hannah Ainis" userId="116137a0-2af5-436b-85e1-74d9d3b30f2f" providerId="ADAL" clId="{6E039243-4417-4220-A582-B1623E3F270F}" dt="2026-06-01T16:37:28.639" v="2809"/>
            <ac:spMkLst>
              <pc:docMk/>
              <pc:sldMasterMk cId="1288455799" sldId="2147487484"/>
              <pc:sldLayoutMk cId="2139203961" sldId="2147489325"/>
              <ac:spMk id="161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39203961" sldId="2147489325"/>
              <ac:spMk id="161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39203961" sldId="2147489325"/>
              <ac:spMk id="1615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39203961" sldId="2147489325"/>
              <ac:spMk id="1616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388726366" sldId="2147489326"/>
          </pc:sldLayoutMkLst>
          <pc:spChg chg="mod">
            <ac:chgData name="Rebecca Hannah Ainis" userId="116137a0-2af5-436b-85e1-74d9d3b30f2f" providerId="ADAL" clId="{6E039243-4417-4220-A582-B1623E3F270F}" dt="2026-06-01T16:37:28.639" v="2809"/>
            <ac:spMkLst>
              <pc:docMk/>
              <pc:sldMasterMk cId="1288455799" sldId="2147487484"/>
              <pc:sldLayoutMk cId="3388726366" sldId="2147489326"/>
              <ac:spMk id="1617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88726366" sldId="2147489326"/>
              <ac:spMk id="1617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596454026" sldId="2147489327"/>
          </pc:sldLayoutMkLst>
          <pc:spChg chg="mod">
            <ac:chgData name="Rebecca Hannah Ainis" userId="116137a0-2af5-436b-85e1-74d9d3b30f2f" providerId="ADAL" clId="{6E039243-4417-4220-A582-B1623E3F270F}" dt="2026-06-01T16:37:28.639" v="2809"/>
            <ac:spMkLst>
              <pc:docMk/>
              <pc:sldMasterMk cId="1288455799" sldId="2147487484"/>
              <pc:sldLayoutMk cId="1596454026" sldId="2147489327"/>
              <ac:spMk id="1618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96454026" sldId="2147489327"/>
              <ac:spMk id="1618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602606065" sldId="2147489328"/>
          </pc:sldLayoutMkLst>
          <pc:spChg chg="mod">
            <ac:chgData name="Rebecca Hannah Ainis" userId="116137a0-2af5-436b-85e1-74d9d3b30f2f" providerId="ADAL" clId="{6E039243-4417-4220-A582-B1623E3F270F}" dt="2026-06-01T16:37:28.639" v="2809"/>
            <ac:spMkLst>
              <pc:docMk/>
              <pc:sldMasterMk cId="1288455799" sldId="2147487484"/>
              <pc:sldLayoutMk cId="3602606065" sldId="2147489328"/>
              <ac:spMk id="1618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769664500" sldId="2147489329"/>
          </pc:sldLayoutMkLst>
          <pc:spChg chg="mod">
            <ac:chgData name="Rebecca Hannah Ainis" userId="116137a0-2af5-436b-85e1-74d9d3b30f2f" providerId="ADAL" clId="{6E039243-4417-4220-A582-B1623E3F270F}" dt="2026-06-01T16:37:28.639" v="2809"/>
            <ac:spMkLst>
              <pc:docMk/>
              <pc:sldMasterMk cId="1288455799" sldId="2147487484"/>
              <pc:sldLayoutMk cId="1769664500" sldId="2147489329"/>
              <ac:spMk id="161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69664500" sldId="2147489329"/>
              <ac:spMk id="161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69664500" sldId="2147489329"/>
              <ac:spMk id="1619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69664500" sldId="2147489329"/>
              <ac:spMk id="1619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583882312" sldId="2147489330"/>
          </pc:sldLayoutMkLst>
          <pc:spChg chg="mod">
            <ac:chgData name="Rebecca Hannah Ainis" userId="116137a0-2af5-436b-85e1-74d9d3b30f2f" providerId="ADAL" clId="{6E039243-4417-4220-A582-B1623E3F270F}" dt="2026-06-01T16:37:28.639" v="2809"/>
            <ac:spMkLst>
              <pc:docMk/>
              <pc:sldMasterMk cId="1288455799" sldId="2147487484"/>
              <pc:sldLayoutMk cId="583882312" sldId="2147489330"/>
              <ac:spMk id="1620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83882312" sldId="2147489330"/>
              <ac:spMk id="162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83882312" sldId="2147489330"/>
              <ac:spMk id="1620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83882312" sldId="2147489330"/>
              <ac:spMk id="1621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22516000" sldId="2147489331"/>
          </pc:sldLayoutMkLst>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2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2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22516000" sldId="2147489331"/>
              <ac:spMk id="1623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743409125" sldId="2147489332"/>
          </pc:sldLayoutMkLst>
          <pc:spChg chg="mod">
            <ac:chgData name="Rebecca Hannah Ainis" userId="116137a0-2af5-436b-85e1-74d9d3b30f2f" providerId="ADAL" clId="{6E039243-4417-4220-A582-B1623E3F270F}" dt="2026-06-01T16:37:28.639" v="2809"/>
            <ac:spMkLst>
              <pc:docMk/>
              <pc:sldMasterMk cId="1288455799" sldId="2147487484"/>
              <pc:sldLayoutMk cId="743409125" sldId="2147489332"/>
              <ac:spMk id="162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43409125" sldId="2147489332"/>
              <ac:spMk id="162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43409125" sldId="2147489332"/>
              <ac:spMk id="1624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993667709" sldId="2147489333"/>
          </pc:sldLayoutMkLst>
          <pc:spChg chg="mod">
            <ac:chgData name="Rebecca Hannah Ainis" userId="116137a0-2af5-436b-85e1-74d9d3b30f2f" providerId="ADAL" clId="{6E039243-4417-4220-A582-B1623E3F270F}" dt="2026-06-01T16:37:28.639" v="2809"/>
            <ac:spMkLst>
              <pc:docMk/>
              <pc:sldMasterMk cId="1288455799" sldId="2147487484"/>
              <pc:sldLayoutMk cId="1993667709" sldId="2147489333"/>
              <ac:spMk id="162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93667709" sldId="2147489333"/>
              <ac:spMk id="1624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739460292" sldId="2147489334"/>
          </pc:sldLayoutMkLst>
          <pc:spChg chg="mod">
            <ac:chgData name="Rebecca Hannah Ainis" userId="116137a0-2af5-436b-85e1-74d9d3b30f2f" providerId="ADAL" clId="{6E039243-4417-4220-A582-B1623E3F270F}" dt="2026-06-01T16:37:28.639" v="2809"/>
            <ac:spMkLst>
              <pc:docMk/>
              <pc:sldMasterMk cId="1288455799" sldId="2147487484"/>
              <pc:sldLayoutMk cId="1739460292" sldId="2147489334"/>
              <ac:spMk id="162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39460292" sldId="2147489334"/>
              <ac:spMk id="1625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36760146" sldId="2147489335"/>
          </pc:sldLayoutMkLst>
          <pc:spChg chg="mod">
            <ac:chgData name="Rebecca Hannah Ainis" userId="116137a0-2af5-436b-85e1-74d9d3b30f2f" providerId="ADAL" clId="{6E039243-4417-4220-A582-B1623E3F270F}" dt="2026-06-01T16:37:28.639" v="2809"/>
            <ac:spMkLst>
              <pc:docMk/>
              <pc:sldMasterMk cId="1288455799" sldId="2147487484"/>
              <pc:sldLayoutMk cId="3936760146" sldId="2147489335"/>
              <ac:spMk id="1625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526956244" sldId="2147489336"/>
          </pc:sldLayoutMkLst>
          <pc:spChg chg="mod">
            <ac:chgData name="Rebecca Hannah Ainis" userId="116137a0-2af5-436b-85e1-74d9d3b30f2f" providerId="ADAL" clId="{6E039243-4417-4220-A582-B1623E3F270F}" dt="2026-06-01T16:37:28.639" v="2809"/>
            <ac:spMkLst>
              <pc:docMk/>
              <pc:sldMasterMk cId="1288455799" sldId="2147487484"/>
              <pc:sldLayoutMk cId="2526956244" sldId="2147489336"/>
              <ac:spMk id="162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26956244" sldId="2147489336"/>
              <ac:spMk id="162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26956244" sldId="2147489336"/>
              <ac:spMk id="1626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26956244" sldId="2147489336"/>
              <ac:spMk id="1627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48440116" sldId="2147489337"/>
          </pc:sldLayoutMkLst>
          <pc:spChg chg="mod">
            <ac:chgData name="Rebecca Hannah Ainis" userId="116137a0-2af5-436b-85e1-74d9d3b30f2f" providerId="ADAL" clId="{6E039243-4417-4220-A582-B1623E3F270F}" dt="2026-06-01T16:37:28.639" v="2809"/>
            <ac:spMkLst>
              <pc:docMk/>
              <pc:sldMasterMk cId="1288455799" sldId="2147487484"/>
              <pc:sldLayoutMk cId="1348440116" sldId="2147489337"/>
              <ac:spMk id="162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48440116" sldId="2147489337"/>
              <ac:spMk id="162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48440116" sldId="2147489337"/>
              <ac:spMk id="162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48440116" sldId="2147489337"/>
              <ac:spMk id="1628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494352710" sldId="2147489338"/>
          </pc:sldLayoutMkLst>
          <pc:spChg chg="mod">
            <ac:chgData name="Rebecca Hannah Ainis" userId="116137a0-2af5-436b-85e1-74d9d3b30f2f" providerId="ADAL" clId="{6E039243-4417-4220-A582-B1623E3F270F}" dt="2026-06-01T16:37:28.639" v="2809"/>
            <ac:spMkLst>
              <pc:docMk/>
              <pc:sldMasterMk cId="1288455799" sldId="2147487484"/>
              <pc:sldLayoutMk cId="3494352710" sldId="2147489338"/>
              <ac:spMk id="162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94352710" sldId="2147489338"/>
              <ac:spMk id="162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94352710" sldId="2147489338"/>
              <ac:spMk id="162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94352710" sldId="2147489338"/>
              <ac:spMk id="162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94352710" sldId="2147489338"/>
              <ac:spMk id="1630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151631939" sldId="2147489339"/>
          </pc:sldLayoutMkLst>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0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0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1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1631939" sldId="2147489339"/>
              <ac:spMk id="1631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956554599" sldId="2147489340"/>
          </pc:sldLayoutMkLst>
          <pc:spChg chg="mod">
            <ac:chgData name="Rebecca Hannah Ainis" userId="116137a0-2af5-436b-85e1-74d9d3b30f2f" providerId="ADAL" clId="{6E039243-4417-4220-A582-B1623E3F270F}" dt="2026-06-01T16:37:28.639" v="2809"/>
            <ac:spMkLst>
              <pc:docMk/>
              <pc:sldMasterMk cId="1288455799" sldId="2147487484"/>
              <pc:sldLayoutMk cId="2956554599" sldId="2147489340"/>
              <ac:spMk id="1632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56554599" sldId="2147489340"/>
              <ac:spMk id="1632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56554599" sldId="2147489340"/>
              <ac:spMk id="1632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916330474" sldId="2147489341"/>
          </pc:sldLayoutMkLst>
          <pc:spChg chg="mod">
            <ac:chgData name="Rebecca Hannah Ainis" userId="116137a0-2af5-436b-85e1-74d9d3b30f2f" providerId="ADAL" clId="{6E039243-4417-4220-A582-B1623E3F270F}" dt="2026-06-01T16:37:28.639" v="2809"/>
            <ac:spMkLst>
              <pc:docMk/>
              <pc:sldMasterMk cId="1288455799" sldId="2147487484"/>
              <pc:sldLayoutMk cId="2916330474" sldId="2147489341"/>
              <ac:spMk id="163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16330474" sldId="2147489341"/>
              <ac:spMk id="1633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295477986" sldId="2147489342"/>
          </pc:sldLayoutMkLst>
          <pc:spChg chg="mod">
            <ac:chgData name="Rebecca Hannah Ainis" userId="116137a0-2af5-436b-85e1-74d9d3b30f2f" providerId="ADAL" clId="{6E039243-4417-4220-A582-B1623E3F270F}" dt="2026-06-01T16:37:28.639" v="2809"/>
            <ac:spMkLst>
              <pc:docMk/>
              <pc:sldMasterMk cId="1288455799" sldId="2147487484"/>
              <pc:sldLayoutMk cId="2295477986" sldId="2147489342"/>
              <ac:spMk id="163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95477986" sldId="2147489342"/>
              <ac:spMk id="1633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4382452" sldId="2147489343"/>
          </pc:sldLayoutMkLst>
          <pc:spChg chg="mod">
            <ac:chgData name="Rebecca Hannah Ainis" userId="116137a0-2af5-436b-85e1-74d9d3b30f2f" providerId="ADAL" clId="{6E039243-4417-4220-A582-B1623E3F270F}" dt="2026-06-01T16:37:28.639" v="2809"/>
            <ac:spMkLst>
              <pc:docMk/>
              <pc:sldMasterMk cId="1288455799" sldId="2147487484"/>
              <pc:sldLayoutMk cId="24382452" sldId="2147489343"/>
              <ac:spMk id="163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82452" sldId="2147489343"/>
              <ac:spMk id="1634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653898265" sldId="2147489344"/>
          </pc:sldLayoutMkLst>
          <pc:spChg chg="mod">
            <ac:chgData name="Rebecca Hannah Ainis" userId="116137a0-2af5-436b-85e1-74d9d3b30f2f" providerId="ADAL" clId="{6E039243-4417-4220-A582-B1623E3F270F}" dt="2026-06-01T16:37:28.639" v="2809"/>
            <ac:spMkLst>
              <pc:docMk/>
              <pc:sldMasterMk cId="1288455799" sldId="2147487484"/>
              <pc:sldLayoutMk cId="653898265" sldId="2147489344"/>
              <ac:spMk id="163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53898265" sldId="2147489344"/>
              <ac:spMk id="1635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922052038" sldId="2147489345"/>
          </pc:sldLayoutMkLst>
          <pc:spChg chg="mod">
            <ac:chgData name="Rebecca Hannah Ainis" userId="116137a0-2af5-436b-85e1-74d9d3b30f2f" providerId="ADAL" clId="{6E039243-4417-4220-A582-B1623E3F270F}" dt="2026-06-01T16:37:28.639" v="2809"/>
            <ac:spMkLst>
              <pc:docMk/>
              <pc:sldMasterMk cId="1288455799" sldId="2147487484"/>
              <pc:sldLayoutMk cId="1922052038" sldId="2147489345"/>
              <ac:spMk id="163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22052038" sldId="2147489345"/>
              <ac:spMk id="1636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195389903" sldId="2147489346"/>
          </pc:sldLayoutMkLst>
          <pc:spChg chg="mod">
            <ac:chgData name="Rebecca Hannah Ainis" userId="116137a0-2af5-436b-85e1-74d9d3b30f2f" providerId="ADAL" clId="{6E039243-4417-4220-A582-B1623E3F270F}" dt="2026-06-01T16:37:28.639" v="2809"/>
            <ac:spMkLst>
              <pc:docMk/>
              <pc:sldMasterMk cId="1288455799" sldId="2147487484"/>
              <pc:sldLayoutMk cId="4195389903" sldId="2147489346"/>
              <ac:spMk id="1636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61389663" sldId="2147489347"/>
          </pc:sldLayoutMkLst>
          <pc:spChg chg="mod">
            <ac:chgData name="Rebecca Hannah Ainis" userId="116137a0-2af5-436b-85e1-74d9d3b30f2f" providerId="ADAL" clId="{6E039243-4417-4220-A582-B1623E3F270F}" dt="2026-06-01T16:37:28.639" v="2809"/>
            <ac:spMkLst>
              <pc:docMk/>
              <pc:sldMasterMk cId="1288455799" sldId="2147487484"/>
              <pc:sldLayoutMk cId="3961389663" sldId="2147489347"/>
              <ac:spMk id="163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61389663" sldId="2147489347"/>
              <ac:spMk id="163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61389663" sldId="2147489347"/>
              <ac:spMk id="1637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61389663" sldId="2147489347"/>
              <ac:spMk id="1637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8007622" sldId="2147489348"/>
          </pc:sldLayoutMkLst>
          <pc:spChg chg="mod">
            <ac:chgData name="Rebecca Hannah Ainis" userId="116137a0-2af5-436b-85e1-74d9d3b30f2f" providerId="ADAL" clId="{6E039243-4417-4220-A582-B1623E3F270F}" dt="2026-06-01T16:37:28.639" v="2809"/>
            <ac:spMkLst>
              <pc:docMk/>
              <pc:sldMasterMk cId="1288455799" sldId="2147487484"/>
              <pc:sldLayoutMk cId="118007622" sldId="2147489348"/>
              <ac:spMk id="163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007622" sldId="2147489348"/>
              <ac:spMk id="163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007622" sldId="2147489348"/>
              <ac:spMk id="163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007622" sldId="2147489348"/>
              <ac:spMk id="1639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063452491" sldId="2147489349"/>
          </pc:sldLayoutMkLst>
          <pc:spChg chg="mod">
            <ac:chgData name="Rebecca Hannah Ainis" userId="116137a0-2af5-436b-85e1-74d9d3b30f2f" providerId="ADAL" clId="{6E039243-4417-4220-A582-B1623E3F270F}" dt="2026-06-01T16:37:28.639" v="2809"/>
            <ac:spMkLst>
              <pc:docMk/>
              <pc:sldMasterMk cId="1288455799" sldId="2147487484"/>
              <pc:sldLayoutMk cId="4063452491" sldId="2147489349"/>
              <ac:spMk id="164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3452491" sldId="2147489349"/>
              <ac:spMk id="164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3452491" sldId="2147489349"/>
              <ac:spMk id="164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3452491" sldId="2147489349"/>
              <ac:spMk id="1640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3452491" sldId="2147489349"/>
              <ac:spMk id="1641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879794671" sldId="2147489350"/>
          </pc:sldLayoutMkLst>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1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1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2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2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879794671" sldId="2147489350"/>
              <ac:spMk id="1642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415213690" sldId="2147489351"/>
          </pc:sldLayoutMkLst>
          <pc:spChg chg="mod">
            <ac:chgData name="Rebecca Hannah Ainis" userId="116137a0-2af5-436b-85e1-74d9d3b30f2f" providerId="ADAL" clId="{6E039243-4417-4220-A582-B1623E3F270F}" dt="2026-06-01T16:37:28.639" v="2809"/>
            <ac:spMkLst>
              <pc:docMk/>
              <pc:sldMasterMk cId="1288455799" sldId="2147487484"/>
              <pc:sldLayoutMk cId="2415213690" sldId="2147489351"/>
              <ac:spMk id="164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213690" sldId="2147489351"/>
              <ac:spMk id="1643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213690" sldId="2147489351"/>
              <ac:spMk id="1643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246698233" sldId="2147489352"/>
          </pc:sldLayoutMkLst>
          <pc:spChg chg="mod">
            <ac:chgData name="Rebecca Hannah Ainis" userId="116137a0-2af5-436b-85e1-74d9d3b30f2f" providerId="ADAL" clId="{6E039243-4417-4220-A582-B1623E3F270F}" dt="2026-06-01T16:37:28.639" v="2809"/>
            <ac:spMkLst>
              <pc:docMk/>
              <pc:sldMasterMk cId="1288455799" sldId="2147487484"/>
              <pc:sldLayoutMk cId="1246698233" sldId="2147489352"/>
              <ac:spMk id="1644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46698233" sldId="2147489352"/>
              <ac:spMk id="1644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479828440" sldId="2147489353"/>
          </pc:sldLayoutMkLst>
          <pc:spChg chg="mod">
            <ac:chgData name="Rebecca Hannah Ainis" userId="116137a0-2af5-436b-85e1-74d9d3b30f2f" providerId="ADAL" clId="{6E039243-4417-4220-A582-B1623E3F270F}" dt="2026-06-01T16:37:28.639" v="2809"/>
            <ac:spMkLst>
              <pc:docMk/>
              <pc:sldMasterMk cId="1288455799" sldId="2147487484"/>
              <pc:sldLayoutMk cId="1479828440" sldId="2147489353"/>
              <ac:spMk id="164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79828440" sldId="2147489353"/>
              <ac:spMk id="1644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022131398" sldId="2147489354"/>
          </pc:sldLayoutMkLst>
          <pc:spChg chg="mod">
            <ac:chgData name="Rebecca Hannah Ainis" userId="116137a0-2af5-436b-85e1-74d9d3b30f2f" providerId="ADAL" clId="{6E039243-4417-4220-A582-B1623E3F270F}" dt="2026-06-01T16:37:28.639" v="2809"/>
            <ac:spMkLst>
              <pc:docMk/>
              <pc:sldMasterMk cId="1288455799" sldId="2147487484"/>
              <pc:sldLayoutMk cId="2022131398" sldId="2147489354"/>
              <ac:spMk id="164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22131398" sldId="2147489354"/>
              <ac:spMk id="1645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878175148" sldId="2147489355"/>
          </pc:sldLayoutMkLst>
          <pc:spChg chg="mod">
            <ac:chgData name="Rebecca Hannah Ainis" userId="116137a0-2af5-436b-85e1-74d9d3b30f2f" providerId="ADAL" clId="{6E039243-4417-4220-A582-B1623E3F270F}" dt="2026-06-01T16:37:28.639" v="2809"/>
            <ac:spMkLst>
              <pc:docMk/>
              <pc:sldMasterMk cId="1288455799" sldId="2147487484"/>
              <pc:sldLayoutMk cId="2878175148" sldId="2147489355"/>
              <ac:spMk id="1646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200102342" sldId="2147489356"/>
          </pc:sldLayoutMkLst>
          <pc:spChg chg="mod">
            <ac:chgData name="Rebecca Hannah Ainis" userId="116137a0-2af5-436b-85e1-74d9d3b30f2f" providerId="ADAL" clId="{6E039243-4417-4220-A582-B1623E3F270F}" dt="2026-06-01T16:37:28.639" v="2809"/>
            <ac:spMkLst>
              <pc:docMk/>
              <pc:sldMasterMk cId="1288455799" sldId="2147487484"/>
              <pc:sldLayoutMk cId="1200102342" sldId="2147489356"/>
              <ac:spMk id="1646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00102342" sldId="2147489356"/>
              <ac:spMk id="1647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138510561" sldId="2147489357"/>
          </pc:sldLayoutMkLst>
          <pc:spChg chg="mod">
            <ac:chgData name="Rebecca Hannah Ainis" userId="116137a0-2af5-436b-85e1-74d9d3b30f2f" providerId="ADAL" clId="{6E039243-4417-4220-A582-B1623E3F270F}" dt="2026-06-01T16:37:28.639" v="2809"/>
            <ac:spMkLst>
              <pc:docMk/>
              <pc:sldMasterMk cId="1288455799" sldId="2147487484"/>
              <pc:sldLayoutMk cId="3138510561" sldId="2147489357"/>
              <ac:spMk id="164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38510561" sldId="2147489357"/>
              <ac:spMk id="1648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38510561" sldId="2147489357"/>
              <ac:spMk id="1648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38510561" sldId="2147489357"/>
              <ac:spMk id="1648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437546624" sldId="2147489358"/>
          </pc:sldLayoutMkLst>
          <pc:spChg chg="mod">
            <ac:chgData name="Rebecca Hannah Ainis" userId="116137a0-2af5-436b-85e1-74d9d3b30f2f" providerId="ADAL" clId="{6E039243-4417-4220-A582-B1623E3F270F}" dt="2026-06-01T16:37:28.639" v="2809"/>
            <ac:spMkLst>
              <pc:docMk/>
              <pc:sldMasterMk cId="1288455799" sldId="2147487484"/>
              <pc:sldLayoutMk cId="2437546624" sldId="2147489358"/>
              <ac:spMk id="164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7546624" sldId="2147489358"/>
              <ac:spMk id="164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7546624" sldId="2147489358"/>
              <ac:spMk id="164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7546624" sldId="2147489358"/>
              <ac:spMk id="1649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7546624" sldId="2147489358"/>
              <ac:spMk id="1649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616806033" sldId="2147489359"/>
          </pc:sldLayoutMkLst>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0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0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0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0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16806033" sldId="2147489359"/>
              <ac:spMk id="1651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98269246" sldId="2147489360"/>
          </pc:sldLayoutMkLst>
          <pc:spChg chg="mod">
            <ac:chgData name="Rebecca Hannah Ainis" userId="116137a0-2af5-436b-85e1-74d9d3b30f2f" providerId="ADAL" clId="{6E039243-4417-4220-A582-B1623E3F270F}" dt="2026-06-01T16:37:28.639" v="2809"/>
            <ac:spMkLst>
              <pc:docMk/>
              <pc:sldMasterMk cId="1288455799" sldId="2147487484"/>
              <pc:sldLayoutMk cId="2298269246" sldId="2147489360"/>
              <ac:spMk id="165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98269246" sldId="2147489360"/>
              <ac:spMk id="1651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98269246" sldId="2147489360"/>
              <ac:spMk id="1651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98269246" sldId="2147489360"/>
              <ac:spMk id="1651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06017226" sldId="2147489361"/>
          </pc:sldLayoutMkLst>
          <pc:spChg chg="mod">
            <ac:chgData name="Rebecca Hannah Ainis" userId="116137a0-2af5-436b-85e1-74d9d3b30f2f" providerId="ADAL" clId="{6E039243-4417-4220-A582-B1623E3F270F}" dt="2026-06-01T16:37:28.639" v="2809"/>
            <ac:spMkLst>
              <pc:docMk/>
              <pc:sldMasterMk cId="1288455799" sldId="2147487484"/>
              <pc:sldLayoutMk cId="1306017226" sldId="2147489361"/>
              <ac:spMk id="165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06017226" sldId="2147489361"/>
              <ac:spMk id="165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06017226" sldId="2147489361"/>
              <ac:spMk id="165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06017226" sldId="2147489361"/>
              <ac:spMk id="1653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9340097" sldId="2147489362"/>
          </pc:sldLayoutMkLst>
          <pc:spChg chg="mod">
            <ac:chgData name="Rebecca Hannah Ainis" userId="116137a0-2af5-436b-85e1-74d9d3b30f2f" providerId="ADAL" clId="{6E039243-4417-4220-A582-B1623E3F270F}" dt="2026-06-01T16:37:28.639" v="2809"/>
            <ac:spMkLst>
              <pc:docMk/>
              <pc:sldMasterMk cId="1288455799" sldId="2147487484"/>
              <pc:sldLayoutMk cId="379340097" sldId="2147489362"/>
              <ac:spMk id="165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9340097" sldId="2147489362"/>
              <ac:spMk id="1654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756824899" sldId="2147489363"/>
          </pc:sldLayoutMkLst>
          <pc:spChg chg="mod">
            <ac:chgData name="Rebecca Hannah Ainis" userId="116137a0-2af5-436b-85e1-74d9d3b30f2f" providerId="ADAL" clId="{6E039243-4417-4220-A582-B1623E3F270F}" dt="2026-06-01T16:37:28.639" v="2809"/>
            <ac:spMkLst>
              <pc:docMk/>
              <pc:sldMasterMk cId="1288455799" sldId="2147487484"/>
              <pc:sldLayoutMk cId="756824899" sldId="2147489363"/>
              <ac:spMk id="165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56824899" sldId="2147489363"/>
              <ac:spMk id="165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56824899" sldId="2147489363"/>
              <ac:spMk id="1655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290130969" sldId="2147489364"/>
          </pc:sldLayoutMkLst>
          <pc:spChg chg="mod">
            <ac:chgData name="Rebecca Hannah Ainis" userId="116137a0-2af5-436b-85e1-74d9d3b30f2f" providerId="ADAL" clId="{6E039243-4417-4220-A582-B1623E3F270F}" dt="2026-06-01T16:37:28.639" v="2809"/>
            <ac:spMkLst>
              <pc:docMk/>
              <pc:sldMasterMk cId="1288455799" sldId="2147487484"/>
              <pc:sldLayoutMk cId="4290130969" sldId="2147489364"/>
              <ac:spMk id="1656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90130969" sldId="2147489364"/>
              <ac:spMk id="1656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709171898" sldId="2147489365"/>
          </pc:sldLayoutMkLst>
          <pc:spChg chg="mod">
            <ac:chgData name="Rebecca Hannah Ainis" userId="116137a0-2af5-436b-85e1-74d9d3b30f2f" providerId="ADAL" clId="{6E039243-4417-4220-A582-B1623E3F270F}" dt="2026-06-01T16:37:28.639" v="2809"/>
            <ac:spMkLst>
              <pc:docMk/>
              <pc:sldMasterMk cId="1288455799" sldId="2147487484"/>
              <pc:sldLayoutMk cId="1709171898" sldId="2147489365"/>
              <ac:spMk id="165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09171898" sldId="2147489365"/>
              <ac:spMk id="1656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63777577" sldId="2147489366"/>
          </pc:sldLayoutMkLst>
          <pc:spChg chg="mod">
            <ac:chgData name="Rebecca Hannah Ainis" userId="116137a0-2af5-436b-85e1-74d9d3b30f2f" providerId="ADAL" clId="{6E039243-4417-4220-A582-B1623E3F270F}" dt="2026-06-01T16:37:28.639" v="2809"/>
            <ac:spMkLst>
              <pc:docMk/>
              <pc:sldMasterMk cId="1288455799" sldId="2147487484"/>
              <pc:sldLayoutMk cId="1363777577" sldId="2147489366"/>
              <ac:spMk id="165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63777577" sldId="2147489366"/>
              <ac:spMk id="165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63777577" sldId="2147489366"/>
              <ac:spMk id="1657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63777577" sldId="2147489366"/>
              <ac:spMk id="1657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971956210" sldId="2147489367"/>
          </pc:sldLayoutMkLst>
          <pc:spChg chg="mod">
            <ac:chgData name="Rebecca Hannah Ainis" userId="116137a0-2af5-436b-85e1-74d9d3b30f2f" providerId="ADAL" clId="{6E039243-4417-4220-A582-B1623E3F270F}" dt="2026-06-01T16:37:28.639" v="2809"/>
            <ac:spMkLst>
              <pc:docMk/>
              <pc:sldMasterMk cId="1288455799" sldId="2147487484"/>
              <pc:sldLayoutMk cId="1971956210" sldId="2147489367"/>
              <ac:spMk id="165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71956210" sldId="2147489367"/>
              <ac:spMk id="165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71956210" sldId="2147489367"/>
              <ac:spMk id="165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71956210" sldId="2147489367"/>
              <ac:spMk id="1659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61520499" sldId="2147489368"/>
          </pc:sldLayoutMkLst>
          <pc:spChg chg="mod">
            <ac:chgData name="Rebecca Hannah Ainis" userId="116137a0-2af5-436b-85e1-74d9d3b30f2f" providerId="ADAL" clId="{6E039243-4417-4220-A582-B1623E3F270F}" dt="2026-06-01T16:37:28.639" v="2809"/>
            <ac:spMkLst>
              <pc:docMk/>
              <pc:sldMasterMk cId="1288455799" sldId="2147487484"/>
              <pc:sldLayoutMk cId="361520499" sldId="2147489368"/>
              <ac:spMk id="166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1520499" sldId="2147489368"/>
              <ac:spMk id="1660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764705671" sldId="2147489369"/>
          </pc:sldLayoutMkLst>
          <pc:spChg chg="mod">
            <ac:chgData name="Rebecca Hannah Ainis" userId="116137a0-2af5-436b-85e1-74d9d3b30f2f" providerId="ADAL" clId="{6E039243-4417-4220-A582-B1623E3F270F}" dt="2026-06-01T16:37:28.639" v="2809"/>
            <ac:spMkLst>
              <pc:docMk/>
              <pc:sldMasterMk cId="1288455799" sldId="2147487484"/>
              <pc:sldLayoutMk cId="1764705671" sldId="2147489369"/>
              <ac:spMk id="166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64705671" sldId="2147489369"/>
              <ac:spMk id="1661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066021309" sldId="2147489370"/>
          </pc:sldLayoutMkLst>
          <pc:spChg chg="mod">
            <ac:chgData name="Rebecca Hannah Ainis" userId="116137a0-2af5-436b-85e1-74d9d3b30f2f" providerId="ADAL" clId="{6E039243-4417-4220-A582-B1623E3F270F}" dt="2026-06-01T16:37:28.639" v="2809"/>
            <ac:spMkLst>
              <pc:docMk/>
              <pc:sldMasterMk cId="1288455799" sldId="2147487484"/>
              <pc:sldLayoutMk cId="4066021309" sldId="2147489370"/>
              <ac:spMk id="1661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520731453" sldId="2147489371"/>
          </pc:sldLayoutMkLst>
          <pc:spChg chg="mod">
            <ac:chgData name="Rebecca Hannah Ainis" userId="116137a0-2af5-436b-85e1-74d9d3b30f2f" providerId="ADAL" clId="{6E039243-4417-4220-A582-B1623E3F270F}" dt="2026-06-01T16:37:28.639" v="2809"/>
            <ac:spMkLst>
              <pc:docMk/>
              <pc:sldMasterMk cId="1288455799" sldId="2147487484"/>
              <pc:sldLayoutMk cId="2520731453" sldId="2147489371"/>
              <ac:spMk id="166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20731453" sldId="2147489371"/>
              <ac:spMk id="166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20731453" sldId="2147489371"/>
              <ac:spMk id="1662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20731453" sldId="2147489371"/>
              <ac:spMk id="1662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526012076" sldId="2147489372"/>
          </pc:sldLayoutMkLst>
          <pc:spChg chg="mod">
            <ac:chgData name="Rebecca Hannah Ainis" userId="116137a0-2af5-436b-85e1-74d9d3b30f2f" providerId="ADAL" clId="{6E039243-4417-4220-A582-B1623E3F270F}" dt="2026-06-01T16:37:28.639" v="2809"/>
            <ac:spMkLst>
              <pc:docMk/>
              <pc:sldMasterMk cId="1288455799" sldId="2147487484"/>
              <pc:sldLayoutMk cId="1526012076" sldId="2147489372"/>
              <ac:spMk id="166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26012076" sldId="2147489372"/>
              <ac:spMk id="166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26012076" sldId="2147489372"/>
              <ac:spMk id="1663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26012076" sldId="2147489372"/>
              <ac:spMk id="1664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438992603" sldId="2147489373"/>
          </pc:sldLayoutMkLst>
          <pc:spChg chg="mod">
            <ac:chgData name="Rebecca Hannah Ainis" userId="116137a0-2af5-436b-85e1-74d9d3b30f2f" providerId="ADAL" clId="{6E039243-4417-4220-A582-B1623E3F270F}" dt="2026-06-01T16:37:28.639" v="2809"/>
            <ac:spMkLst>
              <pc:docMk/>
              <pc:sldMasterMk cId="1288455799" sldId="2147487484"/>
              <pc:sldLayoutMk cId="2438992603" sldId="2147489373"/>
              <ac:spMk id="1665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8992603" sldId="2147489373"/>
              <ac:spMk id="166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8992603" sldId="2147489373"/>
              <ac:spMk id="166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8992603" sldId="2147489373"/>
              <ac:spMk id="1665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518393194" sldId="2147489374"/>
          </pc:sldLayoutMkLst>
          <pc:spChg chg="mod">
            <ac:chgData name="Rebecca Hannah Ainis" userId="116137a0-2af5-436b-85e1-74d9d3b30f2f" providerId="ADAL" clId="{6E039243-4417-4220-A582-B1623E3F270F}" dt="2026-06-01T16:37:28.639" v="2809"/>
            <ac:spMkLst>
              <pc:docMk/>
              <pc:sldMasterMk cId="1288455799" sldId="2147487484"/>
              <pc:sldLayoutMk cId="2518393194" sldId="2147489374"/>
              <ac:spMk id="1666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18393194" sldId="2147489374"/>
              <ac:spMk id="166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18393194" sldId="2147489374"/>
              <ac:spMk id="166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18393194" sldId="2147489374"/>
              <ac:spMk id="1666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61243565" sldId="2147489375"/>
          </pc:sldLayoutMkLst>
          <pc:spChg chg="mod">
            <ac:chgData name="Rebecca Hannah Ainis" userId="116137a0-2af5-436b-85e1-74d9d3b30f2f" providerId="ADAL" clId="{6E039243-4417-4220-A582-B1623E3F270F}" dt="2026-06-01T16:37:28.639" v="2809"/>
            <ac:spMkLst>
              <pc:docMk/>
              <pc:sldMasterMk cId="1288455799" sldId="2147487484"/>
              <pc:sldLayoutMk cId="1461243565" sldId="2147489375"/>
              <ac:spMk id="166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1243565" sldId="2147489375"/>
              <ac:spMk id="166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1243565" sldId="2147489375"/>
              <ac:spMk id="1668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1243565" sldId="2147489375"/>
              <ac:spMk id="1668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268693270" sldId="2147489376"/>
          </pc:sldLayoutMkLst>
          <pc:spChg chg="mod">
            <ac:chgData name="Rebecca Hannah Ainis" userId="116137a0-2af5-436b-85e1-74d9d3b30f2f" providerId="ADAL" clId="{6E039243-4417-4220-A582-B1623E3F270F}" dt="2026-06-01T16:37:28.639" v="2809"/>
            <ac:spMkLst>
              <pc:docMk/>
              <pc:sldMasterMk cId="1288455799" sldId="2147487484"/>
              <pc:sldLayoutMk cId="4268693270" sldId="2147489376"/>
              <ac:spMk id="166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68693270" sldId="2147489376"/>
              <ac:spMk id="166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68693270" sldId="2147489376"/>
              <ac:spMk id="166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68693270" sldId="2147489376"/>
              <ac:spMk id="166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68693270" sldId="2147489376"/>
              <ac:spMk id="1669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207503059" sldId="2147489377"/>
          </pc:sldLayoutMkLst>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0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0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0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07503059" sldId="2147489377"/>
              <ac:spMk id="1671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15521299" sldId="2147489378"/>
          </pc:sldLayoutMkLst>
          <pc:spChg chg="mod">
            <ac:chgData name="Rebecca Hannah Ainis" userId="116137a0-2af5-436b-85e1-74d9d3b30f2f" providerId="ADAL" clId="{6E039243-4417-4220-A582-B1623E3F270F}" dt="2026-06-01T16:37:28.639" v="2809"/>
            <ac:spMkLst>
              <pc:docMk/>
              <pc:sldMasterMk cId="1288455799" sldId="2147487484"/>
              <pc:sldLayoutMk cId="215521299" sldId="2147489378"/>
              <ac:spMk id="1671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5521299" sldId="2147489378"/>
              <ac:spMk id="167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5521299" sldId="2147489378"/>
              <ac:spMk id="1672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008982861" sldId="2147489379"/>
          </pc:sldLayoutMkLst>
          <pc:spChg chg="mod">
            <ac:chgData name="Rebecca Hannah Ainis" userId="116137a0-2af5-436b-85e1-74d9d3b30f2f" providerId="ADAL" clId="{6E039243-4417-4220-A582-B1623E3F270F}" dt="2026-06-01T16:37:28.639" v="2809"/>
            <ac:spMkLst>
              <pc:docMk/>
              <pc:sldMasterMk cId="1288455799" sldId="2147487484"/>
              <pc:sldLayoutMk cId="2008982861" sldId="2147489379"/>
              <ac:spMk id="1672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08982861" sldId="2147489379"/>
              <ac:spMk id="1672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673312126" sldId="2147489380"/>
          </pc:sldLayoutMkLst>
          <pc:spChg chg="mod">
            <ac:chgData name="Rebecca Hannah Ainis" userId="116137a0-2af5-436b-85e1-74d9d3b30f2f" providerId="ADAL" clId="{6E039243-4417-4220-A582-B1623E3F270F}" dt="2026-06-01T16:37:28.639" v="2809"/>
            <ac:spMkLst>
              <pc:docMk/>
              <pc:sldMasterMk cId="1288455799" sldId="2147487484"/>
              <pc:sldLayoutMk cId="3673312126" sldId="2147489380"/>
              <ac:spMk id="167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73312126" sldId="2147489380"/>
              <ac:spMk id="1673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97928067" sldId="2147489381"/>
          </pc:sldLayoutMkLst>
          <pc:spChg chg="mod">
            <ac:chgData name="Rebecca Hannah Ainis" userId="116137a0-2af5-436b-85e1-74d9d3b30f2f" providerId="ADAL" clId="{6E039243-4417-4220-A582-B1623E3F270F}" dt="2026-06-01T16:37:28.639" v="2809"/>
            <ac:spMkLst>
              <pc:docMk/>
              <pc:sldMasterMk cId="1288455799" sldId="2147487484"/>
              <pc:sldLayoutMk cId="297928067" sldId="2147489381"/>
              <ac:spMk id="1674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7928067" sldId="2147489381"/>
              <ac:spMk id="1674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609725048" sldId="2147489382"/>
          </pc:sldLayoutMkLst>
          <pc:spChg chg="mod">
            <ac:chgData name="Rebecca Hannah Ainis" userId="116137a0-2af5-436b-85e1-74d9d3b30f2f" providerId="ADAL" clId="{6E039243-4417-4220-A582-B1623E3F270F}" dt="2026-06-01T16:37:28.639" v="2809"/>
            <ac:spMkLst>
              <pc:docMk/>
              <pc:sldMasterMk cId="1288455799" sldId="2147487484"/>
              <pc:sldLayoutMk cId="1609725048" sldId="2147489382"/>
              <ac:spMk id="167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09725048" sldId="2147489382"/>
              <ac:spMk id="1675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352890735" sldId="2147489383"/>
          </pc:sldLayoutMkLst>
          <pc:spChg chg="mod">
            <ac:chgData name="Rebecca Hannah Ainis" userId="116137a0-2af5-436b-85e1-74d9d3b30f2f" providerId="ADAL" clId="{6E039243-4417-4220-A582-B1623E3F270F}" dt="2026-06-01T16:37:28.639" v="2809"/>
            <ac:spMkLst>
              <pc:docMk/>
              <pc:sldMasterMk cId="1288455799" sldId="2147487484"/>
              <pc:sldLayoutMk cId="3352890735" sldId="2147489383"/>
              <ac:spMk id="1675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52890735" sldId="2147489383"/>
              <ac:spMk id="167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52890735" sldId="2147489383"/>
              <ac:spMk id="167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52890735" sldId="2147489383"/>
              <ac:spMk id="1676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302119328" sldId="2147489384"/>
          </pc:sldLayoutMkLst>
          <pc:spChg chg="mod">
            <ac:chgData name="Rebecca Hannah Ainis" userId="116137a0-2af5-436b-85e1-74d9d3b30f2f" providerId="ADAL" clId="{6E039243-4417-4220-A582-B1623E3F270F}" dt="2026-06-01T16:37:28.639" v="2809"/>
            <ac:spMkLst>
              <pc:docMk/>
              <pc:sldMasterMk cId="1288455799" sldId="2147487484"/>
              <pc:sldLayoutMk cId="2302119328" sldId="2147489384"/>
              <ac:spMk id="1676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02119328" sldId="2147489384"/>
              <ac:spMk id="1677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02119328" sldId="2147489384"/>
              <ac:spMk id="1677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02119328" sldId="2147489384"/>
              <ac:spMk id="1677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63988859" sldId="2147489385"/>
          </pc:sldLayoutMkLst>
          <pc:spChg chg="mod">
            <ac:chgData name="Rebecca Hannah Ainis" userId="116137a0-2af5-436b-85e1-74d9d3b30f2f" providerId="ADAL" clId="{6E039243-4417-4220-A582-B1623E3F270F}" dt="2026-06-01T16:37:28.639" v="2809"/>
            <ac:spMkLst>
              <pc:docMk/>
              <pc:sldMasterMk cId="1288455799" sldId="2147487484"/>
              <pc:sldLayoutMk cId="1463988859" sldId="2147489385"/>
              <ac:spMk id="167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3988859" sldId="2147489385"/>
              <ac:spMk id="167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3988859" sldId="2147489385"/>
              <ac:spMk id="167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3988859" sldId="2147489385"/>
              <ac:spMk id="1679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248353229" sldId="2147489386"/>
          </pc:sldLayoutMkLst>
          <pc:spChg chg="mod">
            <ac:chgData name="Rebecca Hannah Ainis" userId="116137a0-2af5-436b-85e1-74d9d3b30f2f" providerId="ADAL" clId="{6E039243-4417-4220-A582-B1623E3F270F}" dt="2026-06-01T16:37:28.639" v="2809"/>
            <ac:spMkLst>
              <pc:docMk/>
              <pc:sldMasterMk cId="1288455799" sldId="2147487484"/>
              <pc:sldLayoutMk cId="3248353229" sldId="2147489386"/>
              <ac:spMk id="167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48353229" sldId="2147489386"/>
              <ac:spMk id="167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48353229" sldId="2147489386"/>
              <ac:spMk id="167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48353229" sldId="2147489386"/>
              <ac:spMk id="168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48353229" sldId="2147489386"/>
              <ac:spMk id="1680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416054574" sldId="2147489387"/>
          </pc:sldLayoutMkLst>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0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1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16054574" sldId="2147489387"/>
              <ac:spMk id="1681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34439546" sldId="2147489388"/>
          </pc:sldLayoutMkLst>
          <pc:spChg chg="mod">
            <ac:chgData name="Rebecca Hannah Ainis" userId="116137a0-2af5-436b-85e1-74d9d3b30f2f" providerId="ADAL" clId="{6E039243-4417-4220-A582-B1623E3F270F}" dt="2026-06-01T16:37:28.639" v="2809"/>
            <ac:spMkLst>
              <pc:docMk/>
              <pc:sldMasterMk cId="1288455799" sldId="2147487484"/>
              <pc:sldLayoutMk cId="1434439546" sldId="2147489388"/>
              <ac:spMk id="1681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19103182" sldId="2147489389"/>
          </pc:sldLayoutMkLst>
          <pc:spChg chg="mod">
            <ac:chgData name="Rebecca Hannah Ainis" userId="116137a0-2af5-436b-85e1-74d9d3b30f2f" providerId="ADAL" clId="{6E039243-4417-4220-A582-B1623E3F270F}" dt="2026-06-01T16:37:28.639" v="2809"/>
            <ac:spMkLst>
              <pc:docMk/>
              <pc:sldMasterMk cId="1288455799" sldId="2147487484"/>
              <pc:sldLayoutMk cId="919103182" sldId="2147489389"/>
              <ac:spMk id="168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19103182" sldId="2147489389"/>
              <ac:spMk id="1683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53057908" sldId="2147489390"/>
          </pc:sldLayoutMkLst>
          <pc:spChg chg="mod">
            <ac:chgData name="Rebecca Hannah Ainis" userId="116137a0-2af5-436b-85e1-74d9d3b30f2f" providerId="ADAL" clId="{6E039243-4417-4220-A582-B1623E3F270F}" dt="2026-06-01T16:37:28.639" v="2809"/>
            <ac:spMkLst>
              <pc:docMk/>
              <pc:sldMasterMk cId="1288455799" sldId="2147487484"/>
              <pc:sldLayoutMk cId="253057908" sldId="2147489390"/>
              <ac:spMk id="168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3057908" sldId="2147489390"/>
              <ac:spMk id="1683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170088376" sldId="2147489391"/>
          </pc:sldLayoutMkLst>
          <pc:spChg chg="mod">
            <ac:chgData name="Rebecca Hannah Ainis" userId="116137a0-2af5-436b-85e1-74d9d3b30f2f" providerId="ADAL" clId="{6E039243-4417-4220-A582-B1623E3F270F}" dt="2026-06-01T16:37:28.639" v="2809"/>
            <ac:spMkLst>
              <pc:docMk/>
              <pc:sldMasterMk cId="1288455799" sldId="2147487484"/>
              <pc:sldLayoutMk cId="1170088376" sldId="2147489391"/>
              <ac:spMk id="1684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70088376" sldId="2147489391"/>
              <ac:spMk id="1684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70088376" sldId="2147489391"/>
              <ac:spMk id="1685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608892534" sldId="2147489392"/>
          </pc:sldLayoutMkLst>
          <pc:spChg chg="mod">
            <ac:chgData name="Rebecca Hannah Ainis" userId="116137a0-2af5-436b-85e1-74d9d3b30f2f" providerId="ADAL" clId="{6E039243-4417-4220-A582-B1623E3F270F}" dt="2026-06-01T16:37:28.639" v="2809"/>
            <ac:spMkLst>
              <pc:docMk/>
              <pc:sldMasterMk cId="1288455799" sldId="2147487484"/>
              <pc:sldLayoutMk cId="2608892534" sldId="2147489392"/>
              <ac:spMk id="168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08892534" sldId="2147489392"/>
              <ac:spMk id="1685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803417577" sldId="2147489393"/>
          </pc:sldLayoutMkLst>
          <pc:spChg chg="mod">
            <ac:chgData name="Rebecca Hannah Ainis" userId="116137a0-2af5-436b-85e1-74d9d3b30f2f" providerId="ADAL" clId="{6E039243-4417-4220-A582-B1623E3F270F}" dt="2026-06-01T16:37:28.639" v="2809"/>
            <ac:spMkLst>
              <pc:docMk/>
              <pc:sldMasterMk cId="1288455799" sldId="2147487484"/>
              <pc:sldLayoutMk cId="1803417577" sldId="2147489393"/>
              <ac:spMk id="1686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03417577" sldId="2147489393"/>
              <ac:spMk id="1686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03417577" sldId="2147489393"/>
              <ac:spMk id="1686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03417577" sldId="2147489393"/>
              <ac:spMk id="1686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60217900" sldId="2147489394"/>
          </pc:sldLayoutMkLst>
          <pc:spChg chg="mod">
            <ac:chgData name="Rebecca Hannah Ainis" userId="116137a0-2af5-436b-85e1-74d9d3b30f2f" providerId="ADAL" clId="{6E039243-4417-4220-A582-B1623E3F270F}" dt="2026-06-01T16:37:28.639" v="2809"/>
            <ac:spMkLst>
              <pc:docMk/>
              <pc:sldMasterMk cId="1288455799" sldId="2147487484"/>
              <pc:sldLayoutMk cId="360217900" sldId="2147489394"/>
              <ac:spMk id="1687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0217900" sldId="2147489394"/>
              <ac:spMk id="1687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0217900" sldId="2147489394"/>
              <ac:spMk id="168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0217900" sldId="2147489394"/>
              <ac:spMk id="1687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73965975" sldId="2147489395"/>
          </pc:sldLayoutMkLst>
          <pc:spChg chg="mod">
            <ac:chgData name="Rebecca Hannah Ainis" userId="116137a0-2af5-436b-85e1-74d9d3b30f2f" providerId="ADAL" clId="{6E039243-4417-4220-A582-B1623E3F270F}" dt="2026-06-01T16:37:28.639" v="2809"/>
            <ac:spMkLst>
              <pc:docMk/>
              <pc:sldMasterMk cId="1288455799" sldId="2147487484"/>
              <pc:sldLayoutMk cId="3973965975" sldId="2147489395"/>
              <ac:spMk id="168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73965975" sldId="2147489395"/>
              <ac:spMk id="168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73965975" sldId="2147489395"/>
              <ac:spMk id="168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73965975" sldId="2147489395"/>
              <ac:spMk id="1689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373233308" sldId="2147489396"/>
          </pc:sldLayoutMkLst>
          <pc:spChg chg="mod">
            <ac:chgData name="Rebecca Hannah Ainis" userId="116137a0-2af5-436b-85e1-74d9d3b30f2f" providerId="ADAL" clId="{6E039243-4417-4220-A582-B1623E3F270F}" dt="2026-06-01T16:37:28.639" v="2809"/>
            <ac:spMkLst>
              <pc:docMk/>
              <pc:sldMasterMk cId="1288455799" sldId="2147487484"/>
              <pc:sldLayoutMk cId="3373233308" sldId="2147489396"/>
              <ac:spMk id="168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73233308" sldId="2147489396"/>
              <ac:spMk id="169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73233308" sldId="2147489396"/>
              <ac:spMk id="169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73233308" sldId="2147489396"/>
              <ac:spMk id="1690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48138784" sldId="2147489397"/>
          </pc:sldLayoutMkLst>
          <pc:spChg chg="mod">
            <ac:chgData name="Rebecca Hannah Ainis" userId="116137a0-2af5-436b-85e1-74d9d3b30f2f" providerId="ADAL" clId="{6E039243-4417-4220-A582-B1623E3F270F}" dt="2026-06-01T16:37:28.639" v="2809"/>
            <ac:spMkLst>
              <pc:docMk/>
              <pc:sldMasterMk cId="1288455799" sldId="2147487484"/>
              <pc:sldLayoutMk cId="2148138784" sldId="2147489397"/>
              <ac:spMk id="169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48138784" sldId="2147489397"/>
              <ac:spMk id="169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48138784" sldId="2147489397"/>
              <ac:spMk id="169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48138784" sldId="2147489397"/>
              <ac:spMk id="1691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673506697" sldId="2147489398"/>
          </pc:sldLayoutMkLst>
          <pc:spChg chg="mod">
            <ac:chgData name="Rebecca Hannah Ainis" userId="116137a0-2af5-436b-85e1-74d9d3b30f2f" providerId="ADAL" clId="{6E039243-4417-4220-A582-B1623E3F270F}" dt="2026-06-01T16:37:28.639" v="2809"/>
            <ac:spMkLst>
              <pc:docMk/>
              <pc:sldMasterMk cId="1288455799" sldId="2147487484"/>
              <pc:sldLayoutMk cId="1673506697" sldId="2147489398"/>
              <ac:spMk id="169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73506697" sldId="2147489398"/>
              <ac:spMk id="1692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73506697" sldId="2147489398"/>
              <ac:spMk id="169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73506697" sldId="2147489398"/>
              <ac:spMk id="1692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519736439" sldId="2147489399"/>
          </pc:sldLayoutMkLst>
          <pc:spChg chg="mod">
            <ac:chgData name="Rebecca Hannah Ainis" userId="116137a0-2af5-436b-85e1-74d9d3b30f2f" providerId="ADAL" clId="{6E039243-4417-4220-A582-B1623E3F270F}" dt="2026-06-01T16:37:28.639" v="2809"/>
            <ac:spMkLst>
              <pc:docMk/>
              <pc:sldMasterMk cId="1288455799" sldId="2147487484"/>
              <pc:sldLayoutMk cId="519736439" sldId="2147489399"/>
              <ac:spMk id="169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19736439" sldId="2147489399"/>
              <ac:spMk id="169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19736439" sldId="2147489399"/>
              <ac:spMk id="1694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19736439" sldId="2147489399"/>
              <ac:spMk id="169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19736439" sldId="2147489399"/>
              <ac:spMk id="1694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517825594" sldId="2147489400"/>
          </pc:sldLayoutMkLst>
          <pc:spChg chg="mod">
            <ac:chgData name="Rebecca Hannah Ainis" userId="116137a0-2af5-436b-85e1-74d9d3b30f2f" providerId="ADAL" clId="{6E039243-4417-4220-A582-B1623E3F270F}" dt="2026-06-01T16:37:28.639" v="2809"/>
            <ac:spMkLst>
              <pc:docMk/>
              <pc:sldMasterMk cId="1288455799" sldId="2147487484"/>
              <pc:sldLayoutMk cId="3517825594" sldId="2147489400"/>
              <ac:spMk id="1695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17825594" sldId="2147489400"/>
              <ac:spMk id="169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17825594" sldId="2147489400"/>
              <ac:spMk id="169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17825594" sldId="2147489400"/>
              <ac:spMk id="1695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50771353" sldId="2147489401"/>
          </pc:sldLayoutMkLst>
          <pc:spChg chg="mod">
            <ac:chgData name="Rebecca Hannah Ainis" userId="116137a0-2af5-436b-85e1-74d9d3b30f2f" providerId="ADAL" clId="{6E039243-4417-4220-A582-B1623E3F270F}" dt="2026-06-01T16:37:28.639" v="2809"/>
            <ac:spMkLst>
              <pc:docMk/>
              <pc:sldMasterMk cId="1288455799" sldId="2147487484"/>
              <pc:sldLayoutMk cId="3050771353" sldId="2147489401"/>
              <ac:spMk id="1696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50771353" sldId="2147489401"/>
              <ac:spMk id="169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50771353" sldId="2147489401"/>
              <ac:spMk id="169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50771353" sldId="2147489401"/>
              <ac:spMk id="1696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48808116" sldId="2147489402"/>
          </pc:sldLayoutMkLst>
          <pc:spChg chg="mod">
            <ac:chgData name="Rebecca Hannah Ainis" userId="116137a0-2af5-436b-85e1-74d9d3b30f2f" providerId="ADAL" clId="{6E039243-4417-4220-A582-B1623E3F270F}" dt="2026-06-01T16:37:28.639" v="2809"/>
            <ac:spMkLst>
              <pc:docMk/>
              <pc:sldMasterMk cId="1288455799" sldId="2147487484"/>
              <pc:sldLayoutMk cId="448808116" sldId="2147489402"/>
              <ac:spMk id="169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48808116" sldId="2147489402"/>
              <ac:spMk id="1697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229481185" sldId="2147489403"/>
          </pc:sldLayoutMkLst>
          <pc:spChg chg="mod">
            <ac:chgData name="Rebecca Hannah Ainis" userId="116137a0-2af5-436b-85e1-74d9d3b30f2f" providerId="ADAL" clId="{6E039243-4417-4220-A582-B1623E3F270F}" dt="2026-06-01T16:37:28.639" v="2809"/>
            <ac:spMkLst>
              <pc:docMk/>
              <pc:sldMasterMk cId="1288455799" sldId="2147487484"/>
              <pc:sldLayoutMk cId="2229481185" sldId="2147489403"/>
              <ac:spMk id="169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29481185" sldId="2147489403"/>
              <ac:spMk id="1698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805888763" sldId="2147489404"/>
          </pc:sldLayoutMkLst>
          <pc:spChg chg="mod">
            <ac:chgData name="Rebecca Hannah Ainis" userId="116137a0-2af5-436b-85e1-74d9d3b30f2f" providerId="ADAL" clId="{6E039243-4417-4220-A582-B1623E3F270F}" dt="2026-06-01T16:37:28.639" v="2809"/>
            <ac:spMkLst>
              <pc:docMk/>
              <pc:sldMasterMk cId="1288455799" sldId="2147487484"/>
              <pc:sldLayoutMk cId="3805888763" sldId="2147489404"/>
              <ac:spMk id="1699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770947078" sldId="2147489405"/>
          </pc:sldLayoutMkLst>
          <pc:spChg chg="mod">
            <ac:chgData name="Rebecca Hannah Ainis" userId="116137a0-2af5-436b-85e1-74d9d3b30f2f" providerId="ADAL" clId="{6E039243-4417-4220-A582-B1623E3F270F}" dt="2026-06-01T16:37:28.639" v="2809"/>
            <ac:spMkLst>
              <pc:docMk/>
              <pc:sldMasterMk cId="1288455799" sldId="2147487484"/>
              <pc:sldLayoutMk cId="770947078" sldId="2147489405"/>
              <ac:spMk id="169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70947078" sldId="2147489405"/>
              <ac:spMk id="170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70947078" sldId="2147489405"/>
              <ac:spMk id="170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70947078" sldId="2147489405"/>
              <ac:spMk id="1700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261717458" sldId="2147489406"/>
          </pc:sldLayoutMkLst>
          <pc:spChg chg="mod">
            <ac:chgData name="Rebecca Hannah Ainis" userId="116137a0-2af5-436b-85e1-74d9d3b30f2f" providerId="ADAL" clId="{6E039243-4417-4220-A582-B1623E3F270F}" dt="2026-06-01T16:37:28.639" v="2809"/>
            <ac:spMkLst>
              <pc:docMk/>
              <pc:sldMasterMk cId="1288455799" sldId="2147487484"/>
              <pc:sldLayoutMk cId="1261717458" sldId="2147489406"/>
              <ac:spMk id="170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61717458" sldId="2147489406"/>
              <ac:spMk id="170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61717458" sldId="2147489406"/>
              <ac:spMk id="170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61717458" sldId="2147489406"/>
              <ac:spMk id="1701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46557533" sldId="2147489407"/>
          </pc:sldLayoutMkLst>
          <pc:spChg chg="mod">
            <ac:chgData name="Rebecca Hannah Ainis" userId="116137a0-2af5-436b-85e1-74d9d3b30f2f" providerId="ADAL" clId="{6E039243-4417-4220-A582-B1623E3F270F}" dt="2026-06-01T16:37:28.639" v="2809"/>
            <ac:spMkLst>
              <pc:docMk/>
              <pc:sldMasterMk cId="1288455799" sldId="2147487484"/>
              <pc:sldLayoutMk cId="3746557533" sldId="2147489407"/>
              <ac:spMk id="170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46557533" sldId="2147489407"/>
              <ac:spMk id="170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46557533" sldId="2147489407"/>
              <ac:spMk id="170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46557533" sldId="2147489407"/>
              <ac:spMk id="1703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33755410" sldId="2147489408"/>
          </pc:sldLayoutMkLst>
          <pc:spChg chg="mod">
            <ac:chgData name="Rebecca Hannah Ainis" userId="116137a0-2af5-436b-85e1-74d9d3b30f2f" providerId="ADAL" clId="{6E039243-4417-4220-A582-B1623E3F270F}" dt="2026-06-01T16:37:28.639" v="2809"/>
            <ac:spMkLst>
              <pc:docMk/>
              <pc:sldMasterMk cId="1288455799" sldId="2147487484"/>
              <pc:sldLayoutMk cId="3033755410" sldId="2147489408"/>
              <ac:spMk id="170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33755410" sldId="2147489408"/>
              <ac:spMk id="170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33755410" sldId="2147489408"/>
              <ac:spMk id="1704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33755410" sldId="2147489408"/>
              <ac:spMk id="170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33755410" sldId="2147489408"/>
              <ac:spMk id="1704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662079487" sldId="2147489409"/>
          </pc:sldLayoutMkLst>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62079487" sldId="2147489409"/>
              <ac:spMk id="1705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546591827" sldId="2147489410"/>
          </pc:sldLayoutMkLst>
          <pc:spChg chg="mod">
            <ac:chgData name="Rebecca Hannah Ainis" userId="116137a0-2af5-436b-85e1-74d9d3b30f2f" providerId="ADAL" clId="{6E039243-4417-4220-A582-B1623E3F270F}" dt="2026-06-01T16:37:28.639" v="2809"/>
            <ac:spMkLst>
              <pc:docMk/>
              <pc:sldMasterMk cId="1288455799" sldId="2147487484"/>
              <pc:sldLayoutMk cId="1546591827" sldId="2147489410"/>
              <ac:spMk id="170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46591827" sldId="2147489410"/>
              <ac:spMk id="170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46591827" sldId="2147489410"/>
              <ac:spMk id="1706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07245709" sldId="2147489411"/>
          </pc:sldLayoutMkLst>
          <pc:spChg chg="mod">
            <ac:chgData name="Rebecca Hannah Ainis" userId="116137a0-2af5-436b-85e1-74d9d3b30f2f" providerId="ADAL" clId="{6E039243-4417-4220-A582-B1623E3F270F}" dt="2026-06-01T16:37:28.639" v="2809"/>
            <ac:spMkLst>
              <pc:docMk/>
              <pc:sldMasterMk cId="1288455799" sldId="2147487484"/>
              <pc:sldLayoutMk cId="2107245709" sldId="2147489411"/>
              <ac:spMk id="170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07245709" sldId="2147489411"/>
              <ac:spMk id="1707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055263250" sldId="2147489412"/>
          </pc:sldLayoutMkLst>
          <pc:spChg chg="mod">
            <ac:chgData name="Rebecca Hannah Ainis" userId="116137a0-2af5-436b-85e1-74d9d3b30f2f" providerId="ADAL" clId="{6E039243-4417-4220-A582-B1623E3F270F}" dt="2026-06-01T16:37:28.639" v="2809"/>
            <ac:spMkLst>
              <pc:docMk/>
              <pc:sldMasterMk cId="1288455799" sldId="2147487484"/>
              <pc:sldLayoutMk cId="2055263250" sldId="2147489412"/>
              <ac:spMk id="170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55263250" sldId="2147489412"/>
              <ac:spMk id="1708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151690135" sldId="2147489413"/>
          </pc:sldLayoutMkLst>
          <pc:spChg chg="mod">
            <ac:chgData name="Rebecca Hannah Ainis" userId="116137a0-2af5-436b-85e1-74d9d3b30f2f" providerId="ADAL" clId="{6E039243-4417-4220-A582-B1623E3F270F}" dt="2026-06-01T16:37:28.639" v="2809"/>
            <ac:spMkLst>
              <pc:docMk/>
              <pc:sldMasterMk cId="1288455799" sldId="2147487484"/>
              <pc:sldLayoutMk cId="2151690135" sldId="2147489413"/>
              <ac:spMk id="170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51690135" sldId="2147489413"/>
              <ac:spMk id="1709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254378179" sldId="2147489414"/>
          </pc:sldLayoutMkLst>
          <pc:spChg chg="mod">
            <ac:chgData name="Rebecca Hannah Ainis" userId="116137a0-2af5-436b-85e1-74d9d3b30f2f" providerId="ADAL" clId="{6E039243-4417-4220-A582-B1623E3F270F}" dt="2026-06-01T16:37:28.639" v="2809"/>
            <ac:spMkLst>
              <pc:docMk/>
              <pc:sldMasterMk cId="1288455799" sldId="2147487484"/>
              <pc:sldLayoutMk cId="3254378179" sldId="2147489414"/>
              <ac:spMk id="171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54378179" sldId="2147489414"/>
              <ac:spMk id="1710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29863767" sldId="2147489415"/>
          </pc:sldLayoutMkLst>
          <pc:spChg chg="mod">
            <ac:chgData name="Rebecca Hannah Ainis" userId="116137a0-2af5-436b-85e1-74d9d3b30f2f" providerId="ADAL" clId="{6E039243-4417-4220-A582-B1623E3F270F}" dt="2026-06-01T16:37:28.639" v="2809"/>
            <ac:spMkLst>
              <pc:docMk/>
              <pc:sldMasterMk cId="1288455799" sldId="2147487484"/>
              <pc:sldLayoutMk cId="1429863767" sldId="2147489415"/>
              <ac:spMk id="1710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11374715" sldId="2147489416"/>
          </pc:sldLayoutMkLst>
          <pc:spChg chg="mod">
            <ac:chgData name="Rebecca Hannah Ainis" userId="116137a0-2af5-436b-85e1-74d9d3b30f2f" providerId="ADAL" clId="{6E039243-4417-4220-A582-B1623E3F270F}" dt="2026-06-01T16:37:28.639" v="2809"/>
            <ac:spMkLst>
              <pc:docMk/>
              <pc:sldMasterMk cId="1288455799" sldId="2147487484"/>
              <pc:sldLayoutMk cId="1311374715" sldId="2147489416"/>
              <ac:spMk id="171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11374715" sldId="2147489416"/>
              <ac:spMk id="171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11374715" sldId="2147489416"/>
              <ac:spMk id="171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11374715" sldId="2147489416"/>
              <ac:spMk id="1711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88572799" sldId="2147489417"/>
          </pc:sldLayoutMkLst>
          <pc:spChg chg="mod">
            <ac:chgData name="Rebecca Hannah Ainis" userId="116137a0-2af5-436b-85e1-74d9d3b30f2f" providerId="ADAL" clId="{6E039243-4417-4220-A582-B1623E3F270F}" dt="2026-06-01T16:37:28.639" v="2809"/>
            <ac:spMkLst>
              <pc:docMk/>
              <pc:sldMasterMk cId="1288455799" sldId="2147487484"/>
              <pc:sldLayoutMk cId="488572799" sldId="2147489417"/>
              <ac:spMk id="171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8572799" sldId="2147489417"/>
              <ac:spMk id="171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8572799" sldId="2147489417"/>
              <ac:spMk id="171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8572799" sldId="2147489417"/>
              <ac:spMk id="1713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64959349" sldId="2147489418"/>
          </pc:sldLayoutMkLst>
          <pc:spChg chg="mod">
            <ac:chgData name="Rebecca Hannah Ainis" userId="116137a0-2af5-436b-85e1-74d9d3b30f2f" providerId="ADAL" clId="{6E039243-4417-4220-A582-B1623E3F270F}" dt="2026-06-01T16:37:28.639" v="2809"/>
            <ac:spMkLst>
              <pc:docMk/>
              <pc:sldMasterMk cId="1288455799" sldId="2147487484"/>
              <pc:sldLayoutMk cId="164959349" sldId="2147489418"/>
              <ac:spMk id="171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4959349" sldId="2147489418"/>
              <ac:spMk id="171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4959349" sldId="2147489418"/>
              <ac:spMk id="1714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4959349" sldId="2147489418"/>
              <ac:spMk id="171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4959349" sldId="2147489418"/>
              <ac:spMk id="1714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072397913" sldId="2147489419"/>
          </pc:sldLayoutMkLst>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397913" sldId="2147489419"/>
              <ac:spMk id="1715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81936901" sldId="2147489420"/>
          </pc:sldLayoutMkLst>
          <pc:spChg chg="mod">
            <ac:chgData name="Rebecca Hannah Ainis" userId="116137a0-2af5-436b-85e1-74d9d3b30f2f" providerId="ADAL" clId="{6E039243-4417-4220-A582-B1623E3F270F}" dt="2026-06-01T16:37:28.639" v="2809"/>
            <ac:spMkLst>
              <pc:docMk/>
              <pc:sldMasterMk cId="1288455799" sldId="2147487484"/>
              <pc:sldLayoutMk cId="481936901" sldId="2147489420"/>
              <ac:spMk id="171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1936901" sldId="2147489420"/>
              <ac:spMk id="171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81936901" sldId="2147489420"/>
              <ac:spMk id="1716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895808489" sldId="2147489421"/>
          </pc:sldLayoutMkLst>
          <pc:spChg chg="mod">
            <ac:chgData name="Rebecca Hannah Ainis" userId="116137a0-2af5-436b-85e1-74d9d3b30f2f" providerId="ADAL" clId="{6E039243-4417-4220-A582-B1623E3F270F}" dt="2026-06-01T16:37:28.639" v="2809"/>
            <ac:spMkLst>
              <pc:docMk/>
              <pc:sldMasterMk cId="1288455799" sldId="2147487484"/>
              <pc:sldLayoutMk cId="3895808489" sldId="2147489421"/>
              <ac:spMk id="171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95808489" sldId="2147489421"/>
              <ac:spMk id="1717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283185351" sldId="2147489422"/>
          </pc:sldLayoutMkLst>
          <pc:spChg chg="mod">
            <ac:chgData name="Rebecca Hannah Ainis" userId="116137a0-2af5-436b-85e1-74d9d3b30f2f" providerId="ADAL" clId="{6E039243-4417-4220-A582-B1623E3F270F}" dt="2026-06-01T16:37:28.639" v="2809"/>
            <ac:spMkLst>
              <pc:docMk/>
              <pc:sldMasterMk cId="1288455799" sldId="2147487484"/>
              <pc:sldLayoutMk cId="3283185351" sldId="2147489422"/>
              <ac:spMk id="171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83185351" sldId="2147489422"/>
              <ac:spMk id="1718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56216731" sldId="2147489423"/>
          </pc:sldLayoutMkLst>
          <pc:spChg chg="mod">
            <ac:chgData name="Rebecca Hannah Ainis" userId="116137a0-2af5-436b-85e1-74d9d3b30f2f" providerId="ADAL" clId="{6E039243-4417-4220-A582-B1623E3F270F}" dt="2026-06-01T16:37:28.639" v="2809"/>
            <ac:spMkLst>
              <pc:docMk/>
              <pc:sldMasterMk cId="1288455799" sldId="2147487484"/>
              <pc:sldLayoutMk cId="1356216731" sldId="2147489423"/>
              <ac:spMk id="171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56216731" sldId="2147489423"/>
              <ac:spMk id="171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56216731" sldId="2147489423"/>
              <ac:spMk id="171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56216731" sldId="2147489423"/>
              <ac:spMk id="1719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984075819" sldId="2147489424"/>
          </pc:sldLayoutMkLst>
          <pc:spChg chg="mod">
            <ac:chgData name="Rebecca Hannah Ainis" userId="116137a0-2af5-436b-85e1-74d9d3b30f2f" providerId="ADAL" clId="{6E039243-4417-4220-A582-B1623E3F270F}" dt="2026-06-01T16:37:28.639" v="2809"/>
            <ac:spMkLst>
              <pc:docMk/>
              <pc:sldMasterMk cId="1288455799" sldId="2147487484"/>
              <pc:sldLayoutMk cId="2984075819" sldId="2147489424"/>
              <ac:spMk id="172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84075819" sldId="2147489424"/>
              <ac:spMk id="1720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839078718" sldId="2147489425"/>
          </pc:sldLayoutMkLst>
          <pc:spChg chg="mod">
            <ac:chgData name="Rebecca Hannah Ainis" userId="116137a0-2af5-436b-85e1-74d9d3b30f2f" providerId="ADAL" clId="{6E039243-4417-4220-A582-B1623E3F270F}" dt="2026-06-01T16:37:28.639" v="2809"/>
            <ac:spMkLst>
              <pc:docMk/>
              <pc:sldMasterMk cId="1288455799" sldId="2147487484"/>
              <pc:sldLayoutMk cId="3839078718" sldId="2147489425"/>
              <ac:spMk id="172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39078718" sldId="2147489425"/>
              <ac:spMk id="1721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918470573" sldId="2147489426"/>
          </pc:sldLayoutMkLst>
          <pc:spChg chg="mod">
            <ac:chgData name="Rebecca Hannah Ainis" userId="116137a0-2af5-436b-85e1-74d9d3b30f2f" providerId="ADAL" clId="{6E039243-4417-4220-A582-B1623E3F270F}" dt="2026-06-01T16:37:28.639" v="2809"/>
            <ac:spMkLst>
              <pc:docMk/>
              <pc:sldMasterMk cId="1288455799" sldId="2147487484"/>
              <pc:sldLayoutMk cId="2918470573" sldId="2147489426"/>
              <ac:spMk id="1721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18561846" sldId="2147489427"/>
          </pc:sldLayoutMkLst>
          <pc:spChg chg="mod">
            <ac:chgData name="Rebecca Hannah Ainis" userId="116137a0-2af5-436b-85e1-74d9d3b30f2f" providerId="ADAL" clId="{6E039243-4417-4220-A582-B1623E3F270F}" dt="2026-06-01T16:37:28.639" v="2809"/>
            <ac:spMkLst>
              <pc:docMk/>
              <pc:sldMasterMk cId="1288455799" sldId="2147487484"/>
              <pc:sldLayoutMk cId="3718561846" sldId="2147489427"/>
              <ac:spMk id="172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18561846" sldId="2147489427"/>
              <ac:spMk id="1722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18561846" sldId="2147489427"/>
              <ac:spMk id="172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18561846" sldId="2147489427"/>
              <ac:spMk id="1722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374310864" sldId="2147489428"/>
          </pc:sldLayoutMkLst>
          <pc:spChg chg="mod">
            <ac:chgData name="Rebecca Hannah Ainis" userId="116137a0-2af5-436b-85e1-74d9d3b30f2f" providerId="ADAL" clId="{6E039243-4417-4220-A582-B1623E3F270F}" dt="2026-06-01T16:37:28.639" v="2809"/>
            <ac:spMkLst>
              <pc:docMk/>
              <pc:sldMasterMk cId="1288455799" sldId="2147487484"/>
              <pc:sldLayoutMk cId="2374310864" sldId="2147489428"/>
              <ac:spMk id="1724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74310864" sldId="2147489428"/>
              <ac:spMk id="172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74310864" sldId="2147489428"/>
              <ac:spMk id="172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74310864" sldId="2147489428"/>
              <ac:spMk id="1724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555136498" sldId="2147489429"/>
          </pc:sldLayoutMkLst>
          <pc:spChg chg="mod">
            <ac:chgData name="Rebecca Hannah Ainis" userId="116137a0-2af5-436b-85e1-74d9d3b30f2f" providerId="ADAL" clId="{6E039243-4417-4220-A582-B1623E3F270F}" dt="2026-06-01T16:37:28.639" v="2809"/>
            <ac:spMkLst>
              <pc:docMk/>
              <pc:sldMasterMk cId="1288455799" sldId="2147487484"/>
              <pc:sldLayoutMk cId="1555136498" sldId="2147489429"/>
              <ac:spMk id="1724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5136498" sldId="2147489429"/>
              <ac:spMk id="1724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5136498" sldId="2147489429"/>
              <ac:spMk id="172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5136498" sldId="2147489429"/>
              <ac:spMk id="1725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5136498" sldId="2147489429"/>
              <ac:spMk id="1725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30229681" sldId="2147489430"/>
          </pc:sldLayoutMkLst>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6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6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7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0229681" sldId="2147489430"/>
              <ac:spMk id="1727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280257626" sldId="2147489431"/>
          </pc:sldLayoutMkLst>
          <pc:spChg chg="mod">
            <ac:chgData name="Rebecca Hannah Ainis" userId="116137a0-2af5-436b-85e1-74d9d3b30f2f" providerId="ADAL" clId="{6E039243-4417-4220-A582-B1623E3F270F}" dt="2026-06-01T16:37:28.639" v="2809"/>
            <ac:spMkLst>
              <pc:docMk/>
              <pc:sldMasterMk cId="1288455799" sldId="2147487484"/>
              <pc:sldLayoutMk cId="4280257626" sldId="2147489431"/>
              <ac:spMk id="172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80257626" sldId="2147489431"/>
              <ac:spMk id="172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80257626" sldId="2147489431"/>
              <ac:spMk id="1728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748998288" sldId="2147489432"/>
          </pc:sldLayoutMkLst>
          <pc:spChg chg="mod">
            <ac:chgData name="Rebecca Hannah Ainis" userId="116137a0-2af5-436b-85e1-74d9d3b30f2f" providerId="ADAL" clId="{6E039243-4417-4220-A582-B1623E3F270F}" dt="2026-06-01T16:37:28.639" v="2809"/>
            <ac:spMkLst>
              <pc:docMk/>
              <pc:sldMasterMk cId="1288455799" sldId="2147487484"/>
              <pc:sldLayoutMk cId="1748998288" sldId="2147489432"/>
              <ac:spMk id="172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48998288" sldId="2147489432"/>
              <ac:spMk id="1728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511979470" sldId="2147489433"/>
          </pc:sldLayoutMkLst>
          <pc:spChg chg="mod">
            <ac:chgData name="Rebecca Hannah Ainis" userId="116137a0-2af5-436b-85e1-74d9d3b30f2f" providerId="ADAL" clId="{6E039243-4417-4220-A582-B1623E3F270F}" dt="2026-06-01T16:37:28.639" v="2809"/>
            <ac:spMkLst>
              <pc:docMk/>
              <pc:sldMasterMk cId="1288455799" sldId="2147487484"/>
              <pc:sldLayoutMk cId="2511979470" sldId="2147489433"/>
              <ac:spMk id="172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11979470" sldId="2147489433"/>
              <ac:spMk id="1729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70702166" sldId="2147489434"/>
          </pc:sldLayoutMkLst>
          <pc:spChg chg="mod">
            <ac:chgData name="Rebecca Hannah Ainis" userId="116137a0-2af5-436b-85e1-74d9d3b30f2f" providerId="ADAL" clId="{6E039243-4417-4220-A582-B1623E3F270F}" dt="2026-06-01T16:37:28.639" v="2809"/>
            <ac:spMkLst>
              <pc:docMk/>
              <pc:sldMasterMk cId="1288455799" sldId="2147487484"/>
              <pc:sldLayoutMk cId="3770702166" sldId="2147489434"/>
              <ac:spMk id="173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70702166" sldId="2147489434"/>
              <ac:spMk id="173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70702166" sldId="2147489434"/>
              <ac:spMk id="173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70702166" sldId="2147489434"/>
              <ac:spMk id="1730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53498349" sldId="2147489435"/>
          </pc:sldLayoutMkLst>
          <pc:spChg chg="mod">
            <ac:chgData name="Rebecca Hannah Ainis" userId="116137a0-2af5-436b-85e1-74d9d3b30f2f" providerId="ADAL" clId="{6E039243-4417-4220-A582-B1623E3F270F}" dt="2026-06-01T16:37:28.639" v="2809"/>
            <ac:spMkLst>
              <pc:docMk/>
              <pc:sldMasterMk cId="1288455799" sldId="2147487484"/>
              <pc:sldLayoutMk cId="353498349" sldId="2147489435"/>
              <ac:spMk id="173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498349" sldId="2147489435"/>
              <ac:spMk id="1731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498349" sldId="2147489435"/>
              <ac:spMk id="1731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498349" sldId="2147489435"/>
              <ac:spMk id="1731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3498349" sldId="2147489435"/>
              <ac:spMk id="1731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613885408" sldId="2147489436"/>
          </pc:sldLayoutMkLst>
          <pc:spChg chg="mod">
            <ac:chgData name="Rebecca Hannah Ainis" userId="116137a0-2af5-436b-85e1-74d9d3b30f2f" providerId="ADAL" clId="{6E039243-4417-4220-A582-B1623E3F270F}" dt="2026-06-01T16:37:28.639" v="2809"/>
            <ac:spMkLst>
              <pc:docMk/>
              <pc:sldMasterMk cId="1288455799" sldId="2147487484"/>
              <pc:sldLayoutMk cId="613885408" sldId="2147489436"/>
              <ac:spMk id="173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13885408" sldId="2147489436"/>
              <ac:spMk id="1732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13885408" sldId="2147489436"/>
              <ac:spMk id="1732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13885408" sldId="2147489436"/>
              <ac:spMk id="1732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13885408" sldId="2147489436"/>
              <ac:spMk id="173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13885408" sldId="2147489436"/>
              <ac:spMk id="1732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715516540" sldId="2147489437"/>
          </pc:sldLayoutMkLst>
          <pc:spChg chg="mod">
            <ac:chgData name="Rebecca Hannah Ainis" userId="116137a0-2af5-436b-85e1-74d9d3b30f2f" providerId="ADAL" clId="{6E039243-4417-4220-A582-B1623E3F270F}" dt="2026-06-01T16:37:28.639" v="2809"/>
            <ac:spMkLst>
              <pc:docMk/>
              <pc:sldMasterMk cId="1288455799" sldId="2147487484"/>
              <pc:sldLayoutMk cId="2715516540" sldId="2147489437"/>
              <ac:spMk id="173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15516540" sldId="2147489437"/>
              <ac:spMk id="173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15516540" sldId="2147489437"/>
              <ac:spMk id="1733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15516540" sldId="2147489437"/>
              <ac:spMk id="173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15516540" sldId="2147489437"/>
              <ac:spMk id="1733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15516540" sldId="2147489437"/>
              <ac:spMk id="1733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52892868" sldId="2147489438"/>
          </pc:sldLayoutMkLst>
          <pc:spChg chg="mod">
            <ac:chgData name="Rebecca Hannah Ainis" userId="116137a0-2af5-436b-85e1-74d9d3b30f2f" providerId="ADAL" clId="{6E039243-4417-4220-A582-B1623E3F270F}" dt="2026-06-01T16:37:28.639" v="2809"/>
            <ac:spMkLst>
              <pc:docMk/>
              <pc:sldMasterMk cId="1288455799" sldId="2147487484"/>
              <pc:sldLayoutMk cId="3952892868" sldId="2147489438"/>
              <ac:spMk id="1734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52892868" sldId="2147489438"/>
              <ac:spMk id="1734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729559255" sldId="2147489439"/>
          </pc:sldLayoutMkLst>
          <pc:spChg chg="mod">
            <ac:chgData name="Rebecca Hannah Ainis" userId="116137a0-2af5-436b-85e1-74d9d3b30f2f" providerId="ADAL" clId="{6E039243-4417-4220-A582-B1623E3F270F}" dt="2026-06-01T16:37:28.639" v="2809"/>
            <ac:spMkLst>
              <pc:docMk/>
              <pc:sldMasterMk cId="1288455799" sldId="2147487484"/>
              <pc:sldLayoutMk cId="1729559255" sldId="2147489439"/>
              <ac:spMk id="1734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29559255" sldId="2147489439"/>
              <ac:spMk id="1735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30749625" sldId="2147489440"/>
          </pc:sldLayoutMkLst>
          <pc:spChg chg="mod">
            <ac:chgData name="Rebecca Hannah Ainis" userId="116137a0-2af5-436b-85e1-74d9d3b30f2f" providerId="ADAL" clId="{6E039243-4417-4220-A582-B1623E3F270F}" dt="2026-06-01T16:37:28.639" v="2809"/>
            <ac:spMkLst>
              <pc:docMk/>
              <pc:sldMasterMk cId="1288455799" sldId="2147487484"/>
              <pc:sldLayoutMk cId="3730749625" sldId="2147489440"/>
              <ac:spMk id="173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30749625" sldId="2147489440"/>
              <ac:spMk id="173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30749625" sldId="2147489440"/>
              <ac:spMk id="1735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156495804" sldId="2147489441"/>
          </pc:sldLayoutMkLst>
          <pc:spChg chg="mod">
            <ac:chgData name="Rebecca Hannah Ainis" userId="116137a0-2af5-436b-85e1-74d9d3b30f2f" providerId="ADAL" clId="{6E039243-4417-4220-A582-B1623E3F270F}" dt="2026-06-01T16:37:28.639" v="2809"/>
            <ac:spMkLst>
              <pc:docMk/>
              <pc:sldMasterMk cId="1288455799" sldId="2147487484"/>
              <pc:sldLayoutMk cId="4156495804" sldId="2147489441"/>
              <ac:spMk id="1735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6495804" sldId="2147489441"/>
              <ac:spMk id="1736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6495804" sldId="2147489441"/>
              <ac:spMk id="1736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6495804" sldId="2147489441"/>
              <ac:spMk id="1736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6495804" sldId="2147489441"/>
              <ac:spMk id="1736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56495804" sldId="2147489441"/>
              <ac:spMk id="1736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652038661" sldId="2147489442"/>
          </pc:sldLayoutMkLst>
          <pc:spChg chg="mod">
            <ac:chgData name="Rebecca Hannah Ainis" userId="116137a0-2af5-436b-85e1-74d9d3b30f2f" providerId="ADAL" clId="{6E039243-4417-4220-A582-B1623E3F270F}" dt="2026-06-01T16:37:28.639" v="2809"/>
            <ac:spMkLst>
              <pc:docMk/>
              <pc:sldMasterMk cId="1288455799" sldId="2147487484"/>
              <pc:sldLayoutMk cId="3652038661" sldId="2147489442"/>
              <ac:spMk id="1736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52038661" sldId="2147489442"/>
              <ac:spMk id="1737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884284265" sldId="2147489443"/>
          </pc:sldLayoutMkLst>
          <pc:spChg chg="mod">
            <ac:chgData name="Rebecca Hannah Ainis" userId="116137a0-2af5-436b-85e1-74d9d3b30f2f" providerId="ADAL" clId="{6E039243-4417-4220-A582-B1623E3F270F}" dt="2026-06-01T16:37:28.639" v="2809"/>
            <ac:spMkLst>
              <pc:docMk/>
              <pc:sldMasterMk cId="1288455799" sldId="2147487484"/>
              <pc:sldLayoutMk cId="2884284265" sldId="2147489443"/>
              <ac:spMk id="1737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84284265" sldId="2147489443"/>
              <ac:spMk id="1737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95253818" sldId="2147489444"/>
          </pc:sldLayoutMkLst>
          <pc:spChg chg="mod">
            <ac:chgData name="Rebecca Hannah Ainis" userId="116137a0-2af5-436b-85e1-74d9d3b30f2f" providerId="ADAL" clId="{6E039243-4417-4220-A582-B1623E3F270F}" dt="2026-06-01T16:37:28.639" v="2809"/>
            <ac:spMkLst>
              <pc:docMk/>
              <pc:sldMasterMk cId="1288455799" sldId="2147487484"/>
              <pc:sldLayoutMk cId="3995253818" sldId="2147489444"/>
              <ac:spMk id="1738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95253818" sldId="2147489444"/>
              <ac:spMk id="1738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95253818" sldId="2147489444"/>
              <ac:spMk id="1738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250515202" sldId="2147489445"/>
          </pc:sldLayoutMkLst>
          <pc:spChg chg="mod">
            <ac:chgData name="Rebecca Hannah Ainis" userId="116137a0-2af5-436b-85e1-74d9d3b30f2f" providerId="ADAL" clId="{6E039243-4417-4220-A582-B1623E3F270F}" dt="2026-06-01T16:37:28.639" v="2809"/>
            <ac:spMkLst>
              <pc:docMk/>
              <pc:sldMasterMk cId="1288455799" sldId="2147487484"/>
              <pc:sldLayoutMk cId="4250515202" sldId="2147489445"/>
              <ac:spMk id="173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50515202" sldId="2147489445"/>
              <ac:spMk id="173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50515202" sldId="2147489445"/>
              <ac:spMk id="173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50515202" sldId="2147489445"/>
              <ac:spMk id="173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50515202" sldId="2147489445"/>
              <ac:spMk id="173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50515202" sldId="2147489445"/>
              <ac:spMk id="1739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66712420" sldId="2147489446"/>
          </pc:sldLayoutMkLst>
          <pc:spChg chg="mod">
            <ac:chgData name="Rebecca Hannah Ainis" userId="116137a0-2af5-436b-85e1-74d9d3b30f2f" providerId="ADAL" clId="{6E039243-4417-4220-A582-B1623E3F270F}" dt="2026-06-01T16:37:28.639" v="2809"/>
            <ac:spMkLst>
              <pc:docMk/>
              <pc:sldMasterMk cId="1288455799" sldId="2147487484"/>
              <pc:sldLayoutMk cId="3066712420" sldId="2147489446"/>
              <ac:spMk id="173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66712420" sldId="2147489446"/>
              <ac:spMk id="1740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17666996" sldId="2147489447"/>
          </pc:sldLayoutMkLst>
          <pc:spChg chg="mod">
            <ac:chgData name="Rebecca Hannah Ainis" userId="116137a0-2af5-436b-85e1-74d9d3b30f2f" providerId="ADAL" clId="{6E039243-4417-4220-A582-B1623E3F270F}" dt="2026-06-01T16:37:28.639" v="2809"/>
            <ac:spMkLst>
              <pc:docMk/>
              <pc:sldMasterMk cId="1288455799" sldId="2147487484"/>
              <pc:sldLayoutMk cId="1317666996" sldId="2147489447"/>
              <ac:spMk id="174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17666996" sldId="2147489447"/>
              <ac:spMk id="1740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267592462" sldId="2147489448"/>
          </pc:sldLayoutMkLst>
          <pc:spChg chg="mod">
            <ac:chgData name="Rebecca Hannah Ainis" userId="116137a0-2af5-436b-85e1-74d9d3b30f2f" providerId="ADAL" clId="{6E039243-4417-4220-A582-B1623E3F270F}" dt="2026-06-01T16:37:28.639" v="2809"/>
            <ac:spMkLst>
              <pc:docMk/>
              <pc:sldMasterMk cId="1288455799" sldId="2147487484"/>
              <pc:sldLayoutMk cId="4267592462" sldId="2147489448"/>
              <ac:spMk id="174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67592462" sldId="2147489448"/>
              <ac:spMk id="174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67592462" sldId="2147489448"/>
              <ac:spMk id="1741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77832398" sldId="2147489449"/>
          </pc:sldLayoutMkLst>
          <pc:spChg chg="mod">
            <ac:chgData name="Rebecca Hannah Ainis" userId="116137a0-2af5-436b-85e1-74d9d3b30f2f" providerId="ADAL" clId="{6E039243-4417-4220-A582-B1623E3F270F}" dt="2026-06-01T16:37:28.639" v="2809"/>
            <ac:spMkLst>
              <pc:docMk/>
              <pc:sldMasterMk cId="1288455799" sldId="2147487484"/>
              <pc:sldLayoutMk cId="477832398" sldId="2147489449"/>
              <ac:spMk id="1741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77832398" sldId="2147489449"/>
              <ac:spMk id="174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77832398" sldId="2147489449"/>
              <ac:spMk id="1741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77832398" sldId="2147489449"/>
              <ac:spMk id="174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77832398" sldId="2147489449"/>
              <ac:spMk id="1742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77832398" sldId="2147489449"/>
              <ac:spMk id="1742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734012778" sldId="2147489450"/>
          </pc:sldLayoutMkLst>
          <pc:spChg chg="mod">
            <ac:chgData name="Rebecca Hannah Ainis" userId="116137a0-2af5-436b-85e1-74d9d3b30f2f" providerId="ADAL" clId="{6E039243-4417-4220-A582-B1623E3F270F}" dt="2026-06-01T16:37:28.639" v="2809"/>
            <ac:spMkLst>
              <pc:docMk/>
              <pc:sldMasterMk cId="1288455799" sldId="2147487484"/>
              <pc:sldLayoutMk cId="734012778" sldId="2147489450"/>
              <ac:spMk id="174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34012778" sldId="2147489450"/>
              <ac:spMk id="174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34012778" sldId="2147489450"/>
              <ac:spMk id="174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34012778" sldId="2147489450"/>
              <ac:spMk id="174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34012778" sldId="2147489450"/>
              <ac:spMk id="174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34012778" sldId="2147489450"/>
              <ac:spMk id="1743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64378486" sldId="2147489451"/>
          </pc:sldLayoutMkLst>
          <pc:spChg chg="mod">
            <ac:chgData name="Rebecca Hannah Ainis" userId="116137a0-2af5-436b-85e1-74d9d3b30f2f" providerId="ADAL" clId="{6E039243-4417-4220-A582-B1623E3F270F}" dt="2026-06-01T16:37:28.639" v="2809"/>
            <ac:spMkLst>
              <pc:docMk/>
              <pc:sldMasterMk cId="1288455799" sldId="2147487484"/>
              <pc:sldLayoutMk cId="2264378486" sldId="2147489451"/>
              <ac:spMk id="174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4378486" sldId="2147489451"/>
              <ac:spMk id="1744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939985864" sldId="2147489452"/>
          </pc:sldLayoutMkLst>
          <pc:spChg chg="mod">
            <ac:chgData name="Rebecca Hannah Ainis" userId="116137a0-2af5-436b-85e1-74d9d3b30f2f" providerId="ADAL" clId="{6E039243-4417-4220-A582-B1623E3F270F}" dt="2026-06-01T16:37:28.639" v="2809"/>
            <ac:spMkLst>
              <pc:docMk/>
              <pc:sldMasterMk cId="1288455799" sldId="2147487484"/>
              <pc:sldLayoutMk cId="2939985864" sldId="2147489452"/>
              <ac:spMk id="174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39985864" sldId="2147489452"/>
              <ac:spMk id="1744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78247471" sldId="2147489453"/>
          </pc:sldLayoutMkLst>
          <pc:spChg chg="mod">
            <ac:chgData name="Rebecca Hannah Ainis" userId="116137a0-2af5-436b-85e1-74d9d3b30f2f" providerId="ADAL" clId="{6E039243-4417-4220-A582-B1623E3F270F}" dt="2026-06-01T16:37:28.639" v="2809"/>
            <ac:spMkLst>
              <pc:docMk/>
              <pc:sldMasterMk cId="1288455799" sldId="2147487484"/>
              <pc:sldLayoutMk cId="78247471" sldId="2147489453"/>
              <ac:spMk id="174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8247471" sldId="2147489453"/>
              <ac:spMk id="174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8247471" sldId="2147489453"/>
              <ac:spMk id="1745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146625" sldId="2147489454"/>
          </pc:sldLayoutMkLst>
          <pc:spChg chg="mod">
            <ac:chgData name="Rebecca Hannah Ainis" userId="116137a0-2af5-436b-85e1-74d9d3b30f2f" providerId="ADAL" clId="{6E039243-4417-4220-A582-B1623E3F270F}" dt="2026-06-01T16:37:28.639" v="2809"/>
            <ac:spMkLst>
              <pc:docMk/>
              <pc:sldMasterMk cId="1288455799" sldId="2147487484"/>
              <pc:sldLayoutMk cId="11146625" sldId="2147489454"/>
              <ac:spMk id="1745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146625" sldId="2147489454"/>
              <ac:spMk id="174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146625" sldId="2147489454"/>
              <ac:spMk id="174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146625" sldId="2147489454"/>
              <ac:spMk id="1745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146625" sldId="2147489454"/>
              <ac:spMk id="1746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146625" sldId="2147489454"/>
              <ac:spMk id="1746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647455101" sldId="2147489455"/>
          </pc:sldLayoutMkLst>
          <pc:spChg chg="mod">
            <ac:chgData name="Rebecca Hannah Ainis" userId="116137a0-2af5-436b-85e1-74d9d3b30f2f" providerId="ADAL" clId="{6E039243-4417-4220-A582-B1623E3F270F}" dt="2026-06-01T16:37:28.639" v="2809"/>
            <ac:spMkLst>
              <pc:docMk/>
              <pc:sldMasterMk cId="1288455799" sldId="2147487484"/>
              <pc:sldLayoutMk cId="2647455101" sldId="2147489455"/>
              <ac:spMk id="174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47455101" sldId="2147489455"/>
              <ac:spMk id="1746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626927446" sldId="2147489456"/>
          </pc:sldLayoutMkLst>
          <pc:spChg chg="mod">
            <ac:chgData name="Rebecca Hannah Ainis" userId="116137a0-2af5-436b-85e1-74d9d3b30f2f" providerId="ADAL" clId="{6E039243-4417-4220-A582-B1623E3F270F}" dt="2026-06-01T16:37:28.639" v="2809"/>
            <ac:spMkLst>
              <pc:docMk/>
              <pc:sldMasterMk cId="1288455799" sldId="2147487484"/>
              <pc:sldLayoutMk cId="1626927446" sldId="2147489456"/>
              <ac:spMk id="174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26927446" sldId="2147489456"/>
              <ac:spMk id="1747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181948924" sldId="2147489457"/>
          </pc:sldLayoutMkLst>
          <pc:spChg chg="mod">
            <ac:chgData name="Rebecca Hannah Ainis" userId="116137a0-2af5-436b-85e1-74d9d3b30f2f" providerId="ADAL" clId="{6E039243-4417-4220-A582-B1623E3F270F}" dt="2026-06-01T16:37:28.639" v="2809"/>
            <ac:spMkLst>
              <pc:docMk/>
              <pc:sldMasterMk cId="1288455799" sldId="2147487484"/>
              <pc:sldLayoutMk cId="4181948924" sldId="2147489457"/>
              <ac:spMk id="174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81948924" sldId="2147489457"/>
              <ac:spMk id="174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81948924" sldId="2147489457"/>
              <ac:spMk id="1748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25506081" sldId="2147489458"/>
          </pc:sldLayoutMkLst>
          <pc:spChg chg="mod">
            <ac:chgData name="Rebecca Hannah Ainis" userId="116137a0-2af5-436b-85e1-74d9d3b30f2f" providerId="ADAL" clId="{6E039243-4417-4220-A582-B1623E3F270F}" dt="2026-06-01T16:37:28.639" v="2809"/>
            <ac:spMkLst>
              <pc:docMk/>
              <pc:sldMasterMk cId="1288455799" sldId="2147487484"/>
              <pc:sldLayoutMk cId="2225506081" sldId="2147489458"/>
              <ac:spMk id="1748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25506081" sldId="2147489458"/>
              <ac:spMk id="1748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488160172" sldId="2147489459"/>
          </pc:sldLayoutMkLst>
          <pc:spChg chg="mod">
            <ac:chgData name="Rebecca Hannah Ainis" userId="116137a0-2af5-436b-85e1-74d9d3b30f2f" providerId="ADAL" clId="{6E039243-4417-4220-A582-B1623E3F270F}" dt="2026-06-01T16:37:28.639" v="2809"/>
            <ac:spMkLst>
              <pc:docMk/>
              <pc:sldMasterMk cId="1288455799" sldId="2147487484"/>
              <pc:sldLayoutMk cId="3488160172" sldId="2147489459"/>
              <ac:spMk id="174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88160172" sldId="2147489459"/>
              <ac:spMk id="1749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937509341" sldId="2147489460"/>
          </pc:sldLayoutMkLst>
          <pc:spChg chg="mod">
            <ac:chgData name="Rebecca Hannah Ainis" userId="116137a0-2af5-436b-85e1-74d9d3b30f2f" providerId="ADAL" clId="{6E039243-4417-4220-A582-B1623E3F270F}" dt="2026-06-01T16:37:28.639" v="2809"/>
            <ac:spMkLst>
              <pc:docMk/>
              <pc:sldMasterMk cId="1288455799" sldId="2147487484"/>
              <pc:sldLayoutMk cId="1937509341" sldId="2147489460"/>
              <ac:spMk id="174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37509341" sldId="2147489460"/>
              <ac:spMk id="175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37509341" sldId="2147489460"/>
              <ac:spMk id="1750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08028640" sldId="2147489461"/>
          </pc:sldLayoutMkLst>
          <pc:spChg chg="mod">
            <ac:chgData name="Rebecca Hannah Ainis" userId="116137a0-2af5-436b-85e1-74d9d3b30f2f" providerId="ADAL" clId="{6E039243-4417-4220-A582-B1623E3F270F}" dt="2026-06-01T16:37:28.639" v="2809"/>
            <ac:spMkLst>
              <pc:docMk/>
              <pc:sldMasterMk cId="1288455799" sldId="2147487484"/>
              <pc:sldLayoutMk cId="208028640" sldId="2147489461"/>
              <ac:spMk id="175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8028640" sldId="2147489461"/>
              <ac:spMk id="1750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8028640" sldId="2147489461"/>
              <ac:spMk id="1750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8028640" sldId="2147489461"/>
              <ac:spMk id="175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8028640" sldId="2147489461"/>
              <ac:spMk id="1750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8028640" sldId="2147489461"/>
              <ac:spMk id="1751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051823432" sldId="2147489462"/>
          </pc:sldLayoutMkLst>
          <pc:spChg chg="mod">
            <ac:chgData name="Rebecca Hannah Ainis" userId="116137a0-2af5-436b-85e1-74d9d3b30f2f" providerId="ADAL" clId="{6E039243-4417-4220-A582-B1623E3F270F}" dt="2026-06-01T16:37:28.639" v="2809"/>
            <ac:spMkLst>
              <pc:docMk/>
              <pc:sldMasterMk cId="1288455799" sldId="2147487484"/>
              <pc:sldLayoutMk cId="4051823432" sldId="2147489462"/>
              <ac:spMk id="175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51823432" sldId="2147489462"/>
              <ac:spMk id="1751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51823432" sldId="2147489462"/>
              <ac:spMk id="1751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51823432" sldId="2147489462"/>
              <ac:spMk id="1751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51823432" sldId="2147489462"/>
              <ac:spMk id="175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51823432" sldId="2147489462"/>
              <ac:spMk id="1752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584977955" sldId="2147489463"/>
          </pc:sldLayoutMkLst>
          <pc:spChg chg="mod">
            <ac:chgData name="Rebecca Hannah Ainis" userId="116137a0-2af5-436b-85e1-74d9d3b30f2f" providerId="ADAL" clId="{6E039243-4417-4220-A582-B1623E3F270F}" dt="2026-06-01T16:37:28.639" v="2809"/>
            <ac:spMkLst>
              <pc:docMk/>
              <pc:sldMasterMk cId="1288455799" sldId="2147487484"/>
              <pc:sldLayoutMk cId="1584977955" sldId="2147489463"/>
              <ac:spMk id="175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84977955" sldId="2147489463"/>
              <ac:spMk id="1752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93966747" sldId="2147489464"/>
          </pc:sldLayoutMkLst>
          <pc:spChg chg="mod">
            <ac:chgData name="Rebecca Hannah Ainis" userId="116137a0-2af5-436b-85e1-74d9d3b30f2f" providerId="ADAL" clId="{6E039243-4417-4220-A582-B1623E3F270F}" dt="2026-06-01T16:37:28.639" v="2809"/>
            <ac:spMkLst>
              <pc:docMk/>
              <pc:sldMasterMk cId="1288455799" sldId="2147487484"/>
              <pc:sldLayoutMk cId="3093966747" sldId="2147489464"/>
              <ac:spMk id="175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93966747" sldId="2147489464"/>
              <ac:spMk id="1753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182155483" sldId="2147489465"/>
          </pc:sldLayoutMkLst>
          <pc:spChg chg="mod">
            <ac:chgData name="Rebecca Hannah Ainis" userId="116137a0-2af5-436b-85e1-74d9d3b30f2f" providerId="ADAL" clId="{6E039243-4417-4220-A582-B1623E3F270F}" dt="2026-06-01T16:37:28.639" v="2809"/>
            <ac:spMkLst>
              <pc:docMk/>
              <pc:sldMasterMk cId="1288455799" sldId="2147487484"/>
              <pc:sldLayoutMk cId="3182155483" sldId="2147489465"/>
              <ac:spMk id="175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82155483" sldId="2147489465"/>
              <ac:spMk id="1753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82155483" sldId="2147489465"/>
              <ac:spMk id="1754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415881068" sldId="2147489466"/>
          </pc:sldLayoutMkLst>
          <pc:spChg chg="mod">
            <ac:chgData name="Rebecca Hannah Ainis" userId="116137a0-2af5-436b-85e1-74d9d3b30f2f" providerId="ADAL" clId="{6E039243-4417-4220-A582-B1623E3F270F}" dt="2026-06-01T16:37:28.639" v="2809"/>
            <ac:spMkLst>
              <pc:docMk/>
              <pc:sldMasterMk cId="1288455799" sldId="2147487484"/>
              <pc:sldLayoutMk cId="2415881068" sldId="2147489466"/>
              <ac:spMk id="175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881068" sldId="2147489466"/>
              <ac:spMk id="175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881068" sldId="2147489466"/>
              <ac:spMk id="1754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881068" sldId="2147489466"/>
              <ac:spMk id="175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881068" sldId="2147489466"/>
              <ac:spMk id="1754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15881068" sldId="2147489466"/>
              <ac:spMk id="1755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783609930" sldId="2147489467"/>
          </pc:sldLayoutMkLst>
          <pc:spChg chg="mod">
            <ac:chgData name="Rebecca Hannah Ainis" userId="116137a0-2af5-436b-85e1-74d9d3b30f2f" providerId="ADAL" clId="{6E039243-4417-4220-A582-B1623E3F270F}" dt="2026-06-01T16:37:28.639" v="2809"/>
            <ac:spMkLst>
              <pc:docMk/>
              <pc:sldMasterMk cId="1288455799" sldId="2147487484"/>
              <pc:sldLayoutMk cId="2783609930" sldId="2147489467"/>
              <ac:spMk id="175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783609930" sldId="2147489467"/>
              <ac:spMk id="1755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593337686" sldId="2147489468"/>
          </pc:sldLayoutMkLst>
          <pc:spChg chg="mod">
            <ac:chgData name="Rebecca Hannah Ainis" userId="116137a0-2af5-436b-85e1-74d9d3b30f2f" providerId="ADAL" clId="{6E039243-4417-4220-A582-B1623E3F270F}" dt="2026-06-01T16:37:28.639" v="2809"/>
            <ac:spMkLst>
              <pc:docMk/>
              <pc:sldMasterMk cId="1288455799" sldId="2147487484"/>
              <pc:sldLayoutMk cId="3593337686" sldId="2147489468"/>
              <ac:spMk id="1756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93337686" sldId="2147489468"/>
              <ac:spMk id="1756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60773450" sldId="2147489469"/>
          </pc:sldLayoutMkLst>
          <pc:spChg chg="mod">
            <ac:chgData name="Rebecca Hannah Ainis" userId="116137a0-2af5-436b-85e1-74d9d3b30f2f" providerId="ADAL" clId="{6E039243-4417-4220-A582-B1623E3F270F}" dt="2026-06-01T16:37:28.639" v="2809"/>
            <ac:spMkLst>
              <pc:docMk/>
              <pc:sldMasterMk cId="1288455799" sldId="2147487484"/>
              <pc:sldLayoutMk cId="360773450" sldId="2147489469"/>
              <ac:spMk id="175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0773450" sldId="2147489469"/>
              <ac:spMk id="1756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0773450" sldId="2147489469"/>
              <ac:spMk id="1756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385525775" sldId="2147489470"/>
          </pc:sldLayoutMkLst>
          <pc:spChg chg="mod">
            <ac:chgData name="Rebecca Hannah Ainis" userId="116137a0-2af5-436b-85e1-74d9d3b30f2f" providerId="ADAL" clId="{6E039243-4417-4220-A582-B1623E3F270F}" dt="2026-06-01T16:37:28.639" v="2809"/>
            <ac:spMkLst>
              <pc:docMk/>
              <pc:sldMasterMk cId="1288455799" sldId="2147487484"/>
              <pc:sldLayoutMk cId="2385525775" sldId="2147489470"/>
              <ac:spMk id="1757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85525775" sldId="2147489470"/>
              <ac:spMk id="1757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469449108" sldId="2147489471"/>
          </pc:sldLayoutMkLst>
          <pc:spChg chg="mod">
            <ac:chgData name="Rebecca Hannah Ainis" userId="116137a0-2af5-436b-85e1-74d9d3b30f2f" providerId="ADAL" clId="{6E039243-4417-4220-A582-B1623E3F270F}" dt="2026-06-01T16:37:28.639" v="2809"/>
            <ac:spMkLst>
              <pc:docMk/>
              <pc:sldMasterMk cId="1288455799" sldId="2147487484"/>
              <pc:sldLayoutMk cId="1469449108" sldId="2147489471"/>
              <ac:spMk id="1758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69449108" sldId="2147489471"/>
              <ac:spMk id="1758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668228326" sldId="2147489472"/>
          </pc:sldLayoutMkLst>
          <pc:spChg chg="mod">
            <ac:chgData name="Rebecca Hannah Ainis" userId="116137a0-2af5-436b-85e1-74d9d3b30f2f" providerId="ADAL" clId="{6E039243-4417-4220-A582-B1623E3F270F}" dt="2026-06-01T16:37:28.639" v="2809"/>
            <ac:spMkLst>
              <pc:docMk/>
              <pc:sldMasterMk cId="1288455799" sldId="2147487484"/>
              <pc:sldLayoutMk cId="1668228326" sldId="2147489472"/>
              <ac:spMk id="1758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446860756" sldId="2147489473"/>
          </pc:sldLayoutMkLst>
          <pc:spChg chg="mod">
            <ac:chgData name="Rebecca Hannah Ainis" userId="116137a0-2af5-436b-85e1-74d9d3b30f2f" providerId="ADAL" clId="{6E039243-4417-4220-A582-B1623E3F270F}" dt="2026-06-01T16:37:28.639" v="2809"/>
            <ac:spMkLst>
              <pc:docMk/>
              <pc:sldMasterMk cId="1288455799" sldId="2147487484"/>
              <pc:sldLayoutMk cId="2446860756" sldId="2147489473"/>
              <ac:spMk id="1759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46860756" sldId="2147489473"/>
              <ac:spMk id="1759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46860756" sldId="2147489473"/>
              <ac:spMk id="175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46860756" sldId="2147489473"/>
              <ac:spMk id="1760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86021363" sldId="2147489474"/>
          </pc:sldLayoutMkLst>
          <pc:spChg chg="mod">
            <ac:chgData name="Rebecca Hannah Ainis" userId="116137a0-2af5-436b-85e1-74d9d3b30f2f" providerId="ADAL" clId="{6E039243-4417-4220-A582-B1623E3F270F}" dt="2026-06-01T16:37:28.639" v="2809"/>
            <ac:spMkLst>
              <pc:docMk/>
              <pc:sldMasterMk cId="1288455799" sldId="2147487484"/>
              <pc:sldLayoutMk cId="3986021363" sldId="2147489474"/>
              <ac:spMk id="1760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86021363" sldId="2147489474"/>
              <ac:spMk id="1761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86021363" sldId="2147489474"/>
              <ac:spMk id="176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86021363" sldId="2147489474"/>
              <ac:spMk id="1761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19176867" sldId="2147489475"/>
          </pc:sldLayoutMkLst>
          <pc:spChg chg="mod">
            <ac:chgData name="Rebecca Hannah Ainis" userId="116137a0-2af5-436b-85e1-74d9d3b30f2f" providerId="ADAL" clId="{6E039243-4417-4220-A582-B1623E3F270F}" dt="2026-06-01T16:37:28.639" v="2809"/>
            <ac:spMkLst>
              <pc:docMk/>
              <pc:sldMasterMk cId="1288455799" sldId="2147487484"/>
              <pc:sldLayoutMk cId="1419176867" sldId="2147489475"/>
              <ac:spMk id="1762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9176867" sldId="2147489475"/>
              <ac:spMk id="1762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9176867" sldId="2147489475"/>
              <ac:spMk id="176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9176867" sldId="2147489475"/>
              <ac:spMk id="176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19176867" sldId="2147489475"/>
              <ac:spMk id="1763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226397970" sldId="2147489476"/>
          </pc:sldLayoutMkLst>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3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4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4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4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4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26397970" sldId="2147489476"/>
              <ac:spMk id="1764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16882693" sldId="2147489477"/>
          </pc:sldLayoutMkLst>
          <pc:spChg chg="mod">
            <ac:chgData name="Rebecca Hannah Ainis" userId="116137a0-2af5-436b-85e1-74d9d3b30f2f" providerId="ADAL" clId="{6E039243-4417-4220-A582-B1623E3F270F}" dt="2026-06-01T16:37:28.639" v="2809"/>
            <ac:spMkLst>
              <pc:docMk/>
              <pc:sldMasterMk cId="1288455799" sldId="2147487484"/>
              <pc:sldLayoutMk cId="416882693" sldId="2147489477"/>
              <ac:spMk id="176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6882693" sldId="2147489477"/>
              <ac:spMk id="176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6882693" sldId="2147489477"/>
              <ac:spMk id="1765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667725111" sldId="2147489478"/>
          </pc:sldLayoutMkLst>
          <pc:spChg chg="mod">
            <ac:chgData name="Rebecca Hannah Ainis" userId="116137a0-2af5-436b-85e1-74d9d3b30f2f" providerId="ADAL" clId="{6E039243-4417-4220-A582-B1623E3F270F}" dt="2026-06-01T16:37:28.639" v="2809"/>
            <ac:spMkLst>
              <pc:docMk/>
              <pc:sldMasterMk cId="1288455799" sldId="2147487484"/>
              <pc:sldLayoutMk cId="1667725111" sldId="2147489478"/>
              <ac:spMk id="1766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667725111" sldId="2147489478"/>
              <ac:spMk id="1766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072745620" sldId="2147489479"/>
          </pc:sldLayoutMkLst>
          <pc:spChg chg="mod">
            <ac:chgData name="Rebecca Hannah Ainis" userId="116137a0-2af5-436b-85e1-74d9d3b30f2f" providerId="ADAL" clId="{6E039243-4417-4220-A582-B1623E3F270F}" dt="2026-06-01T16:37:28.639" v="2809"/>
            <ac:spMkLst>
              <pc:docMk/>
              <pc:sldMasterMk cId="1288455799" sldId="2147487484"/>
              <pc:sldLayoutMk cId="1072745620" sldId="2147489479"/>
              <ac:spMk id="176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072745620" sldId="2147489479"/>
              <ac:spMk id="1766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920124914" sldId="2147489480"/>
          </pc:sldLayoutMkLst>
          <pc:spChg chg="mod">
            <ac:chgData name="Rebecca Hannah Ainis" userId="116137a0-2af5-436b-85e1-74d9d3b30f2f" providerId="ADAL" clId="{6E039243-4417-4220-A582-B1623E3F270F}" dt="2026-06-01T16:37:28.639" v="2809"/>
            <ac:spMkLst>
              <pc:docMk/>
              <pc:sldMasterMk cId="1288455799" sldId="2147487484"/>
              <pc:sldLayoutMk cId="3920124914" sldId="2147489480"/>
              <ac:spMk id="176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20124914" sldId="2147489480"/>
              <ac:spMk id="1767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908803459" sldId="2147489481"/>
          </pc:sldLayoutMkLst>
          <pc:spChg chg="mod">
            <ac:chgData name="Rebecca Hannah Ainis" userId="116137a0-2af5-436b-85e1-74d9d3b30f2f" providerId="ADAL" clId="{6E039243-4417-4220-A582-B1623E3F270F}" dt="2026-06-01T16:37:28.639" v="2809"/>
            <ac:spMkLst>
              <pc:docMk/>
              <pc:sldMasterMk cId="1288455799" sldId="2147487484"/>
              <pc:sldLayoutMk cId="908803459" sldId="2147489481"/>
              <ac:spMk id="176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08803459" sldId="2147489481"/>
              <ac:spMk id="1768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62180217" sldId="2147489482"/>
          </pc:sldLayoutMkLst>
          <pc:spChg chg="mod">
            <ac:chgData name="Rebecca Hannah Ainis" userId="116137a0-2af5-436b-85e1-74d9d3b30f2f" providerId="ADAL" clId="{6E039243-4417-4220-A582-B1623E3F270F}" dt="2026-06-01T16:37:28.639" v="2809"/>
            <ac:spMkLst>
              <pc:docMk/>
              <pc:sldMasterMk cId="1288455799" sldId="2147487484"/>
              <pc:sldLayoutMk cId="462180217" sldId="2147489482"/>
              <ac:spMk id="1769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869207276" sldId="2147489483"/>
          </pc:sldLayoutMkLst>
          <pc:spChg chg="mod">
            <ac:chgData name="Rebecca Hannah Ainis" userId="116137a0-2af5-436b-85e1-74d9d3b30f2f" providerId="ADAL" clId="{6E039243-4417-4220-A582-B1623E3F270F}" dt="2026-06-01T16:37:28.639" v="2809"/>
            <ac:spMkLst>
              <pc:docMk/>
              <pc:sldMasterMk cId="1288455799" sldId="2147487484"/>
              <pc:sldLayoutMk cId="2869207276" sldId="2147489483"/>
              <ac:spMk id="176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69207276" sldId="2147489483"/>
              <ac:spMk id="176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69207276" sldId="2147489483"/>
              <ac:spMk id="177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69207276" sldId="2147489483"/>
              <ac:spMk id="1770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51255660" sldId="2147489484"/>
          </pc:sldLayoutMkLst>
          <pc:spChg chg="mod">
            <ac:chgData name="Rebecca Hannah Ainis" userId="116137a0-2af5-436b-85e1-74d9d3b30f2f" providerId="ADAL" clId="{6E039243-4417-4220-A582-B1623E3F270F}" dt="2026-06-01T16:37:28.639" v="2809"/>
            <ac:spMkLst>
              <pc:docMk/>
              <pc:sldMasterMk cId="1288455799" sldId="2147487484"/>
              <pc:sldLayoutMk cId="1351255660" sldId="2147489484"/>
              <ac:spMk id="177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51255660" sldId="2147489484"/>
              <ac:spMk id="177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51255660" sldId="2147489484"/>
              <ac:spMk id="177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51255660" sldId="2147489484"/>
              <ac:spMk id="1771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357368569" sldId="2147489485"/>
          </pc:sldLayoutMkLst>
          <pc:spChg chg="mod">
            <ac:chgData name="Rebecca Hannah Ainis" userId="116137a0-2af5-436b-85e1-74d9d3b30f2f" providerId="ADAL" clId="{6E039243-4417-4220-A582-B1623E3F270F}" dt="2026-06-01T16:37:28.639" v="2809"/>
            <ac:spMkLst>
              <pc:docMk/>
              <pc:sldMasterMk cId="1288455799" sldId="2147487484"/>
              <pc:sldLayoutMk cId="3357368569" sldId="2147489485"/>
              <ac:spMk id="177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57368569" sldId="2147489485"/>
              <ac:spMk id="1772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57368569" sldId="2147489485"/>
              <ac:spMk id="1773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57368569" sldId="2147489485"/>
              <ac:spMk id="1773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80545457" sldId="2147489486"/>
          </pc:sldLayoutMkLst>
          <pc:spChg chg="mod">
            <ac:chgData name="Rebecca Hannah Ainis" userId="116137a0-2af5-436b-85e1-74d9d3b30f2f" providerId="ADAL" clId="{6E039243-4417-4220-A582-B1623E3F270F}" dt="2026-06-01T16:37:28.639" v="2809"/>
            <ac:spMkLst>
              <pc:docMk/>
              <pc:sldMasterMk cId="1288455799" sldId="2147487484"/>
              <pc:sldLayoutMk cId="280545457" sldId="2147489486"/>
              <ac:spMk id="1773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545457" sldId="2147489486"/>
              <ac:spMk id="177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545457" sldId="2147489486"/>
              <ac:spMk id="1774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545457" sldId="2147489486"/>
              <ac:spMk id="1774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0545457" sldId="2147489486"/>
              <ac:spMk id="1774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88226619" sldId="2147489487"/>
          </pc:sldLayoutMkLst>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88226619" sldId="2147489487"/>
              <ac:spMk id="17758"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438296967" sldId="2147489488"/>
          </pc:sldLayoutMkLst>
          <pc:spChg chg="mod">
            <ac:chgData name="Rebecca Hannah Ainis" userId="116137a0-2af5-436b-85e1-74d9d3b30f2f" providerId="ADAL" clId="{6E039243-4417-4220-A582-B1623E3F270F}" dt="2026-06-01T16:37:28.639" v="2809"/>
            <ac:spMkLst>
              <pc:docMk/>
              <pc:sldMasterMk cId="1288455799" sldId="2147487484"/>
              <pc:sldLayoutMk cId="2438296967" sldId="2147489488"/>
              <ac:spMk id="177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8296967" sldId="2147489488"/>
              <ac:spMk id="177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38296967" sldId="2147489488"/>
              <ac:spMk id="1776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864867549" sldId="2147489489"/>
          </pc:sldLayoutMkLst>
          <pc:spChg chg="mod">
            <ac:chgData name="Rebecca Hannah Ainis" userId="116137a0-2af5-436b-85e1-74d9d3b30f2f" providerId="ADAL" clId="{6E039243-4417-4220-A582-B1623E3F270F}" dt="2026-06-01T16:37:28.639" v="2809"/>
            <ac:spMkLst>
              <pc:docMk/>
              <pc:sldMasterMk cId="1288455799" sldId="2147487484"/>
              <pc:sldLayoutMk cId="3864867549" sldId="2147489489"/>
              <ac:spMk id="1777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64867549" sldId="2147489489"/>
              <ac:spMk id="1777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13342161" sldId="2147489490"/>
          </pc:sldLayoutMkLst>
          <pc:spChg chg="mod">
            <ac:chgData name="Rebecca Hannah Ainis" userId="116137a0-2af5-436b-85e1-74d9d3b30f2f" providerId="ADAL" clId="{6E039243-4417-4220-A582-B1623E3F270F}" dt="2026-06-01T16:37:28.639" v="2809"/>
            <ac:spMkLst>
              <pc:docMk/>
              <pc:sldMasterMk cId="1288455799" sldId="2147487484"/>
              <pc:sldLayoutMk cId="413342161" sldId="2147489490"/>
              <ac:spMk id="1777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13342161" sldId="2147489490"/>
              <ac:spMk id="1778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85224694" sldId="2147489491"/>
          </pc:sldLayoutMkLst>
          <pc:spChg chg="mod">
            <ac:chgData name="Rebecca Hannah Ainis" userId="116137a0-2af5-436b-85e1-74d9d3b30f2f" providerId="ADAL" clId="{6E039243-4417-4220-A582-B1623E3F270F}" dt="2026-06-01T16:37:28.639" v="2809"/>
            <ac:spMkLst>
              <pc:docMk/>
              <pc:sldMasterMk cId="1288455799" sldId="2147487484"/>
              <pc:sldLayoutMk cId="2285224694" sldId="2147489491"/>
              <ac:spMk id="177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5224694" sldId="2147489491"/>
              <ac:spMk id="177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5224694" sldId="2147489491"/>
              <ac:spMk id="177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5224694" sldId="2147489491"/>
              <ac:spMk id="1779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18593421" sldId="2147489492"/>
          </pc:sldLayoutMkLst>
          <pc:spChg chg="mod">
            <ac:chgData name="Rebecca Hannah Ainis" userId="116137a0-2af5-436b-85e1-74d9d3b30f2f" providerId="ADAL" clId="{6E039243-4417-4220-A582-B1623E3F270F}" dt="2026-06-01T16:37:28.639" v="2809"/>
            <ac:spMkLst>
              <pc:docMk/>
              <pc:sldMasterMk cId="1288455799" sldId="2147487484"/>
              <pc:sldLayoutMk cId="2218593421" sldId="2147489492"/>
              <ac:spMk id="178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18593421" sldId="2147489492"/>
              <ac:spMk id="178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18593421" sldId="2147489492"/>
              <ac:spMk id="178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18593421" sldId="2147489492"/>
              <ac:spMk id="1780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592581134" sldId="2147489493"/>
          </pc:sldLayoutMkLst>
          <pc:spChg chg="mod">
            <ac:chgData name="Rebecca Hannah Ainis" userId="116137a0-2af5-436b-85e1-74d9d3b30f2f" providerId="ADAL" clId="{6E039243-4417-4220-A582-B1623E3F270F}" dt="2026-06-01T16:37:28.639" v="2809"/>
            <ac:spMkLst>
              <pc:docMk/>
              <pc:sldMasterMk cId="1288455799" sldId="2147487484"/>
              <pc:sldLayoutMk cId="1592581134" sldId="2147489493"/>
              <ac:spMk id="178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92581134" sldId="2147489493"/>
              <ac:spMk id="178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92581134" sldId="2147489493"/>
              <ac:spMk id="1781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92581134" sldId="2147489493"/>
              <ac:spMk id="1781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376939068" sldId="2147489494"/>
          </pc:sldLayoutMkLst>
          <pc:spChg chg="mod">
            <ac:chgData name="Rebecca Hannah Ainis" userId="116137a0-2af5-436b-85e1-74d9d3b30f2f" providerId="ADAL" clId="{6E039243-4417-4220-A582-B1623E3F270F}" dt="2026-06-01T16:37:28.639" v="2809"/>
            <ac:spMkLst>
              <pc:docMk/>
              <pc:sldMasterMk cId="1288455799" sldId="2147487484"/>
              <pc:sldLayoutMk cId="2376939068" sldId="2147489494"/>
              <ac:spMk id="178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76939068" sldId="2147489494"/>
              <ac:spMk id="1781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76939068" sldId="2147489494"/>
              <ac:spMk id="178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76939068" sldId="2147489494"/>
              <ac:spMk id="1782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545213210" sldId="2147489495"/>
          </pc:sldLayoutMkLst>
          <pc:spChg chg="mod">
            <ac:chgData name="Rebecca Hannah Ainis" userId="116137a0-2af5-436b-85e1-74d9d3b30f2f" providerId="ADAL" clId="{6E039243-4417-4220-A582-B1623E3F270F}" dt="2026-06-01T16:37:28.639" v="2809"/>
            <ac:spMkLst>
              <pc:docMk/>
              <pc:sldMasterMk cId="1288455799" sldId="2147487484"/>
              <pc:sldLayoutMk cId="2545213210" sldId="2147489495"/>
              <ac:spMk id="178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45213210" sldId="2147489495"/>
              <ac:spMk id="178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45213210" sldId="2147489495"/>
              <ac:spMk id="1782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45213210" sldId="2147489495"/>
              <ac:spMk id="178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45213210" sldId="2147489495"/>
              <ac:spMk id="178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545213210" sldId="2147489495"/>
              <ac:spMk id="1783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339024905" sldId="2147489496"/>
          </pc:sldLayoutMkLst>
          <pc:spChg chg="mod">
            <ac:chgData name="Rebecca Hannah Ainis" userId="116137a0-2af5-436b-85e1-74d9d3b30f2f" providerId="ADAL" clId="{6E039243-4417-4220-A582-B1623E3F270F}" dt="2026-06-01T16:37:28.639" v="2809"/>
            <ac:spMkLst>
              <pc:docMk/>
              <pc:sldMasterMk cId="1288455799" sldId="2147487484"/>
              <pc:sldLayoutMk cId="2339024905" sldId="2147489496"/>
              <ac:spMk id="1783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39024905" sldId="2147489496"/>
              <ac:spMk id="1784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39024905" sldId="2147489496"/>
              <ac:spMk id="1784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39024905" sldId="2147489496"/>
              <ac:spMk id="1784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841138500" sldId="2147489497"/>
          </pc:sldLayoutMkLst>
          <pc:spChg chg="mod">
            <ac:chgData name="Rebecca Hannah Ainis" userId="116137a0-2af5-436b-85e1-74d9d3b30f2f" providerId="ADAL" clId="{6E039243-4417-4220-A582-B1623E3F270F}" dt="2026-06-01T16:37:28.639" v="2809"/>
            <ac:spMkLst>
              <pc:docMk/>
              <pc:sldMasterMk cId="1288455799" sldId="2147487484"/>
              <pc:sldLayoutMk cId="1841138500" sldId="2147489497"/>
              <ac:spMk id="1784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41138500" sldId="2147489497"/>
              <ac:spMk id="178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41138500" sldId="2147489497"/>
              <ac:spMk id="1784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41138500" sldId="2147489497"/>
              <ac:spMk id="1784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26839485" sldId="2147489498"/>
          </pc:sldLayoutMkLst>
          <pc:spChg chg="mod">
            <ac:chgData name="Rebecca Hannah Ainis" userId="116137a0-2af5-436b-85e1-74d9d3b30f2f" providerId="ADAL" clId="{6E039243-4417-4220-A582-B1623E3F270F}" dt="2026-06-01T16:37:28.639" v="2809"/>
            <ac:spMkLst>
              <pc:docMk/>
              <pc:sldMasterMk cId="1288455799" sldId="2147487484"/>
              <pc:sldLayoutMk cId="2126839485" sldId="2147489498"/>
              <ac:spMk id="178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26839485" sldId="2147489498"/>
              <ac:spMk id="178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26839485" sldId="2147489498"/>
              <ac:spMk id="178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26839485" sldId="2147489498"/>
              <ac:spMk id="178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26839485" sldId="2147489498"/>
              <ac:spMk id="178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26839485" sldId="2147489498"/>
              <ac:spMk id="1785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113892574" sldId="2147489499"/>
          </pc:sldLayoutMkLst>
          <pc:spChg chg="mod">
            <ac:chgData name="Rebecca Hannah Ainis" userId="116137a0-2af5-436b-85e1-74d9d3b30f2f" providerId="ADAL" clId="{6E039243-4417-4220-A582-B1623E3F270F}" dt="2026-06-01T16:37:28.639" v="2809"/>
            <ac:spMkLst>
              <pc:docMk/>
              <pc:sldMasterMk cId="1288455799" sldId="2147487484"/>
              <pc:sldLayoutMk cId="3113892574" sldId="2147489499"/>
              <ac:spMk id="1786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113892574" sldId="2147489499"/>
              <ac:spMk id="1786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741600492" sldId="2147489500"/>
          </pc:sldLayoutMkLst>
          <pc:spChg chg="mod">
            <ac:chgData name="Rebecca Hannah Ainis" userId="116137a0-2af5-436b-85e1-74d9d3b30f2f" providerId="ADAL" clId="{6E039243-4417-4220-A582-B1623E3F270F}" dt="2026-06-01T16:37:28.639" v="2809"/>
            <ac:spMkLst>
              <pc:docMk/>
              <pc:sldMasterMk cId="1288455799" sldId="2147487484"/>
              <pc:sldLayoutMk cId="1741600492" sldId="2147489500"/>
              <ac:spMk id="1787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41600492" sldId="2147489500"/>
              <ac:spMk id="1787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05243898" sldId="2147489501"/>
          </pc:sldLayoutMkLst>
          <pc:spChg chg="mod">
            <ac:chgData name="Rebecca Hannah Ainis" userId="116137a0-2af5-436b-85e1-74d9d3b30f2f" providerId="ADAL" clId="{6E039243-4417-4220-A582-B1623E3F270F}" dt="2026-06-01T16:37:28.639" v="2809"/>
            <ac:spMkLst>
              <pc:docMk/>
              <pc:sldMasterMk cId="1288455799" sldId="2147487484"/>
              <pc:sldLayoutMk cId="2105243898" sldId="2147489501"/>
              <ac:spMk id="178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05243898" sldId="2147489501"/>
              <ac:spMk id="178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05243898" sldId="2147489501"/>
              <ac:spMk id="1787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065019577" sldId="2147489502"/>
          </pc:sldLayoutMkLst>
          <pc:spChg chg="mod">
            <ac:chgData name="Rebecca Hannah Ainis" userId="116137a0-2af5-436b-85e1-74d9d3b30f2f" providerId="ADAL" clId="{6E039243-4417-4220-A582-B1623E3F270F}" dt="2026-06-01T16:37:28.639" v="2809"/>
            <ac:spMkLst>
              <pc:docMk/>
              <pc:sldMasterMk cId="1288455799" sldId="2147487484"/>
              <pc:sldLayoutMk cId="4065019577" sldId="2147489502"/>
              <ac:spMk id="1788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5019577" sldId="2147489502"/>
              <ac:spMk id="178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5019577" sldId="2147489502"/>
              <ac:spMk id="178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65019577" sldId="2147489502"/>
              <ac:spMk id="1788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558215679" sldId="2147489503"/>
          </pc:sldLayoutMkLst>
          <pc:spChg chg="mod">
            <ac:chgData name="Rebecca Hannah Ainis" userId="116137a0-2af5-436b-85e1-74d9d3b30f2f" providerId="ADAL" clId="{6E039243-4417-4220-A582-B1623E3F270F}" dt="2026-06-01T16:37:28.639" v="2809"/>
            <ac:spMkLst>
              <pc:docMk/>
              <pc:sldMasterMk cId="1288455799" sldId="2147487484"/>
              <pc:sldLayoutMk cId="1558215679" sldId="2147489503"/>
              <ac:spMk id="178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8215679" sldId="2147489503"/>
              <ac:spMk id="178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8215679" sldId="2147489503"/>
              <ac:spMk id="178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8215679" sldId="2147489503"/>
              <ac:spMk id="178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8215679" sldId="2147489503"/>
              <ac:spMk id="178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58215679" sldId="2147489503"/>
              <ac:spMk id="1789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736995896" sldId="2147489504"/>
          </pc:sldLayoutMkLst>
          <pc:spChg chg="mod">
            <ac:chgData name="Rebecca Hannah Ainis" userId="116137a0-2af5-436b-85e1-74d9d3b30f2f" providerId="ADAL" clId="{6E039243-4417-4220-A582-B1623E3F270F}" dt="2026-06-01T16:37:28.639" v="2809"/>
            <ac:spMkLst>
              <pc:docMk/>
              <pc:sldMasterMk cId="1288455799" sldId="2147487484"/>
              <pc:sldLayoutMk cId="3736995896" sldId="2147489504"/>
              <ac:spMk id="1790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36995896" sldId="2147489504"/>
              <ac:spMk id="1790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36995896" sldId="2147489504"/>
              <ac:spMk id="1790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736995896" sldId="2147489504"/>
              <ac:spMk id="1790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41592551" sldId="2147489505"/>
          </pc:sldLayoutMkLst>
          <pc:spChg chg="mod">
            <ac:chgData name="Rebecca Hannah Ainis" userId="116137a0-2af5-436b-85e1-74d9d3b30f2f" providerId="ADAL" clId="{6E039243-4417-4220-A582-B1623E3F270F}" dt="2026-06-01T16:37:28.639" v="2809"/>
            <ac:spMkLst>
              <pc:docMk/>
              <pc:sldMasterMk cId="1288455799" sldId="2147487484"/>
              <pc:sldLayoutMk cId="941592551" sldId="2147489505"/>
              <ac:spMk id="1791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41592551" sldId="2147489505"/>
              <ac:spMk id="179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41592551" sldId="2147489505"/>
              <ac:spMk id="179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41592551" sldId="2147489505"/>
              <ac:spMk id="179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41592551" sldId="2147489505"/>
              <ac:spMk id="1791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60992854" sldId="2147489506"/>
          </pc:sldLayoutMkLst>
          <pc:spChg chg="mod">
            <ac:chgData name="Rebecca Hannah Ainis" userId="116137a0-2af5-436b-85e1-74d9d3b30f2f" providerId="ADAL" clId="{6E039243-4417-4220-A582-B1623E3F270F}" dt="2026-06-01T16:37:28.639" v="2809"/>
            <ac:spMkLst>
              <pc:docMk/>
              <pc:sldMasterMk cId="1288455799" sldId="2147487484"/>
              <pc:sldLayoutMk cId="460992854" sldId="2147489506"/>
              <ac:spMk id="1791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60992854" sldId="2147489506"/>
              <ac:spMk id="1791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60992854" sldId="2147489506"/>
              <ac:spMk id="1791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60992854" sldId="2147489506"/>
              <ac:spMk id="1791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60992854" sldId="2147489506"/>
              <ac:spMk id="179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60992854" sldId="2147489506"/>
              <ac:spMk id="1792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243195837" sldId="2147489507"/>
          </pc:sldLayoutMkLst>
          <pc:spChg chg="mod">
            <ac:chgData name="Rebecca Hannah Ainis" userId="116137a0-2af5-436b-85e1-74d9d3b30f2f" providerId="ADAL" clId="{6E039243-4417-4220-A582-B1623E3F270F}" dt="2026-06-01T16:37:28.639" v="2809"/>
            <ac:spMkLst>
              <pc:docMk/>
              <pc:sldMasterMk cId="1288455799" sldId="2147487484"/>
              <pc:sldLayoutMk cId="1243195837" sldId="2147489507"/>
              <ac:spMk id="179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43195837" sldId="2147489507"/>
              <ac:spMk id="1792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43195837" sldId="2147489507"/>
              <ac:spMk id="1792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243195837" sldId="2147489507"/>
              <ac:spMk id="1793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70453965" sldId="2147489508"/>
          </pc:sldLayoutMkLst>
          <pc:spChg chg="mod">
            <ac:chgData name="Rebecca Hannah Ainis" userId="116137a0-2af5-436b-85e1-74d9d3b30f2f" providerId="ADAL" clId="{6E039243-4417-4220-A582-B1623E3F270F}" dt="2026-06-01T16:37:28.639" v="2809"/>
            <ac:spMkLst>
              <pc:docMk/>
              <pc:sldMasterMk cId="1288455799" sldId="2147487484"/>
              <pc:sldLayoutMk cId="3070453965" sldId="2147489508"/>
              <ac:spMk id="1793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70453965" sldId="2147489508"/>
              <ac:spMk id="179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70453965" sldId="2147489508"/>
              <ac:spMk id="179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70453965" sldId="2147489508"/>
              <ac:spMk id="1793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451389244" sldId="2147489509"/>
          </pc:sldLayoutMkLst>
          <pc:spChg chg="mod">
            <ac:chgData name="Rebecca Hannah Ainis" userId="116137a0-2af5-436b-85e1-74d9d3b30f2f" providerId="ADAL" clId="{6E039243-4417-4220-A582-B1623E3F270F}" dt="2026-06-01T16:37:28.639" v="2809"/>
            <ac:spMkLst>
              <pc:docMk/>
              <pc:sldMasterMk cId="1288455799" sldId="2147487484"/>
              <pc:sldLayoutMk cId="2451389244" sldId="2147489509"/>
              <ac:spMk id="1794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51389244" sldId="2147489509"/>
              <ac:spMk id="1795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51389244" sldId="2147489509"/>
              <ac:spMk id="179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51389244" sldId="2147489509"/>
              <ac:spMk id="1795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968711478" sldId="2147489510"/>
          </pc:sldLayoutMkLst>
          <pc:spChg chg="mod">
            <ac:chgData name="Rebecca Hannah Ainis" userId="116137a0-2af5-436b-85e1-74d9d3b30f2f" providerId="ADAL" clId="{6E039243-4417-4220-A582-B1623E3F270F}" dt="2026-06-01T16:37:28.639" v="2809"/>
            <ac:spMkLst>
              <pc:docMk/>
              <pc:sldMasterMk cId="1288455799" sldId="2147487484"/>
              <pc:sldLayoutMk cId="1968711478" sldId="2147489510"/>
              <ac:spMk id="179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968711478" sldId="2147489510"/>
              <ac:spMk id="17958"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680319885" sldId="2147489511"/>
          </pc:sldLayoutMkLst>
          <pc:spChg chg="mod">
            <ac:chgData name="Rebecca Hannah Ainis" userId="116137a0-2af5-436b-85e1-74d9d3b30f2f" providerId="ADAL" clId="{6E039243-4417-4220-A582-B1623E3F270F}" dt="2026-06-01T16:37:28.639" v="2809"/>
            <ac:spMkLst>
              <pc:docMk/>
              <pc:sldMasterMk cId="1288455799" sldId="2147487484"/>
              <pc:sldLayoutMk cId="2680319885" sldId="2147489511"/>
              <ac:spMk id="1796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80319885" sldId="2147489511"/>
              <ac:spMk id="1797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984136826" sldId="2147489512"/>
          </pc:sldLayoutMkLst>
          <pc:spChg chg="mod">
            <ac:chgData name="Rebecca Hannah Ainis" userId="116137a0-2af5-436b-85e1-74d9d3b30f2f" providerId="ADAL" clId="{6E039243-4417-4220-A582-B1623E3F270F}" dt="2026-06-01T16:37:28.639" v="2809"/>
            <ac:spMkLst>
              <pc:docMk/>
              <pc:sldMasterMk cId="1288455799" sldId="2147487484"/>
              <pc:sldLayoutMk cId="2984136826" sldId="2147489512"/>
              <ac:spMk id="1797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98476325" sldId="2147489513"/>
          </pc:sldLayoutMkLst>
          <pc:spChg chg="mod">
            <ac:chgData name="Rebecca Hannah Ainis" userId="116137a0-2af5-436b-85e1-74d9d3b30f2f" providerId="ADAL" clId="{6E039243-4417-4220-A582-B1623E3F270F}" dt="2026-06-01T16:37:28.639" v="2809"/>
            <ac:spMkLst>
              <pc:docMk/>
              <pc:sldMasterMk cId="1288455799" sldId="2147487484"/>
              <pc:sldLayoutMk cId="2198476325" sldId="2147489513"/>
              <ac:spMk id="179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98476325" sldId="2147489513"/>
              <ac:spMk id="179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98476325" sldId="2147489513"/>
              <ac:spMk id="1798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98476325" sldId="2147489513"/>
              <ac:spMk id="1798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335724978" sldId="2147489514"/>
          </pc:sldLayoutMkLst>
          <pc:spChg chg="mod">
            <ac:chgData name="Rebecca Hannah Ainis" userId="116137a0-2af5-436b-85e1-74d9d3b30f2f" providerId="ADAL" clId="{6E039243-4417-4220-A582-B1623E3F270F}" dt="2026-06-01T16:37:28.639" v="2809"/>
            <ac:spMkLst>
              <pc:docMk/>
              <pc:sldMasterMk cId="1288455799" sldId="2147487484"/>
              <pc:sldLayoutMk cId="3335724978" sldId="2147489514"/>
              <ac:spMk id="179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35724978" sldId="2147489514"/>
              <ac:spMk id="1799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35724978" sldId="2147489514"/>
              <ac:spMk id="1799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35724978" sldId="2147489514"/>
              <ac:spMk id="17999"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256144204" sldId="2147489515"/>
          </pc:sldLayoutMkLst>
          <pc:spChg chg="mod">
            <ac:chgData name="Rebecca Hannah Ainis" userId="116137a0-2af5-436b-85e1-74d9d3b30f2f" providerId="ADAL" clId="{6E039243-4417-4220-A582-B1623E3F270F}" dt="2026-06-01T16:37:28.639" v="2809"/>
            <ac:spMkLst>
              <pc:docMk/>
              <pc:sldMasterMk cId="1288455799" sldId="2147487484"/>
              <pc:sldLayoutMk cId="3256144204" sldId="2147489515"/>
              <ac:spMk id="180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56144204" sldId="2147489515"/>
              <ac:spMk id="1800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224343533" sldId="2147489516"/>
          </pc:sldLayoutMkLst>
          <pc:spChg chg="mod">
            <ac:chgData name="Rebecca Hannah Ainis" userId="116137a0-2af5-436b-85e1-74d9d3b30f2f" providerId="ADAL" clId="{6E039243-4417-4220-A582-B1623E3F270F}" dt="2026-06-01T16:37:28.639" v="2809"/>
            <ac:spMkLst>
              <pc:docMk/>
              <pc:sldMasterMk cId="1288455799" sldId="2147487484"/>
              <pc:sldLayoutMk cId="2224343533" sldId="2147489516"/>
              <ac:spMk id="1801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24343533" sldId="2147489516"/>
              <ac:spMk id="1801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478269230" sldId="2147489517"/>
          </pc:sldLayoutMkLst>
          <pc:spChg chg="mod">
            <ac:chgData name="Rebecca Hannah Ainis" userId="116137a0-2af5-436b-85e1-74d9d3b30f2f" providerId="ADAL" clId="{6E039243-4417-4220-A582-B1623E3F270F}" dt="2026-06-01T16:37:28.639" v="2809"/>
            <ac:spMkLst>
              <pc:docMk/>
              <pc:sldMasterMk cId="1288455799" sldId="2147487484"/>
              <pc:sldLayoutMk cId="2478269230" sldId="2147489517"/>
              <ac:spMk id="18018"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583559666" sldId="2147489518"/>
          </pc:sldLayoutMkLst>
          <pc:spChg chg="mod">
            <ac:chgData name="Rebecca Hannah Ainis" userId="116137a0-2af5-436b-85e1-74d9d3b30f2f" providerId="ADAL" clId="{6E039243-4417-4220-A582-B1623E3F270F}" dt="2026-06-01T16:37:28.639" v="2809"/>
            <ac:spMkLst>
              <pc:docMk/>
              <pc:sldMasterMk cId="1288455799" sldId="2147487484"/>
              <pc:sldLayoutMk cId="583559666" sldId="2147489518"/>
              <ac:spMk id="180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83559666" sldId="2147489518"/>
              <ac:spMk id="1802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535689667" sldId="2147489519"/>
          </pc:sldLayoutMkLst>
          <pc:spChg chg="mod">
            <ac:chgData name="Rebecca Hannah Ainis" userId="116137a0-2af5-436b-85e1-74d9d3b30f2f" providerId="ADAL" clId="{6E039243-4417-4220-A582-B1623E3F270F}" dt="2026-06-01T16:37:28.639" v="2809"/>
            <ac:spMkLst>
              <pc:docMk/>
              <pc:sldMasterMk cId="1288455799" sldId="2147487484"/>
              <pc:sldLayoutMk cId="535689667" sldId="2147489519"/>
              <ac:spMk id="180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35689667" sldId="2147489519"/>
              <ac:spMk id="180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35689667" sldId="2147489519"/>
              <ac:spMk id="180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35689667" sldId="2147489519"/>
              <ac:spMk id="18039"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97746630" sldId="2147489520"/>
          </pc:sldLayoutMkLst>
          <pc:spChg chg="mod">
            <ac:chgData name="Rebecca Hannah Ainis" userId="116137a0-2af5-436b-85e1-74d9d3b30f2f" providerId="ADAL" clId="{6E039243-4417-4220-A582-B1623E3F270F}" dt="2026-06-01T16:37:28.639" v="2809"/>
            <ac:spMkLst>
              <pc:docMk/>
              <pc:sldMasterMk cId="1288455799" sldId="2147487484"/>
              <pc:sldLayoutMk cId="1497746630" sldId="2147489520"/>
              <ac:spMk id="1804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97746630" sldId="2147489520"/>
              <ac:spMk id="1804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97746630" sldId="2147489520"/>
              <ac:spMk id="180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97746630" sldId="2147489520"/>
              <ac:spMk id="1805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97746630" sldId="2147489520"/>
              <ac:spMk id="18057"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67301145" sldId="2147489521"/>
          </pc:sldLayoutMkLst>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6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6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7301145" sldId="2147489521"/>
              <ac:spMk id="1807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481495997" sldId="2147489522"/>
          </pc:sldLayoutMkLst>
          <pc:spChg chg="mod">
            <ac:chgData name="Rebecca Hannah Ainis" userId="116137a0-2af5-436b-85e1-74d9d3b30f2f" providerId="ADAL" clId="{6E039243-4417-4220-A582-B1623E3F270F}" dt="2026-06-01T16:37:28.639" v="2809"/>
            <ac:spMkLst>
              <pc:docMk/>
              <pc:sldMasterMk cId="1288455799" sldId="2147487484"/>
              <pc:sldLayoutMk cId="2481495997" sldId="2147489522"/>
              <ac:spMk id="1807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81495997" sldId="2147489522"/>
              <ac:spMk id="180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481495997" sldId="2147489522"/>
              <ac:spMk id="1808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274984030" sldId="2147489523"/>
          </pc:sldLayoutMkLst>
          <pc:spChg chg="mod">
            <ac:chgData name="Rebecca Hannah Ainis" userId="116137a0-2af5-436b-85e1-74d9d3b30f2f" providerId="ADAL" clId="{6E039243-4417-4220-A582-B1623E3F270F}" dt="2026-06-01T16:37:28.639" v="2809"/>
            <ac:spMkLst>
              <pc:docMk/>
              <pc:sldMasterMk cId="1288455799" sldId="2147487484"/>
              <pc:sldLayoutMk cId="3274984030" sldId="2147489523"/>
              <ac:spMk id="180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74984030" sldId="2147489523"/>
              <ac:spMk id="18088"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951963187" sldId="2147489524"/>
          </pc:sldLayoutMkLst>
          <pc:spChg chg="mod">
            <ac:chgData name="Rebecca Hannah Ainis" userId="116137a0-2af5-436b-85e1-74d9d3b30f2f" providerId="ADAL" clId="{6E039243-4417-4220-A582-B1623E3F270F}" dt="2026-06-01T16:37:28.639" v="2809"/>
            <ac:spMkLst>
              <pc:docMk/>
              <pc:sldMasterMk cId="1288455799" sldId="2147487484"/>
              <pc:sldLayoutMk cId="2951963187" sldId="2147489524"/>
              <ac:spMk id="180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951963187" sldId="2147489524"/>
              <ac:spMk id="1809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5282224" sldId="2147489525"/>
          </pc:sldLayoutMkLst>
          <pc:spChg chg="mod">
            <ac:chgData name="Rebecca Hannah Ainis" userId="116137a0-2af5-436b-85e1-74d9d3b30f2f" providerId="ADAL" clId="{6E039243-4417-4220-A582-B1623E3F270F}" dt="2026-06-01T16:37:28.639" v="2809"/>
            <ac:spMkLst>
              <pc:docMk/>
              <pc:sldMasterMk cId="1288455799" sldId="2147487484"/>
              <pc:sldLayoutMk cId="115282224" sldId="2147489525"/>
              <ac:spMk id="181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5282224" sldId="2147489525"/>
              <ac:spMk id="181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5282224" sldId="2147489525"/>
              <ac:spMk id="181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5282224" sldId="2147489525"/>
              <ac:spMk id="1810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788644782" sldId="2147489526"/>
          </pc:sldLayoutMkLst>
          <pc:spChg chg="mod">
            <ac:chgData name="Rebecca Hannah Ainis" userId="116137a0-2af5-436b-85e1-74d9d3b30f2f" providerId="ADAL" clId="{6E039243-4417-4220-A582-B1623E3F270F}" dt="2026-06-01T16:37:28.639" v="2809"/>
            <ac:spMkLst>
              <pc:docMk/>
              <pc:sldMasterMk cId="1288455799" sldId="2147487484"/>
              <pc:sldLayoutMk cId="788644782" sldId="2147489526"/>
              <ac:spMk id="181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788644782" sldId="2147489526"/>
              <ac:spMk id="1811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881386554" sldId="2147489527"/>
          </pc:sldLayoutMkLst>
          <pc:spChg chg="mod">
            <ac:chgData name="Rebecca Hannah Ainis" userId="116137a0-2af5-436b-85e1-74d9d3b30f2f" providerId="ADAL" clId="{6E039243-4417-4220-A582-B1623E3F270F}" dt="2026-06-01T16:37:28.639" v="2809"/>
            <ac:spMkLst>
              <pc:docMk/>
              <pc:sldMasterMk cId="1288455799" sldId="2147487484"/>
              <pc:sldLayoutMk cId="2881386554" sldId="2147489527"/>
              <ac:spMk id="1812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81386554" sldId="2147489527"/>
              <ac:spMk id="18122"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637227679" sldId="2147489528"/>
          </pc:sldLayoutMkLst>
          <pc:spChg chg="mod">
            <ac:chgData name="Rebecca Hannah Ainis" userId="116137a0-2af5-436b-85e1-74d9d3b30f2f" providerId="ADAL" clId="{6E039243-4417-4220-A582-B1623E3F270F}" dt="2026-06-01T16:37:28.639" v="2809"/>
            <ac:spMkLst>
              <pc:docMk/>
              <pc:sldMasterMk cId="1288455799" sldId="2147487484"/>
              <pc:sldLayoutMk cId="3637227679" sldId="2147489528"/>
              <ac:spMk id="181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637227679" sldId="2147489528"/>
              <ac:spMk id="1813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986903205" sldId="2147489529"/>
          </pc:sldLayoutMkLst>
          <pc:spChg chg="mod">
            <ac:chgData name="Rebecca Hannah Ainis" userId="116137a0-2af5-436b-85e1-74d9d3b30f2f" providerId="ADAL" clId="{6E039243-4417-4220-A582-B1623E3F270F}" dt="2026-06-01T16:37:28.639" v="2809"/>
            <ac:spMkLst>
              <pc:docMk/>
              <pc:sldMasterMk cId="1288455799" sldId="2147487484"/>
              <pc:sldLayoutMk cId="1986903205" sldId="2147489529"/>
              <ac:spMk id="1813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724367939" sldId="2147489530"/>
          </pc:sldLayoutMkLst>
          <pc:spChg chg="mod">
            <ac:chgData name="Rebecca Hannah Ainis" userId="116137a0-2af5-436b-85e1-74d9d3b30f2f" providerId="ADAL" clId="{6E039243-4417-4220-A582-B1623E3F270F}" dt="2026-06-01T16:37:28.639" v="2809"/>
            <ac:spMkLst>
              <pc:docMk/>
              <pc:sldMasterMk cId="1288455799" sldId="2147487484"/>
              <pc:sldLayoutMk cId="1724367939" sldId="2147489530"/>
              <ac:spMk id="1814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24367939" sldId="2147489530"/>
              <ac:spMk id="1814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24367939" sldId="2147489530"/>
              <ac:spMk id="181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724367939" sldId="2147489530"/>
              <ac:spMk id="1814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4236907668" sldId="2147489531"/>
          </pc:sldLayoutMkLst>
          <pc:spChg chg="mod">
            <ac:chgData name="Rebecca Hannah Ainis" userId="116137a0-2af5-436b-85e1-74d9d3b30f2f" providerId="ADAL" clId="{6E039243-4417-4220-A582-B1623E3F270F}" dt="2026-06-01T16:37:28.639" v="2809"/>
            <ac:spMkLst>
              <pc:docMk/>
              <pc:sldMasterMk cId="1288455799" sldId="2147487484"/>
              <pc:sldLayoutMk cId="4236907668" sldId="2147489531"/>
              <ac:spMk id="1815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36907668" sldId="2147489531"/>
              <ac:spMk id="1815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36907668" sldId="2147489531"/>
              <ac:spMk id="1815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36907668" sldId="2147489531"/>
              <ac:spMk id="18161"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006195566" sldId="2147489532"/>
          </pc:sldLayoutMkLst>
          <pc:spChg chg="mod">
            <ac:chgData name="Rebecca Hannah Ainis" userId="116137a0-2af5-436b-85e1-74d9d3b30f2f" providerId="ADAL" clId="{6E039243-4417-4220-A582-B1623E3F270F}" dt="2026-06-01T16:37:28.639" v="2809"/>
            <ac:spMkLst>
              <pc:docMk/>
              <pc:sldMasterMk cId="1288455799" sldId="2147487484"/>
              <pc:sldLayoutMk cId="2006195566" sldId="2147489532"/>
              <ac:spMk id="1817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06195566" sldId="2147489532"/>
              <ac:spMk id="1817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06195566" sldId="2147489532"/>
              <ac:spMk id="1817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006195566" sldId="2147489532"/>
              <ac:spMk id="1817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362237208" sldId="2147489533"/>
          </pc:sldLayoutMkLst>
          <pc:spChg chg="mod">
            <ac:chgData name="Rebecca Hannah Ainis" userId="116137a0-2af5-436b-85e1-74d9d3b30f2f" providerId="ADAL" clId="{6E039243-4417-4220-A582-B1623E3F270F}" dt="2026-06-01T16:37:28.639" v="2809"/>
            <ac:spMkLst>
              <pc:docMk/>
              <pc:sldMasterMk cId="1288455799" sldId="2147487484"/>
              <pc:sldLayoutMk cId="3362237208" sldId="2147489533"/>
              <ac:spMk id="181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62237208" sldId="2147489533"/>
              <ac:spMk id="1818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62237208" sldId="2147489533"/>
              <ac:spMk id="181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62237208" sldId="2147489533"/>
              <ac:spMk id="181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362237208" sldId="2147489533"/>
              <ac:spMk id="1819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874402742" sldId="2147489534"/>
          </pc:sldLayoutMkLst>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19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19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19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2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2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2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874402742" sldId="2147489534"/>
              <ac:spMk id="1820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038452603" sldId="2147489535"/>
          </pc:sldLayoutMkLst>
          <pc:spChg chg="mod">
            <ac:chgData name="Rebecca Hannah Ainis" userId="116137a0-2af5-436b-85e1-74d9d3b30f2f" providerId="ADAL" clId="{6E039243-4417-4220-A582-B1623E3F270F}" dt="2026-06-01T16:37:28.639" v="2809"/>
            <ac:spMkLst>
              <pc:docMk/>
              <pc:sldMasterMk cId="1288455799" sldId="2147487484"/>
              <pc:sldLayoutMk cId="4038452603" sldId="2147489535"/>
              <ac:spMk id="1821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38452603" sldId="2147489535"/>
              <ac:spMk id="182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038452603" sldId="2147489535"/>
              <ac:spMk id="18214"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74990631" sldId="2147489536"/>
          </pc:sldLayoutMkLst>
          <pc:spChg chg="mod">
            <ac:chgData name="Rebecca Hannah Ainis" userId="116137a0-2af5-436b-85e1-74d9d3b30f2f" providerId="ADAL" clId="{6E039243-4417-4220-A582-B1623E3F270F}" dt="2026-06-01T16:37:28.639" v="2809"/>
            <ac:spMkLst>
              <pc:docMk/>
              <pc:sldMasterMk cId="1288455799" sldId="2147487484"/>
              <pc:sldLayoutMk cId="1374990631" sldId="2147489536"/>
              <ac:spMk id="1822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74990631" sldId="2147489536"/>
              <ac:spMk id="18221"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4270386249" sldId="2147489537"/>
          </pc:sldLayoutMkLst>
          <pc:spChg chg="mod">
            <ac:chgData name="Rebecca Hannah Ainis" userId="116137a0-2af5-436b-85e1-74d9d3b30f2f" providerId="ADAL" clId="{6E039243-4417-4220-A582-B1623E3F270F}" dt="2026-06-01T16:37:28.639" v="2809"/>
            <ac:spMkLst>
              <pc:docMk/>
              <pc:sldMasterMk cId="1288455799" sldId="2147487484"/>
              <pc:sldLayoutMk cId="4270386249" sldId="2147489537"/>
              <ac:spMk id="1822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4270386249" sldId="2147489537"/>
              <ac:spMk id="1822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99861773" sldId="2147489538"/>
          </pc:sldLayoutMkLst>
          <pc:spChg chg="mod">
            <ac:chgData name="Rebecca Hannah Ainis" userId="116137a0-2af5-436b-85e1-74d9d3b30f2f" providerId="ADAL" clId="{6E039243-4417-4220-A582-B1623E3F270F}" dt="2026-06-01T16:37:28.639" v="2809"/>
            <ac:spMkLst>
              <pc:docMk/>
              <pc:sldMasterMk cId="1288455799" sldId="2147487484"/>
              <pc:sldLayoutMk cId="99861773" sldId="2147489538"/>
              <ac:spMk id="1823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9861773" sldId="2147489538"/>
              <ac:spMk id="1823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9861773" sldId="2147489538"/>
              <ac:spMk id="182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99861773" sldId="2147489538"/>
              <ac:spMk id="1823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889966" sldId="2147489539"/>
          </pc:sldLayoutMkLst>
          <pc:spChg chg="mod">
            <ac:chgData name="Rebecca Hannah Ainis" userId="116137a0-2af5-436b-85e1-74d9d3b30f2f" providerId="ADAL" clId="{6E039243-4417-4220-A582-B1623E3F270F}" dt="2026-06-01T16:37:28.639" v="2809"/>
            <ac:spMkLst>
              <pc:docMk/>
              <pc:sldMasterMk cId="1288455799" sldId="2147487484"/>
              <pc:sldLayoutMk cId="22889966" sldId="2147489539"/>
              <ac:spMk id="1824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89966" sldId="2147489539"/>
              <ac:spMk id="1824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89966" sldId="2147489539"/>
              <ac:spMk id="182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89966" sldId="2147489539"/>
              <ac:spMk id="1825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889966" sldId="2147489539"/>
              <ac:spMk id="1825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25183036" sldId="2147489540"/>
          </pc:sldLayoutMkLst>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6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6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6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025183036" sldId="2147489540"/>
              <ac:spMk id="18270"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2645349333" sldId="2147489541"/>
          </pc:sldLayoutMkLst>
          <pc:spChg chg="mod">
            <ac:chgData name="Rebecca Hannah Ainis" userId="116137a0-2af5-436b-85e1-74d9d3b30f2f" providerId="ADAL" clId="{6E039243-4417-4220-A582-B1623E3F270F}" dt="2026-06-01T16:37:28.639" v="2809"/>
            <ac:spMkLst>
              <pc:docMk/>
              <pc:sldMasterMk cId="1288455799" sldId="2147487484"/>
              <pc:sldLayoutMk cId="2645349333" sldId="2147489541"/>
              <ac:spMk id="1827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45349333" sldId="2147489541"/>
              <ac:spMk id="1827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45349333" sldId="2147489541"/>
              <ac:spMk id="1828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161477343" sldId="2147489542"/>
          </pc:sldLayoutMkLst>
          <pc:spChg chg="mod">
            <ac:chgData name="Rebecca Hannah Ainis" userId="116137a0-2af5-436b-85e1-74d9d3b30f2f" providerId="ADAL" clId="{6E039243-4417-4220-A582-B1623E3F270F}" dt="2026-06-01T16:37:28.639" v="2809"/>
            <ac:spMkLst>
              <pc:docMk/>
              <pc:sldMasterMk cId="1288455799" sldId="2147487484"/>
              <pc:sldLayoutMk cId="1161477343" sldId="2147489542"/>
              <ac:spMk id="182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161477343" sldId="2147489542"/>
              <ac:spMk id="18287"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844831813" sldId="2147489543"/>
          </pc:sldLayoutMkLst>
          <pc:spChg chg="mod">
            <ac:chgData name="Rebecca Hannah Ainis" userId="116137a0-2af5-436b-85e1-74d9d3b30f2f" providerId="ADAL" clId="{6E039243-4417-4220-A582-B1623E3F270F}" dt="2026-06-01T16:37:28.639" v="2809"/>
            <ac:spMkLst>
              <pc:docMk/>
              <pc:sldMasterMk cId="1288455799" sldId="2147487484"/>
              <pc:sldLayoutMk cId="1844831813" sldId="2147489543"/>
              <ac:spMk id="182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844831813" sldId="2147489543"/>
              <ac:spMk id="1829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685006527" sldId="2147489544"/>
          </pc:sldLayoutMkLst>
          <pc:spChg chg="mod">
            <ac:chgData name="Rebecca Hannah Ainis" userId="116137a0-2af5-436b-85e1-74d9d3b30f2f" providerId="ADAL" clId="{6E039243-4417-4220-A582-B1623E3F270F}" dt="2026-06-01T16:37:28.639" v="2809"/>
            <ac:spMkLst>
              <pc:docMk/>
              <pc:sldMasterMk cId="1288455799" sldId="2147487484"/>
              <pc:sldLayoutMk cId="2685006527" sldId="2147489544"/>
              <ac:spMk id="1830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85006527" sldId="2147489544"/>
              <ac:spMk id="1830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85006527" sldId="2147489544"/>
              <ac:spMk id="1830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685006527" sldId="2147489544"/>
              <ac:spMk id="1830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590965008" sldId="2147489545"/>
          </pc:sldLayoutMkLst>
          <pc:spChg chg="mod">
            <ac:chgData name="Rebecca Hannah Ainis" userId="116137a0-2af5-436b-85e1-74d9d3b30f2f" providerId="ADAL" clId="{6E039243-4417-4220-A582-B1623E3F270F}" dt="2026-06-01T16:37:28.639" v="2809"/>
            <ac:spMkLst>
              <pc:docMk/>
              <pc:sldMasterMk cId="1288455799" sldId="2147487484"/>
              <pc:sldLayoutMk cId="1590965008" sldId="2147489545"/>
              <ac:spMk id="1831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90965008" sldId="2147489545"/>
              <ac:spMk id="18314"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211199296" sldId="2147489546"/>
          </pc:sldLayoutMkLst>
          <pc:spChg chg="mod">
            <ac:chgData name="Rebecca Hannah Ainis" userId="116137a0-2af5-436b-85e1-74d9d3b30f2f" providerId="ADAL" clId="{6E039243-4417-4220-A582-B1623E3F270F}" dt="2026-06-01T16:37:28.639" v="2809"/>
            <ac:spMkLst>
              <pc:docMk/>
              <pc:sldMasterMk cId="1288455799" sldId="2147487484"/>
              <pc:sldLayoutMk cId="3211199296" sldId="2147489546"/>
              <ac:spMk id="18325"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211199296" sldId="2147489546"/>
              <ac:spMk id="1832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04687369" sldId="2147489547"/>
          </pc:sldLayoutMkLst>
          <pc:spChg chg="mod">
            <ac:chgData name="Rebecca Hannah Ainis" userId="116137a0-2af5-436b-85e1-74d9d3b30f2f" providerId="ADAL" clId="{6E039243-4417-4220-A582-B1623E3F270F}" dt="2026-06-01T16:37:28.639" v="2809"/>
            <ac:spMkLst>
              <pc:docMk/>
              <pc:sldMasterMk cId="1288455799" sldId="2147487484"/>
              <pc:sldLayoutMk cId="304687369" sldId="2147489547"/>
              <ac:spMk id="1832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434063690" sldId="2147489548"/>
          </pc:sldLayoutMkLst>
          <pc:spChg chg="mod">
            <ac:chgData name="Rebecca Hannah Ainis" userId="116137a0-2af5-436b-85e1-74d9d3b30f2f" providerId="ADAL" clId="{6E039243-4417-4220-A582-B1623E3F270F}" dt="2026-06-01T16:37:28.639" v="2809"/>
            <ac:spMkLst>
              <pc:docMk/>
              <pc:sldMasterMk cId="1288455799" sldId="2147487484"/>
              <pc:sldLayoutMk cId="1434063690" sldId="2147489548"/>
              <ac:spMk id="1833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34063690" sldId="2147489548"/>
              <ac:spMk id="1833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34063690" sldId="2147489548"/>
              <ac:spMk id="183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434063690" sldId="2147489548"/>
              <ac:spMk id="1834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574042203" sldId="2147489549"/>
          </pc:sldLayoutMkLst>
          <pc:spChg chg="mod">
            <ac:chgData name="Rebecca Hannah Ainis" userId="116137a0-2af5-436b-85e1-74d9d3b30f2f" providerId="ADAL" clId="{6E039243-4417-4220-A582-B1623E3F270F}" dt="2026-06-01T16:37:28.639" v="2809"/>
            <ac:spMkLst>
              <pc:docMk/>
              <pc:sldMasterMk cId="1288455799" sldId="2147487484"/>
              <pc:sldLayoutMk cId="1574042203" sldId="2147489549"/>
              <ac:spMk id="1834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74042203" sldId="2147489549"/>
              <ac:spMk id="1835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74042203" sldId="2147489549"/>
              <ac:spMk id="183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574042203" sldId="2147489549"/>
              <ac:spMk id="18353"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439909502" sldId="2147489550"/>
          </pc:sldLayoutMkLst>
          <pc:spChg chg="mod">
            <ac:chgData name="Rebecca Hannah Ainis" userId="116137a0-2af5-436b-85e1-74d9d3b30f2f" providerId="ADAL" clId="{6E039243-4417-4220-A582-B1623E3F270F}" dt="2026-06-01T16:37:28.639" v="2809"/>
            <ac:spMkLst>
              <pc:docMk/>
              <pc:sldMasterMk cId="1288455799" sldId="2147487484"/>
              <pc:sldLayoutMk cId="3439909502" sldId="2147489550"/>
              <ac:spMk id="1836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39909502" sldId="2147489550"/>
              <ac:spMk id="1836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39909502" sldId="2147489550"/>
              <ac:spMk id="1836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439909502" sldId="2147489550"/>
              <ac:spMk id="1837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39710818" sldId="2147489551"/>
          </pc:sldLayoutMkLst>
          <pc:spChg chg="mod">
            <ac:chgData name="Rebecca Hannah Ainis" userId="116137a0-2af5-436b-85e1-74d9d3b30f2f" providerId="ADAL" clId="{6E039243-4417-4220-A582-B1623E3F270F}" dt="2026-06-01T16:37:28.639" v="2809"/>
            <ac:spMkLst>
              <pc:docMk/>
              <pc:sldMasterMk cId="1288455799" sldId="2147487484"/>
              <pc:sldLayoutMk cId="239710818" sldId="2147489551"/>
              <ac:spMk id="1837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9710818" sldId="2147489551"/>
              <ac:spMk id="1837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9710818" sldId="2147489551"/>
              <ac:spMk id="1837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9710818" sldId="2147489551"/>
              <ac:spMk id="1838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39710818" sldId="2147489551"/>
              <ac:spMk id="1838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263369923" sldId="2147489552"/>
          </pc:sldLayoutMkLst>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8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9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9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9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9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263369923" sldId="2147489552"/>
              <ac:spMk id="18396"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557023523" sldId="2147489553"/>
          </pc:sldLayoutMkLst>
          <pc:spChg chg="mod">
            <ac:chgData name="Rebecca Hannah Ainis" userId="116137a0-2af5-436b-85e1-74d9d3b30f2f" providerId="ADAL" clId="{6E039243-4417-4220-A582-B1623E3F270F}" dt="2026-06-01T16:37:28.639" v="2809"/>
            <ac:spMkLst>
              <pc:docMk/>
              <pc:sldMasterMk cId="1288455799" sldId="2147487484"/>
              <pc:sldLayoutMk cId="557023523" sldId="2147489553"/>
              <ac:spMk id="1840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57023523" sldId="2147489553"/>
              <ac:spMk id="1840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57023523" sldId="2147489553"/>
              <ac:spMk id="18406"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2167176482" sldId="2147489554"/>
          </pc:sldLayoutMkLst>
          <pc:spChg chg="mod">
            <ac:chgData name="Rebecca Hannah Ainis" userId="116137a0-2af5-436b-85e1-74d9d3b30f2f" providerId="ADAL" clId="{6E039243-4417-4220-A582-B1623E3F270F}" dt="2026-06-01T16:37:28.639" v="2809"/>
            <ac:spMkLst>
              <pc:docMk/>
              <pc:sldMasterMk cId="1288455799" sldId="2147487484"/>
              <pc:sldLayoutMk cId="2167176482" sldId="2147489554"/>
              <ac:spMk id="1841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2167176482" sldId="2147489554"/>
              <ac:spMk id="18413"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1389526359" sldId="2147489555"/>
          </pc:sldLayoutMkLst>
          <pc:spChg chg="mod">
            <ac:chgData name="Rebecca Hannah Ainis" userId="116137a0-2af5-436b-85e1-74d9d3b30f2f" providerId="ADAL" clId="{6E039243-4417-4220-A582-B1623E3F270F}" dt="2026-06-01T16:37:28.639" v="2809"/>
            <ac:spMkLst>
              <pc:docMk/>
              <pc:sldMasterMk cId="1288455799" sldId="2147487484"/>
              <pc:sldLayoutMk cId="1389526359" sldId="2147489555"/>
              <ac:spMk id="1841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89526359" sldId="2147489555"/>
              <ac:spMk id="18418"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596686661" sldId="2147489556"/>
          </pc:sldLayoutMkLst>
          <pc:spChg chg="mod">
            <ac:chgData name="Rebecca Hannah Ainis" userId="116137a0-2af5-436b-85e1-74d9d3b30f2f" providerId="ADAL" clId="{6E039243-4417-4220-A582-B1623E3F270F}" dt="2026-06-01T16:37:28.639" v="2809"/>
            <ac:spMkLst>
              <pc:docMk/>
              <pc:sldMasterMk cId="1288455799" sldId="2147487484"/>
              <pc:sldLayoutMk cId="596686661" sldId="2147489556"/>
              <ac:spMk id="1843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96686661" sldId="2147489556"/>
              <ac:spMk id="1843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96686661" sldId="2147489556"/>
              <ac:spMk id="1843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96686661" sldId="2147489556"/>
              <ac:spMk id="1843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596686661" sldId="2147489556"/>
              <ac:spMk id="1843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854812443" sldId="2147489557"/>
          </pc:sldLayoutMkLst>
          <pc:spChg chg="mod">
            <ac:chgData name="Rebecca Hannah Ainis" userId="116137a0-2af5-436b-85e1-74d9d3b30f2f" providerId="ADAL" clId="{6E039243-4417-4220-A582-B1623E3F270F}" dt="2026-06-01T16:37:28.639" v="2809"/>
            <ac:spMkLst>
              <pc:docMk/>
              <pc:sldMasterMk cId="1288455799" sldId="2147487484"/>
              <pc:sldLayoutMk cId="3854812443" sldId="2147489557"/>
              <ac:spMk id="1843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54812443" sldId="2147489557"/>
              <ac:spMk id="18439"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54812443" sldId="2147489557"/>
              <ac:spMk id="18440"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854812443" sldId="2147489557"/>
              <ac:spMk id="18442"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1324888257" sldId="2147489558"/>
          </pc:sldLayoutMkLst>
          <pc:spChg chg="mod">
            <ac:chgData name="Rebecca Hannah Ainis" userId="116137a0-2af5-436b-85e1-74d9d3b30f2f" providerId="ADAL" clId="{6E039243-4417-4220-A582-B1623E3F270F}" dt="2026-06-01T16:37:28.639" v="2809"/>
            <ac:spMkLst>
              <pc:docMk/>
              <pc:sldMasterMk cId="1288455799" sldId="2147487484"/>
              <pc:sldLayoutMk cId="1324888257" sldId="2147489558"/>
              <ac:spMk id="18451"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24888257" sldId="2147489558"/>
              <ac:spMk id="1845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24888257" sldId="2147489558"/>
              <ac:spMk id="18453"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1324888257" sldId="2147489558"/>
              <ac:spMk id="18455" creationId="{00000000-0000-0000-0000-000000000000}"/>
            </ac:spMkLst>
          </pc:spChg>
        </pc:sldLayoutChg>
        <pc:sldLayoutChg chg="modSp del mod ord">
          <pc:chgData name="Rebecca Hannah Ainis" userId="116137a0-2af5-436b-85e1-74d9d3b30f2f" providerId="ADAL" clId="{6E039243-4417-4220-A582-B1623E3F270F}" dt="2026-06-01T16:37:38.593" v="2810"/>
          <pc:sldLayoutMkLst>
            <pc:docMk/>
            <pc:sldMasterMk cId="1288455799" sldId="2147487484"/>
            <pc:sldLayoutMk cId="3520994001" sldId="2147489559"/>
          </pc:sldLayoutMkLst>
          <pc:spChg chg="mod">
            <ac:chgData name="Rebecca Hannah Ainis" userId="116137a0-2af5-436b-85e1-74d9d3b30f2f" providerId="ADAL" clId="{6E039243-4417-4220-A582-B1623E3F270F}" dt="2026-06-01T16:37:28.639" v="2809"/>
            <ac:spMkLst>
              <pc:docMk/>
              <pc:sldMasterMk cId="1288455799" sldId="2147487484"/>
              <pc:sldLayoutMk cId="3520994001" sldId="2147489559"/>
              <ac:spMk id="18464"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520994001" sldId="2147489559"/>
              <ac:spMk id="18465"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645834206" sldId="2147489560"/>
          </pc:sldLayoutMkLst>
          <pc:spChg chg="mod">
            <ac:chgData name="Rebecca Hannah Ainis" userId="116137a0-2af5-436b-85e1-74d9d3b30f2f" providerId="ADAL" clId="{6E039243-4417-4220-A582-B1623E3F270F}" dt="2026-06-01T16:37:28.639" v="2809"/>
            <ac:spMkLst>
              <pc:docMk/>
              <pc:sldMasterMk cId="1288455799" sldId="2147487484"/>
              <pc:sldLayoutMk cId="645834206" sldId="2147489560"/>
              <ac:spMk id="18486"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45834206" sldId="2147489560"/>
              <ac:spMk id="18487"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45834206" sldId="2147489560"/>
              <ac:spMk id="18488"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645834206" sldId="2147489560"/>
              <ac:spMk id="18490" creationId="{00000000-0000-0000-0000-000000000000}"/>
            </ac:spMkLst>
          </pc:spChg>
        </pc:sldLayoutChg>
        <pc:sldLayoutChg chg="modSp mod ord">
          <pc:chgData name="Rebecca Hannah Ainis" userId="116137a0-2af5-436b-85e1-74d9d3b30f2f" providerId="ADAL" clId="{6E039243-4417-4220-A582-B1623E3F270F}" dt="2026-06-01T16:37:28.639" v="2809"/>
          <pc:sldLayoutMkLst>
            <pc:docMk/>
            <pc:sldMasterMk cId="1288455799" sldId="2147487484"/>
            <pc:sldLayoutMk cId="3997893837" sldId="2147489561"/>
          </pc:sldLayoutMkLst>
          <pc:spChg chg="mod">
            <ac:chgData name="Rebecca Hannah Ainis" userId="116137a0-2af5-436b-85e1-74d9d3b30f2f" providerId="ADAL" clId="{6E039243-4417-4220-A582-B1623E3F270F}" dt="2026-06-01T16:37:28.639" v="2809"/>
            <ac:spMkLst>
              <pc:docMk/>
              <pc:sldMasterMk cId="1288455799" sldId="2147487484"/>
              <pc:sldLayoutMk cId="3997893837" sldId="2147489561"/>
              <ac:spMk id="18492" creationId="{00000000-0000-0000-0000-000000000000}"/>
            </ac:spMkLst>
          </pc:spChg>
          <pc:spChg chg="mod">
            <ac:chgData name="Rebecca Hannah Ainis" userId="116137a0-2af5-436b-85e1-74d9d3b30f2f" providerId="ADAL" clId="{6E039243-4417-4220-A582-B1623E3F270F}" dt="2026-06-01T16:37:28.639" v="2809"/>
            <ac:spMkLst>
              <pc:docMk/>
              <pc:sldMasterMk cId="1288455799" sldId="2147487484"/>
              <pc:sldLayoutMk cId="3997893837" sldId="2147489561"/>
              <ac:spMk id="18497" creationId="{00000000-0000-0000-0000-000000000000}"/>
            </ac:spMkLst>
          </pc:spChg>
        </pc:sldLayoutChg>
      </pc:sldMasterChg>
      <pc:sldMasterChg chg="del sldLayoutOrd">
        <pc:chgData name="Rebecca Hannah Ainis" userId="116137a0-2af5-436b-85e1-74d9d3b30f2f" providerId="ADAL" clId="{6E039243-4417-4220-A582-B1623E3F270F}" dt="2026-06-01T16:37:38.593" v="2810"/>
        <pc:sldMasterMkLst>
          <pc:docMk/>
          <pc:sldMasterMk cId="2438367981" sldId="2147489277"/>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EA6DF3-A058-4B2E-95A6-A71A071BEEAB}" type="doc">
      <dgm:prSet loTypeId="urn:microsoft.com/office/officeart/2005/8/layout/hProcess9" loCatId="process" qsTypeId="urn:microsoft.com/office/officeart/2005/8/quickstyle/simple1" qsCatId="simple" csTypeId="urn:microsoft.com/office/officeart/2005/8/colors/colorful3" csCatId="colorful" phldr="1"/>
      <dgm:spPr/>
      <dgm:t>
        <a:bodyPr/>
        <a:lstStyle/>
        <a:p>
          <a:endParaRPr lang="en-US"/>
        </a:p>
      </dgm:t>
    </dgm:pt>
    <dgm:pt modelId="{BA29B084-9711-4046-B48F-53350CA79C53}">
      <dgm:prSet phldrT="[Text]" custT="1"/>
      <dgm:spPr>
        <a:solidFill>
          <a:schemeClr val="bg2">
            <a:lumMod val="75000"/>
          </a:schemeClr>
        </a:solidFill>
      </dgm:spPr>
      <dgm:t>
        <a:bodyPr/>
        <a:lstStyle/>
        <a:p>
          <a:pPr>
            <a:buClr>
              <a:srgbClr val="444C55"/>
            </a:buClr>
            <a:buSzPts val="2800"/>
            <a:buFont typeface="Calibri"/>
            <a:buNone/>
          </a:pPr>
          <a:r>
            <a:rPr kumimoji="0" lang="en-US" sz="3200" b="1" i="0" u="none" strike="noStrike" cap="none" spc="0" normalizeH="0" baseline="0" noProof="0" dirty="0">
              <a:ln/>
              <a:solidFill>
                <a:schemeClr val="tx1">
                  <a:lumMod val="50000"/>
                </a:schemeClr>
              </a:solidFill>
              <a:effectLst/>
              <a:uLnTx/>
              <a:uFillTx/>
              <a:latin typeface="Calibri"/>
              <a:ea typeface="Calibri"/>
              <a:cs typeface="Calibri"/>
              <a:sym typeface="Calibri"/>
            </a:rPr>
            <a:t>Educate </a:t>
          </a:r>
          <a:br>
            <a:rPr kumimoji="0" lang="en-US" sz="3200" b="1" i="0" u="none" strike="noStrike" cap="none" spc="0" normalizeH="0" baseline="0" noProof="0" dirty="0">
              <a:ln/>
              <a:solidFill>
                <a:schemeClr val="tx1">
                  <a:lumMod val="50000"/>
                </a:schemeClr>
              </a:solidFill>
              <a:effectLst/>
              <a:uLnTx/>
              <a:uFillTx/>
              <a:latin typeface="Calibri"/>
              <a:ea typeface="Calibri"/>
              <a:cs typeface="Calibri"/>
              <a:sym typeface="Calibri"/>
            </a:rPr>
          </a:br>
          <a:r>
            <a:rPr kumimoji="0" lang="en-US" sz="3200" b="0" i="0" u="none" strike="noStrike" cap="none" spc="0" normalizeH="0" baseline="0" noProof="0" dirty="0">
              <a:ln/>
              <a:solidFill>
                <a:schemeClr val="tx1">
                  <a:lumMod val="50000"/>
                </a:schemeClr>
              </a:solidFill>
              <a:effectLst/>
              <a:uLnTx/>
              <a:uFillTx/>
              <a:latin typeface="Calibri"/>
              <a:ea typeface="Calibri"/>
              <a:cs typeface="Calibri"/>
              <a:sym typeface="Calibri"/>
            </a:rPr>
            <a:t>Clinical Staff and Patients</a:t>
          </a:r>
          <a:endParaRPr lang="en-US" sz="3200" b="0" dirty="0">
            <a:solidFill>
              <a:schemeClr val="tx1">
                <a:lumMod val="50000"/>
              </a:schemeClr>
            </a:solidFill>
          </a:endParaRPr>
        </a:p>
      </dgm:t>
    </dgm:pt>
    <dgm:pt modelId="{6BB17838-7454-4DD8-9455-3CD108ADC02E}" type="parTrans" cxnId="{741D77C2-5FEE-43AF-AE15-B34966F28650}">
      <dgm:prSet/>
      <dgm:spPr/>
      <dgm:t>
        <a:bodyPr/>
        <a:lstStyle/>
        <a:p>
          <a:endParaRPr lang="en-US">
            <a:solidFill>
              <a:schemeClr val="tx1">
                <a:lumMod val="50000"/>
              </a:schemeClr>
            </a:solidFill>
          </a:endParaRPr>
        </a:p>
      </dgm:t>
    </dgm:pt>
    <dgm:pt modelId="{1393E0F6-FFE4-494C-9040-39C1CBFF4A72}" type="sibTrans" cxnId="{741D77C2-5FEE-43AF-AE15-B34966F28650}">
      <dgm:prSet/>
      <dgm:spPr/>
      <dgm:t>
        <a:bodyPr/>
        <a:lstStyle/>
        <a:p>
          <a:endParaRPr lang="en-US">
            <a:solidFill>
              <a:schemeClr val="tx1">
                <a:lumMod val="50000"/>
              </a:schemeClr>
            </a:solidFill>
          </a:endParaRPr>
        </a:p>
      </dgm:t>
    </dgm:pt>
    <dgm:pt modelId="{67C49BE8-05A2-4358-87BC-79068C3042A6}">
      <dgm:prSet phldrT="[Text]" custT="1"/>
      <dgm:spPr>
        <a:solidFill>
          <a:schemeClr val="accent3">
            <a:lumMod val="60000"/>
            <a:lumOff val="40000"/>
          </a:schemeClr>
        </a:solidFill>
      </dgm:spPr>
      <dgm:t>
        <a:bodyPr/>
        <a:lstStyle/>
        <a:p>
          <a:pPr>
            <a:buClr>
              <a:srgbClr val="444C55"/>
            </a:buClr>
            <a:buSzPts val="2800"/>
            <a:buFont typeface="Calibri"/>
            <a:buNone/>
          </a:pPr>
          <a:r>
            <a:rPr kumimoji="0" lang="en-US" sz="3200" b="1" i="0" u="none" strike="noStrike" cap="none" spc="0" normalizeH="0" baseline="0" noProof="0" dirty="0">
              <a:ln/>
              <a:solidFill>
                <a:schemeClr val="tx1">
                  <a:lumMod val="50000"/>
                </a:schemeClr>
              </a:solidFill>
              <a:effectLst/>
              <a:uLnTx/>
              <a:uFillTx/>
              <a:latin typeface="Calibri"/>
              <a:ea typeface="Calibri"/>
              <a:cs typeface="Calibri"/>
              <a:sym typeface="Calibri"/>
            </a:rPr>
            <a:t>Screen and Assess </a:t>
          </a:r>
          <a:br>
            <a:rPr kumimoji="0" lang="en-US" sz="3200" b="1" i="0" u="none" strike="noStrike" cap="none" spc="0" normalizeH="0" baseline="0" noProof="0" dirty="0">
              <a:ln/>
              <a:solidFill>
                <a:schemeClr val="tx1">
                  <a:lumMod val="50000"/>
                </a:schemeClr>
              </a:solidFill>
              <a:effectLst/>
              <a:uLnTx/>
              <a:uFillTx/>
              <a:latin typeface="Calibri"/>
              <a:ea typeface="Calibri"/>
              <a:cs typeface="Calibri"/>
              <a:sym typeface="Calibri"/>
            </a:rPr>
          </a:br>
          <a:r>
            <a:rPr kumimoji="0" lang="en-US" sz="3200" b="0" i="0" u="none" strike="noStrike" cap="none" spc="0" normalizeH="0" baseline="0" noProof="0" dirty="0">
              <a:ln/>
              <a:solidFill>
                <a:schemeClr val="tx1">
                  <a:lumMod val="50000"/>
                </a:schemeClr>
              </a:solidFill>
              <a:effectLst/>
              <a:uLnTx/>
              <a:uFillTx/>
              <a:latin typeface="Calibri"/>
              <a:ea typeface="Calibri"/>
              <a:cs typeface="Calibri"/>
              <a:sym typeface="Calibri"/>
            </a:rPr>
            <a:t>for PMH Conditions</a:t>
          </a:r>
          <a:endParaRPr lang="en-US" sz="3200" b="0" dirty="0">
            <a:solidFill>
              <a:schemeClr val="tx1">
                <a:lumMod val="50000"/>
              </a:schemeClr>
            </a:solidFill>
          </a:endParaRPr>
        </a:p>
      </dgm:t>
    </dgm:pt>
    <dgm:pt modelId="{325A9503-9815-4831-9D3E-0A4C97A00DBD}" type="parTrans" cxnId="{04A0838E-1D30-41E5-8021-4435747EA2E8}">
      <dgm:prSet/>
      <dgm:spPr/>
      <dgm:t>
        <a:bodyPr/>
        <a:lstStyle/>
        <a:p>
          <a:endParaRPr lang="en-US">
            <a:solidFill>
              <a:schemeClr val="tx1">
                <a:lumMod val="50000"/>
              </a:schemeClr>
            </a:solidFill>
          </a:endParaRPr>
        </a:p>
      </dgm:t>
    </dgm:pt>
    <dgm:pt modelId="{AAAD3B10-22F1-4C48-BA0A-61BCAD4DD0CD}" type="sibTrans" cxnId="{04A0838E-1D30-41E5-8021-4435747EA2E8}">
      <dgm:prSet/>
      <dgm:spPr/>
      <dgm:t>
        <a:bodyPr/>
        <a:lstStyle/>
        <a:p>
          <a:endParaRPr lang="en-US">
            <a:solidFill>
              <a:schemeClr val="tx1">
                <a:lumMod val="50000"/>
              </a:schemeClr>
            </a:solidFill>
          </a:endParaRPr>
        </a:p>
      </dgm:t>
    </dgm:pt>
    <dgm:pt modelId="{ACDEEB8F-B32F-4AE4-B78F-D72E140EAF30}">
      <dgm:prSet phldrT="[Text]" custT="1"/>
      <dgm:spPr>
        <a:solidFill>
          <a:schemeClr val="accent3">
            <a:lumMod val="40000"/>
            <a:lumOff val="60000"/>
          </a:schemeClr>
        </a:solidFill>
      </dgm:spPr>
      <dgm:t>
        <a:bodyPr/>
        <a:lstStyle/>
        <a:p>
          <a:pPr>
            <a:buClr>
              <a:srgbClr val="444C55"/>
            </a:buClr>
            <a:buSzPts val="2800"/>
            <a:buFont typeface="Calibri"/>
            <a:buNone/>
          </a:pPr>
          <a:r>
            <a:rPr kumimoji="0" lang="en-US" sz="3100" b="1" i="0" u="none" strike="noStrike" cap="none" spc="0" normalizeH="0" baseline="0" noProof="0" dirty="0">
              <a:ln/>
              <a:solidFill>
                <a:schemeClr val="tx1">
                  <a:lumMod val="50000"/>
                </a:schemeClr>
              </a:solidFill>
              <a:effectLst/>
              <a:uLnTx/>
              <a:uFillTx/>
              <a:latin typeface="Calibri"/>
              <a:ea typeface="Calibri"/>
              <a:cs typeface="Calibri"/>
              <a:sym typeface="Calibri"/>
            </a:rPr>
            <a:t>Provide </a:t>
          </a:r>
          <a:br>
            <a:rPr kumimoji="0" lang="en-US" sz="3100" b="1" i="0" u="none" strike="noStrike" cap="none" spc="0" normalizeH="0" baseline="0" noProof="0" dirty="0">
              <a:ln/>
              <a:solidFill>
                <a:schemeClr val="tx1">
                  <a:lumMod val="50000"/>
                </a:schemeClr>
              </a:solidFill>
              <a:effectLst/>
              <a:uLnTx/>
              <a:uFillTx/>
              <a:latin typeface="Calibri"/>
              <a:ea typeface="Calibri"/>
              <a:cs typeface="Calibri"/>
              <a:sym typeface="Calibri"/>
            </a:rPr>
          </a:br>
          <a:r>
            <a:rPr kumimoji="0" lang="en-US" sz="3100" b="0" i="0" u="none" strike="noStrike" cap="none" spc="0" normalizeH="0" baseline="0" noProof="0" dirty="0">
              <a:ln/>
              <a:solidFill>
                <a:schemeClr val="tx1">
                  <a:lumMod val="50000"/>
                </a:schemeClr>
              </a:solidFill>
              <a:effectLst/>
              <a:uLnTx/>
              <a:uFillTx/>
              <a:latin typeface="Calibri"/>
              <a:ea typeface="Calibri"/>
              <a:cs typeface="Calibri"/>
              <a:sym typeface="Calibri"/>
            </a:rPr>
            <a:t>Behavioral Health &amp; OB </a:t>
          </a:r>
          <a:br>
            <a:rPr kumimoji="0" lang="en-US" sz="3100" b="0" i="0" u="none" strike="noStrike" cap="none" spc="0" normalizeH="0" baseline="0" noProof="0" dirty="0">
              <a:ln/>
              <a:solidFill>
                <a:schemeClr val="tx1">
                  <a:lumMod val="50000"/>
                </a:schemeClr>
              </a:solidFill>
              <a:effectLst/>
              <a:uLnTx/>
              <a:uFillTx/>
              <a:latin typeface="Calibri"/>
              <a:ea typeface="Calibri"/>
              <a:cs typeface="Calibri"/>
              <a:sym typeface="Calibri"/>
            </a:rPr>
          </a:br>
          <a:r>
            <a:rPr kumimoji="0" lang="en-US" sz="3100" b="1" i="0" u="none" strike="noStrike" cap="none" spc="0" normalizeH="0" baseline="0" noProof="0" dirty="0">
              <a:ln/>
              <a:solidFill>
                <a:schemeClr val="tx1">
                  <a:lumMod val="50000"/>
                </a:schemeClr>
              </a:solidFill>
              <a:effectLst/>
              <a:uLnTx/>
              <a:uFillTx/>
              <a:latin typeface="Calibri"/>
              <a:ea typeface="Calibri"/>
              <a:cs typeface="Calibri"/>
              <a:sym typeface="Calibri"/>
            </a:rPr>
            <a:t>Follow-up</a:t>
          </a:r>
          <a:endParaRPr lang="en-US" sz="3100" dirty="0">
            <a:solidFill>
              <a:schemeClr val="tx1">
                <a:lumMod val="50000"/>
              </a:schemeClr>
            </a:solidFill>
          </a:endParaRPr>
        </a:p>
      </dgm:t>
    </dgm:pt>
    <dgm:pt modelId="{4CA47317-51EC-42C1-AC7F-3BAC948C4D27}" type="parTrans" cxnId="{C763C25F-05FC-49F2-8B1A-6B5910155450}">
      <dgm:prSet/>
      <dgm:spPr/>
      <dgm:t>
        <a:bodyPr/>
        <a:lstStyle/>
        <a:p>
          <a:endParaRPr lang="en-US">
            <a:solidFill>
              <a:schemeClr val="tx1">
                <a:lumMod val="50000"/>
              </a:schemeClr>
            </a:solidFill>
          </a:endParaRPr>
        </a:p>
      </dgm:t>
    </dgm:pt>
    <dgm:pt modelId="{FC39DA55-5B7C-4804-9B08-BFE2B391A82F}" type="sibTrans" cxnId="{C763C25F-05FC-49F2-8B1A-6B5910155450}">
      <dgm:prSet/>
      <dgm:spPr/>
      <dgm:t>
        <a:bodyPr/>
        <a:lstStyle/>
        <a:p>
          <a:endParaRPr lang="en-US">
            <a:solidFill>
              <a:schemeClr val="tx1">
                <a:lumMod val="50000"/>
              </a:schemeClr>
            </a:solidFill>
          </a:endParaRPr>
        </a:p>
      </dgm:t>
    </dgm:pt>
    <dgm:pt modelId="{6CDF9256-44D3-4EEF-B162-37A0FE1130A5}">
      <dgm:prSet phldrT="[Text]" custT="1"/>
      <dgm:spPr>
        <a:solidFill>
          <a:schemeClr val="accent6">
            <a:lumMod val="40000"/>
            <a:lumOff val="60000"/>
          </a:schemeClr>
        </a:solidFill>
      </dgm:spPr>
      <dgm:t>
        <a:bodyPr/>
        <a:lstStyle/>
        <a:p>
          <a:pPr>
            <a:buClr>
              <a:srgbClr val="444C55"/>
            </a:buClr>
            <a:buSzPts val="2800"/>
            <a:buFont typeface="Calibri"/>
            <a:buNone/>
          </a:pPr>
          <a:r>
            <a:rPr kumimoji="0" lang="en-US" sz="3100" b="0" i="0" u="none" strike="noStrike" cap="none" spc="0" normalizeH="0" baseline="0" noProof="0" dirty="0">
              <a:ln/>
              <a:solidFill>
                <a:schemeClr val="tx1">
                  <a:lumMod val="50000"/>
                </a:schemeClr>
              </a:solidFill>
              <a:effectLst/>
              <a:uLnTx/>
              <a:uFillTx/>
              <a:latin typeface="Calibri"/>
              <a:ea typeface="Calibri"/>
              <a:cs typeface="Calibri"/>
              <a:sym typeface="Calibri"/>
            </a:rPr>
            <a:t>Counsel on Treatment options and </a:t>
          </a:r>
          <a:r>
            <a:rPr kumimoji="0" lang="en-US" sz="3100" b="1" i="0" u="none" strike="noStrike" cap="none" spc="0" normalizeH="0" baseline="0" noProof="0" dirty="0">
              <a:ln/>
              <a:solidFill>
                <a:schemeClr val="tx1">
                  <a:lumMod val="50000"/>
                </a:schemeClr>
              </a:solidFill>
              <a:effectLst/>
              <a:uLnTx/>
              <a:uFillTx/>
              <a:latin typeface="Calibri"/>
              <a:ea typeface="Calibri"/>
              <a:cs typeface="Calibri"/>
              <a:sym typeface="Calibri"/>
            </a:rPr>
            <a:t>Establish Treatment</a:t>
          </a:r>
          <a:endParaRPr lang="en-US" sz="3100" b="1" dirty="0">
            <a:solidFill>
              <a:schemeClr val="tx1">
                <a:lumMod val="50000"/>
              </a:schemeClr>
            </a:solidFill>
          </a:endParaRPr>
        </a:p>
      </dgm:t>
    </dgm:pt>
    <dgm:pt modelId="{D920BD21-0732-4A6B-BD82-8018F6C4FD25}" type="parTrans" cxnId="{EE386C99-1992-499C-80EE-5E5D72D8D18C}">
      <dgm:prSet/>
      <dgm:spPr/>
      <dgm:t>
        <a:bodyPr/>
        <a:lstStyle/>
        <a:p>
          <a:endParaRPr lang="en-US">
            <a:solidFill>
              <a:schemeClr val="tx1">
                <a:lumMod val="50000"/>
              </a:schemeClr>
            </a:solidFill>
          </a:endParaRPr>
        </a:p>
      </dgm:t>
    </dgm:pt>
    <dgm:pt modelId="{DBEF15A5-BB4E-4156-8E71-19EBA035A96D}" type="sibTrans" cxnId="{EE386C99-1992-499C-80EE-5E5D72D8D18C}">
      <dgm:prSet/>
      <dgm:spPr/>
      <dgm:t>
        <a:bodyPr/>
        <a:lstStyle/>
        <a:p>
          <a:endParaRPr lang="en-US">
            <a:solidFill>
              <a:schemeClr val="tx1">
                <a:lumMod val="50000"/>
              </a:schemeClr>
            </a:solidFill>
          </a:endParaRPr>
        </a:p>
      </dgm:t>
    </dgm:pt>
    <dgm:pt modelId="{35E13ECA-6B94-4ED0-92F9-78FE7698AC36}" type="pres">
      <dgm:prSet presAssocID="{DDEA6DF3-A058-4B2E-95A6-A71A071BEEAB}" presName="CompostProcess" presStyleCnt="0">
        <dgm:presLayoutVars>
          <dgm:dir/>
          <dgm:resizeHandles val="exact"/>
        </dgm:presLayoutVars>
      </dgm:prSet>
      <dgm:spPr/>
    </dgm:pt>
    <dgm:pt modelId="{7D03016D-5D9A-40F4-B924-5966C1AA8FE9}" type="pres">
      <dgm:prSet presAssocID="{DDEA6DF3-A058-4B2E-95A6-A71A071BEEAB}" presName="arrow" presStyleLbl="bgShp" presStyleIdx="0" presStyleCnt="1" custLinFactNeighborX="1633" custLinFactNeighborY="-4097"/>
      <dgm:spPr>
        <a:solidFill>
          <a:schemeClr val="accent1"/>
        </a:solidFill>
      </dgm:spPr>
    </dgm:pt>
    <dgm:pt modelId="{C7A67555-8D09-4221-A9DB-EF148B72EF82}" type="pres">
      <dgm:prSet presAssocID="{DDEA6DF3-A058-4B2E-95A6-A71A071BEEAB}" presName="linearProcess" presStyleCnt="0"/>
      <dgm:spPr/>
    </dgm:pt>
    <dgm:pt modelId="{30D35D51-1DA6-4B61-9BE8-CE0C0EC4D78B}" type="pres">
      <dgm:prSet presAssocID="{BA29B084-9711-4046-B48F-53350CA79C53}" presName="textNode" presStyleLbl="node1" presStyleIdx="0" presStyleCnt="4">
        <dgm:presLayoutVars>
          <dgm:bulletEnabled val="1"/>
        </dgm:presLayoutVars>
      </dgm:prSet>
      <dgm:spPr/>
    </dgm:pt>
    <dgm:pt modelId="{7A459551-5AAE-4FF6-A605-C2F372E47339}" type="pres">
      <dgm:prSet presAssocID="{1393E0F6-FFE4-494C-9040-39C1CBFF4A72}" presName="sibTrans" presStyleCnt="0"/>
      <dgm:spPr/>
    </dgm:pt>
    <dgm:pt modelId="{0A0D6521-8AD0-493B-9FE2-7EC22D7997FB}" type="pres">
      <dgm:prSet presAssocID="{67C49BE8-05A2-4358-87BC-79068C3042A6}" presName="textNode" presStyleLbl="node1" presStyleIdx="1" presStyleCnt="4">
        <dgm:presLayoutVars>
          <dgm:bulletEnabled val="1"/>
        </dgm:presLayoutVars>
      </dgm:prSet>
      <dgm:spPr/>
    </dgm:pt>
    <dgm:pt modelId="{15E88358-000B-468D-AE9C-7994B6F791D2}" type="pres">
      <dgm:prSet presAssocID="{AAAD3B10-22F1-4C48-BA0A-61BCAD4DD0CD}" presName="sibTrans" presStyleCnt="0"/>
      <dgm:spPr/>
    </dgm:pt>
    <dgm:pt modelId="{22ACFC72-B430-454A-A4F3-320FBB4E9992}" type="pres">
      <dgm:prSet presAssocID="{6CDF9256-44D3-4EEF-B162-37A0FE1130A5}" presName="textNode" presStyleLbl="node1" presStyleIdx="2" presStyleCnt="4">
        <dgm:presLayoutVars>
          <dgm:bulletEnabled val="1"/>
        </dgm:presLayoutVars>
      </dgm:prSet>
      <dgm:spPr/>
    </dgm:pt>
    <dgm:pt modelId="{A3773598-A957-46B8-8089-0EAECB82A780}" type="pres">
      <dgm:prSet presAssocID="{DBEF15A5-BB4E-4156-8E71-19EBA035A96D}" presName="sibTrans" presStyleCnt="0"/>
      <dgm:spPr/>
    </dgm:pt>
    <dgm:pt modelId="{CBA1718F-19B7-49DB-A568-731859A96B0B}" type="pres">
      <dgm:prSet presAssocID="{ACDEEB8F-B32F-4AE4-B78F-D72E140EAF30}" presName="textNode" presStyleLbl="node1" presStyleIdx="3" presStyleCnt="4">
        <dgm:presLayoutVars>
          <dgm:bulletEnabled val="1"/>
        </dgm:presLayoutVars>
      </dgm:prSet>
      <dgm:spPr/>
    </dgm:pt>
  </dgm:ptLst>
  <dgm:cxnLst>
    <dgm:cxn modelId="{9DDAFD0D-BF97-4794-89E1-3812DDD3089A}" type="presOf" srcId="{6CDF9256-44D3-4EEF-B162-37A0FE1130A5}" destId="{22ACFC72-B430-454A-A4F3-320FBB4E9992}" srcOrd="0" destOrd="0" presId="urn:microsoft.com/office/officeart/2005/8/layout/hProcess9"/>
    <dgm:cxn modelId="{C763C25F-05FC-49F2-8B1A-6B5910155450}" srcId="{DDEA6DF3-A058-4B2E-95A6-A71A071BEEAB}" destId="{ACDEEB8F-B32F-4AE4-B78F-D72E140EAF30}" srcOrd="3" destOrd="0" parTransId="{4CA47317-51EC-42C1-AC7F-3BAC948C4D27}" sibTransId="{FC39DA55-5B7C-4804-9B08-BFE2B391A82F}"/>
    <dgm:cxn modelId="{60B4A87A-DD92-4317-BC2C-1A15958A44D8}" type="presOf" srcId="{ACDEEB8F-B32F-4AE4-B78F-D72E140EAF30}" destId="{CBA1718F-19B7-49DB-A568-731859A96B0B}" srcOrd="0" destOrd="0" presId="urn:microsoft.com/office/officeart/2005/8/layout/hProcess9"/>
    <dgm:cxn modelId="{5EF9648B-930C-4C7A-934B-110C34BCBD7F}" type="presOf" srcId="{BA29B084-9711-4046-B48F-53350CA79C53}" destId="{30D35D51-1DA6-4B61-9BE8-CE0C0EC4D78B}" srcOrd="0" destOrd="0" presId="urn:microsoft.com/office/officeart/2005/8/layout/hProcess9"/>
    <dgm:cxn modelId="{2EC7BD8D-26AA-424C-9746-04A124030423}" type="presOf" srcId="{DDEA6DF3-A058-4B2E-95A6-A71A071BEEAB}" destId="{35E13ECA-6B94-4ED0-92F9-78FE7698AC36}" srcOrd="0" destOrd="0" presId="urn:microsoft.com/office/officeart/2005/8/layout/hProcess9"/>
    <dgm:cxn modelId="{04A0838E-1D30-41E5-8021-4435747EA2E8}" srcId="{DDEA6DF3-A058-4B2E-95A6-A71A071BEEAB}" destId="{67C49BE8-05A2-4358-87BC-79068C3042A6}" srcOrd="1" destOrd="0" parTransId="{325A9503-9815-4831-9D3E-0A4C97A00DBD}" sibTransId="{AAAD3B10-22F1-4C48-BA0A-61BCAD4DD0CD}"/>
    <dgm:cxn modelId="{EE386C99-1992-499C-80EE-5E5D72D8D18C}" srcId="{DDEA6DF3-A058-4B2E-95A6-A71A071BEEAB}" destId="{6CDF9256-44D3-4EEF-B162-37A0FE1130A5}" srcOrd="2" destOrd="0" parTransId="{D920BD21-0732-4A6B-BD82-8018F6C4FD25}" sibTransId="{DBEF15A5-BB4E-4156-8E71-19EBA035A96D}"/>
    <dgm:cxn modelId="{8798E0A8-E8BF-43F3-9B50-DBAB2F020E74}" type="presOf" srcId="{67C49BE8-05A2-4358-87BC-79068C3042A6}" destId="{0A0D6521-8AD0-493B-9FE2-7EC22D7997FB}" srcOrd="0" destOrd="0" presId="urn:microsoft.com/office/officeart/2005/8/layout/hProcess9"/>
    <dgm:cxn modelId="{741D77C2-5FEE-43AF-AE15-B34966F28650}" srcId="{DDEA6DF3-A058-4B2E-95A6-A71A071BEEAB}" destId="{BA29B084-9711-4046-B48F-53350CA79C53}" srcOrd="0" destOrd="0" parTransId="{6BB17838-7454-4DD8-9455-3CD108ADC02E}" sibTransId="{1393E0F6-FFE4-494C-9040-39C1CBFF4A72}"/>
    <dgm:cxn modelId="{D599D092-1E14-41B5-86B1-95612D1C2913}" type="presParOf" srcId="{35E13ECA-6B94-4ED0-92F9-78FE7698AC36}" destId="{7D03016D-5D9A-40F4-B924-5966C1AA8FE9}" srcOrd="0" destOrd="0" presId="urn:microsoft.com/office/officeart/2005/8/layout/hProcess9"/>
    <dgm:cxn modelId="{15A32386-1BA2-44BB-81CA-6A7C92B99B39}" type="presParOf" srcId="{35E13ECA-6B94-4ED0-92F9-78FE7698AC36}" destId="{C7A67555-8D09-4221-A9DB-EF148B72EF82}" srcOrd="1" destOrd="0" presId="urn:microsoft.com/office/officeart/2005/8/layout/hProcess9"/>
    <dgm:cxn modelId="{13599964-1C12-4725-9553-9822DC3072ED}" type="presParOf" srcId="{C7A67555-8D09-4221-A9DB-EF148B72EF82}" destId="{30D35D51-1DA6-4B61-9BE8-CE0C0EC4D78B}" srcOrd="0" destOrd="0" presId="urn:microsoft.com/office/officeart/2005/8/layout/hProcess9"/>
    <dgm:cxn modelId="{34FF34DC-397C-4D3E-AE5A-0A64ED849134}" type="presParOf" srcId="{C7A67555-8D09-4221-A9DB-EF148B72EF82}" destId="{7A459551-5AAE-4FF6-A605-C2F372E47339}" srcOrd="1" destOrd="0" presId="urn:microsoft.com/office/officeart/2005/8/layout/hProcess9"/>
    <dgm:cxn modelId="{8A082816-3380-4BDC-B1F1-B604F9FD75B2}" type="presParOf" srcId="{C7A67555-8D09-4221-A9DB-EF148B72EF82}" destId="{0A0D6521-8AD0-493B-9FE2-7EC22D7997FB}" srcOrd="2" destOrd="0" presId="urn:microsoft.com/office/officeart/2005/8/layout/hProcess9"/>
    <dgm:cxn modelId="{0175952E-7F63-420F-8AE6-801A78BB9639}" type="presParOf" srcId="{C7A67555-8D09-4221-A9DB-EF148B72EF82}" destId="{15E88358-000B-468D-AE9C-7994B6F791D2}" srcOrd="3" destOrd="0" presId="urn:microsoft.com/office/officeart/2005/8/layout/hProcess9"/>
    <dgm:cxn modelId="{17C1F9F7-823F-48F3-8BEA-D77817D102EB}" type="presParOf" srcId="{C7A67555-8D09-4221-A9DB-EF148B72EF82}" destId="{22ACFC72-B430-454A-A4F3-320FBB4E9992}" srcOrd="4" destOrd="0" presId="urn:microsoft.com/office/officeart/2005/8/layout/hProcess9"/>
    <dgm:cxn modelId="{D0F4D80E-7144-4E0E-B2FD-4B2CE78B901B}" type="presParOf" srcId="{C7A67555-8D09-4221-A9DB-EF148B72EF82}" destId="{A3773598-A957-46B8-8089-0EAECB82A780}" srcOrd="5" destOrd="0" presId="urn:microsoft.com/office/officeart/2005/8/layout/hProcess9"/>
    <dgm:cxn modelId="{3FD802F9-9A20-48CF-8DD6-E9F68E58FB12}" type="presParOf" srcId="{C7A67555-8D09-4221-A9DB-EF148B72EF82}" destId="{CBA1718F-19B7-49DB-A568-731859A96B0B}"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9214AA-D0FB-48AF-A41B-59C38F66E717}" type="doc">
      <dgm:prSet loTypeId="urn:microsoft.com/office/officeart/2005/8/layout/cycle8" loCatId="cycle" qsTypeId="urn:microsoft.com/office/officeart/2005/8/quickstyle/simple1" qsCatId="simple" csTypeId="urn:microsoft.com/office/officeart/2005/8/colors/colorful4" csCatId="colorful" phldr="1"/>
      <dgm:spPr/>
      <dgm:t>
        <a:bodyPr/>
        <a:lstStyle/>
        <a:p>
          <a:endParaRPr lang="en-US"/>
        </a:p>
      </dgm:t>
    </dgm:pt>
    <dgm:pt modelId="{D28FA058-8D2D-45EE-A93F-936522B24A76}">
      <dgm:prSet phldrT="[Text]" phldr="0"/>
      <dgm:spPr/>
      <dgm:t>
        <a:bodyPr/>
        <a:lstStyle/>
        <a:p>
          <a:r>
            <a:rPr lang="en-US" dirty="0"/>
            <a:t>Plan</a:t>
          </a:r>
        </a:p>
      </dgm:t>
    </dgm:pt>
    <dgm:pt modelId="{D20050EF-533D-4308-827A-58BF38D67345}" type="parTrans" cxnId="{26F7423F-0C4B-4012-8D04-80F223E03C9B}">
      <dgm:prSet/>
      <dgm:spPr/>
      <dgm:t>
        <a:bodyPr/>
        <a:lstStyle/>
        <a:p>
          <a:endParaRPr lang="en-US"/>
        </a:p>
      </dgm:t>
    </dgm:pt>
    <dgm:pt modelId="{19CEDD86-FF92-45A6-A0E0-BC6C79870579}" type="sibTrans" cxnId="{26F7423F-0C4B-4012-8D04-80F223E03C9B}">
      <dgm:prSet/>
      <dgm:spPr/>
      <dgm:t>
        <a:bodyPr/>
        <a:lstStyle/>
        <a:p>
          <a:endParaRPr lang="en-US"/>
        </a:p>
      </dgm:t>
    </dgm:pt>
    <dgm:pt modelId="{B9CF4D83-BF85-41CB-8A78-6E54FC090DD7}">
      <dgm:prSet phldrT="[Text]" phldr="0"/>
      <dgm:spPr/>
      <dgm:t>
        <a:bodyPr/>
        <a:lstStyle/>
        <a:p>
          <a:r>
            <a:rPr lang="en-US" dirty="0"/>
            <a:t>Do</a:t>
          </a:r>
        </a:p>
      </dgm:t>
    </dgm:pt>
    <dgm:pt modelId="{48718374-622D-4DD7-BA50-DC9FA747EA28}" type="parTrans" cxnId="{3D67EDB7-C654-48F5-841A-34955B8EF00F}">
      <dgm:prSet/>
      <dgm:spPr/>
      <dgm:t>
        <a:bodyPr/>
        <a:lstStyle/>
        <a:p>
          <a:endParaRPr lang="en-US"/>
        </a:p>
      </dgm:t>
    </dgm:pt>
    <dgm:pt modelId="{39A708AC-BD9D-47FB-B76D-030EA957496C}" type="sibTrans" cxnId="{3D67EDB7-C654-48F5-841A-34955B8EF00F}">
      <dgm:prSet/>
      <dgm:spPr/>
      <dgm:t>
        <a:bodyPr/>
        <a:lstStyle/>
        <a:p>
          <a:endParaRPr lang="en-US"/>
        </a:p>
      </dgm:t>
    </dgm:pt>
    <dgm:pt modelId="{8857C9A2-F1E0-4D0E-BF77-1384661844A8}">
      <dgm:prSet phldrT="[Text]" phldr="0"/>
      <dgm:spPr/>
      <dgm:t>
        <a:bodyPr/>
        <a:lstStyle/>
        <a:p>
          <a:r>
            <a:rPr lang="en-US"/>
            <a:t>Study</a:t>
          </a:r>
          <a:endParaRPr lang="en-US" dirty="0"/>
        </a:p>
      </dgm:t>
    </dgm:pt>
    <dgm:pt modelId="{D04E95DA-69B0-4D05-B996-8D3B14D05ADA}" type="parTrans" cxnId="{E75BF59E-AE82-465B-827F-03D72EE8706F}">
      <dgm:prSet/>
      <dgm:spPr/>
      <dgm:t>
        <a:bodyPr/>
        <a:lstStyle/>
        <a:p>
          <a:endParaRPr lang="en-US"/>
        </a:p>
      </dgm:t>
    </dgm:pt>
    <dgm:pt modelId="{91812939-D37E-4EB5-8A4E-DADBC77B735C}" type="sibTrans" cxnId="{E75BF59E-AE82-465B-827F-03D72EE8706F}">
      <dgm:prSet/>
      <dgm:spPr/>
      <dgm:t>
        <a:bodyPr/>
        <a:lstStyle/>
        <a:p>
          <a:endParaRPr lang="en-US"/>
        </a:p>
      </dgm:t>
    </dgm:pt>
    <dgm:pt modelId="{56D9BC07-29EE-4A4A-B34E-BABC979F949B}">
      <dgm:prSet phldrT="[Text]" phldr="0"/>
      <dgm:spPr/>
      <dgm:t>
        <a:bodyPr/>
        <a:lstStyle/>
        <a:p>
          <a:r>
            <a:rPr lang="en-US" dirty="0"/>
            <a:t>Act</a:t>
          </a:r>
        </a:p>
      </dgm:t>
    </dgm:pt>
    <dgm:pt modelId="{4E5175E6-E22C-46B0-AC8E-22092986E5E9}" type="parTrans" cxnId="{D9F36AF0-8C1B-4CBC-BC92-B312BF9109F2}">
      <dgm:prSet/>
      <dgm:spPr/>
      <dgm:t>
        <a:bodyPr/>
        <a:lstStyle/>
        <a:p>
          <a:endParaRPr lang="en-US"/>
        </a:p>
      </dgm:t>
    </dgm:pt>
    <dgm:pt modelId="{893FACA1-26CF-4979-9D3A-61E0BAD0CA2D}" type="sibTrans" cxnId="{D9F36AF0-8C1B-4CBC-BC92-B312BF9109F2}">
      <dgm:prSet/>
      <dgm:spPr/>
      <dgm:t>
        <a:bodyPr/>
        <a:lstStyle/>
        <a:p>
          <a:endParaRPr lang="en-US"/>
        </a:p>
      </dgm:t>
    </dgm:pt>
    <dgm:pt modelId="{8B69BC99-6B3E-467A-B78E-999066F70FE4}" type="pres">
      <dgm:prSet presAssocID="{069214AA-D0FB-48AF-A41B-59C38F66E717}" presName="compositeShape" presStyleCnt="0">
        <dgm:presLayoutVars>
          <dgm:chMax val="7"/>
          <dgm:dir/>
          <dgm:resizeHandles val="exact"/>
        </dgm:presLayoutVars>
      </dgm:prSet>
      <dgm:spPr/>
    </dgm:pt>
    <dgm:pt modelId="{D2D61F0D-C121-4F01-BC0E-2286ECACA84F}" type="pres">
      <dgm:prSet presAssocID="{069214AA-D0FB-48AF-A41B-59C38F66E717}" presName="wedge1" presStyleLbl="node1" presStyleIdx="0" presStyleCnt="4"/>
      <dgm:spPr/>
    </dgm:pt>
    <dgm:pt modelId="{3ED482D7-7F2A-4853-A1F6-0208191EE1D4}" type="pres">
      <dgm:prSet presAssocID="{069214AA-D0FB-48AF-A41B-59C38F66E717}" presName="dummy1a" presStyleCnt="0"/>
      <dgm:spPr/>
    </dgm:pt>
    <dgm:pt modelId="{99214CCC-4D9F-4DB1-8C55-421939E15071}" type="pres">
      <dgm:prSet presAssocID="{069214AA-D0FB-48AF-A41B-59C38F66E717}" presName="dummy1b" presStyleCnt="0"/>
      <dgm:spPr/>
    </dgm:pt>
    <dgm:pt modelId="{E434A58F-5192-47C5-8DCB-BC2FDE3A2CA3}" type="pres">
      <dgm:prSet presAssocID="{069214AA-D0FB-48AF-A41B-59C38F66E717}" presName="wedge1Tx" presStyleLbl="node1" presStyleIdx="0" presStyleCnt="4">
        <dgm:presLayoutVars>
          <dgm:chMax val="0"/>
          <dgm:chPref val="0"/>
          <dgm:bulletEnabled val="1"/>
        </dgm:presLayoutVars>
      </dgm:prSet>
      <dgm:spPr/>
    </dgm:pt>
    <dgm:pt modelId="{B24B9121-8F76-437D-B6D3-6F02B4A33E76}" type="pres">
      <dgm:prSet presAssocID="{069214AA-D0FB-48AF-A41B-59C38F66E717}" presName="wedge2" presStyleLbl="node1" presStyleIdx="1" presStyleCnt="4"/>
      <dgm:spPr/>
    </dgm:pt>
    <dgm:pt modelId="{26418381-3086-4B6F-BF68-506CCA3717CB}" type="pres">
      <dgm:prSet presAssocID="{069214AA-D0FB-48AF-A41B-59C38F66E717}" presName="dummy2a" presStyleCnt="0"/>
      <dgm:spPr/>
    </dgm:pt>
    <dgm:pt modelId="{8F1B849C-E6FA-4FEC-A97B-472BF7A9AC8A}" type="pres">
      <dgm:prSet presAssocID="{069214AA-D0FB-48AF-A41B-59C38F66E717}" presName="dummy2b" presStyleCnt="0"/>
      <dgm:spPr/>
    </dgm:pt>
    <dgm:pt modelId="{392369D2-07DB-4265-B7E1-513895F295CE}" type="pres">
      <dgm:prSet presAssocID="{069214AA-D0FB-48AF-A41B-59C38F66E717}" presName="wedge2Tx" presStyleLbl="node1" presStyleIdx="1" presStyleCnt="4">
        <dgm:presLayoutVars>
          <dgm:chMax val="0"/>
          <dgm:chPref val="0"/>
          <dgm:bulletEnabled val="1"/>
        </dgm:presLayoutVars>
      </dgm:prSet>
      <dgm:spPr/>
    </dgm:pt>
    <dgm:pt modelId="{F415BBEF-2EAE-4BBC-92F0-4B9C41BB7ADF}" type="pres">
      <dgm:prSet presAssocID="{069214AA-D0FB-48AF-A41B-59C38F66E717}" presName="wedge3" presStyleLbl="node1" presStyleIdx="2" presStyleCnt="4"/>
      <dgm:spPr/>
    </dgm:pt>
    <dgm:pt modelId="{1285EB82-5CDB-4ABE-9A9C-9377587FF0B0}" type="pres">
      <dgm:prSet presAssocID="{069214AA-D0FB-48AF-A41B-59C38F66E717}" presName="dummy3a" presStyleCnt="0"/>
      <dgm:spPr/>
    </dgm:pt>
    <dgm:pt modelId="{B279C67E-5C0C-41A7-982C-510E08EE21E6}" type="pres">
      <dgm:prSet presAssocID="{069214AA-D0FB-48AF-A41B-59C38F66E717}" presName="dummy3b" presStyleCnt="0"/>
      <dgm:spPr/>
    </dgm:pt>
    <dgm:pt modelId="{09723175-5DBA-4635-8B14-140A29FA1E4B}" type="pres">
      <dgm:prSet presAssocID="{069214AA-D0FB-48AF-A41B-59C38F66E717}" presName="wedge3Tx" presStyleLbl="node1" presStyleIdx="2" presStyleCnt="4">
        <dgm:presLayoutVars>
          <dgm:chMax val="0"/>
          <dgm:chPref val="0"/>
          <dgm:bulletEnabled val="1"/>
        </dgm:presLayoutVars>
      </dgm:prSet>
      <dgm:spPr/>
    </dgm:pt>
    <dgm:pt modelId="{BAF4C3AF-6ACA-4671-BA18-1B4E32DF07AE}" type="pres">
      <dgm:prSet presAssocID="{069214AA-D0FB-48AF-A41B-59C38F66E717}" presName="wedge4" presStyleLbl="node1" presStyleIdx="3" presStyleCnt="4"/>
      <dgm:spPr/>
    </dgm:pt>
    <dgm:pt modelId="{5FE763BB-2CA8-4222-B56E-89C3AD367E61}" type="pres">
      <dgm:prSet presAssocID="{069214AA-D0FB-48AF-A41B-59C38F66E717}" presName="dummy4a" presStyleCnt="0"/>
      <dgm:spPr/>
    </dgm:pt>
    <dgm:pt modelId="{3B939EF7-6A24-4317-A348-D550D21DDB7B}" type="pres">
      <dgm:prSet presAssocID="{069214AA-D0FB-48AF-A41B-59C38F66E717}" presName="dummy4b" presStyleCnt="0"/>
      <dgm:spPr/>
    </dgm:pt>
    <dgm:pt modelId="{D0FE238B-3845-4778-A63B-861C51A50A9E}" type="pres">
      <dgm:prSet presAssocID="{069214AA-D0FB-48AF-A41B-59C38F66E717}" presName="wedge4Tx" presStyleLbl="node1" presStyleIdx="3" presStyleCnt="4">
        <dgm:presLayoutVars>
          <dgm:chMax val="0"/>
          <dgm:chPref val="0"/>
          <dgm:bulletEnabled val="1"/>
        </dgm:presLayoutVars>
      </dgm:prSet>
      <dgm:spPr/>
    </dgm:pt>
    <dgm:pt modelId="{B336454E-896C-404B-8877-ED0D82EFE440}" type="pres">
      <dgm:prSet presAssocID="{19CEDD86-FF92-45A6-A0E0-BC6C79870579}" presName="arrowWedge1" presStyleLbl="fgSibTrans2D1" presStyleIdx="0" presStyleCnt="4"/>
      <dgm:spPr/>
    </dgm:pt>
    <dgm:pt modelId="{23A06898-CFFE-4229-B1DE-F577703526BF}" type="pres">
      <dgm:prSet presAssocID="{39A708AC-BD9D-47FB-B76D-030EA957496C}" presName="arrowWedge2" presStyleLbl="fgSibTrans2D1" presStyleIdx="1" presStyleCnt="4"/>
      <dgm:spPr/>
    </dgm:pt>
    <dgm:pt modelId="{31932414-8D3E-475B-8D71-50C16B9784DF}" type="pres">
      <dgm:prSet presAssocID="{91812939-D37E-4EB5-8A4E-DADBC77B735C}" presName="arrowWedge3" presStyleLbl="fgSibTrans2D1" presStyleIdx="2" presStyleCnt="4"/>
      <dgm:spPr/>
    </dgm:pt>
    <dgm:pt modelId="{30C3DC39-8FD3-471B-B78C-58820B3B7220}" type="pres">
      <dgm:prSet presAssocID="{893FACA1-26CF-4979-9D3A-61E0BAD0CA2D}" presName="arrowWedge4" presStyleLbl="fgSibTrans2D1" presStyleIdx="3" presStyleCnt="4"/>
      <dgm:spPr/>
    </dgm:pt>
  </dgm:ptLst>
  <dgm:cxnLst>
    <dgm:cxn modelId="{6903BB00-922A-4041-B66D-CB9FF27C14AD}" type="presOf" srcId="{8857C9A2-F1E0-4D0E-BF77-1384661844A8}" destId="{F415BBEF-2EAE-4BBC-92F0-4B9C41BB7ADF}" srcOrd="0" destOrd="0" presId="urn:microsoft.com/office/officeart/2005/8/layout/cycle8"/>
    <dgm:cxn modelId="{E7331433-B768-4884-B0D1-8BBCBC193986}" type="presOf" srcId="{56D9BC07-29EE-4A4A-B34E-BABC979F949B}" destId="{BAF4C3AF-6ACA-4671-BA18-1B4E32DF07AE}" srcOrd="0" destOrd="0" presId="urn:microsoft.com/office/officeart/2005/8/layout/cycle8"/>
    <dgm:cxn modelId="{26F7423F-0C4B-4012-8D04-80F223E03C9B}" srcId="{069214AA-D0FB-48AF-A41B-59C38F66E717}" destId="{D28FA058-8D2D-45EE-A93F-936522B24A76}" srcOrd="0" destOrd="0" parTransId="{D20050EF-533D-4308-827A-58BF38D67345}" sibTransId="{19CEDD86-FF92-45A6-A0E0-BC6C79870579}"/>
    <dgm:cxn modelId="{7DE43275-4449-4BD6-8E80-5D2B123C669B}" type="presOf" srcId="{8857C9A2-F1E0-4D0E-BF77-1384661844A8}" destId="{09723175-5DBA-4635-8B14-140A29FA1E4B}" srcOrd="1" destOrd="0" presId="urn:microsoft.com/office/officeart/2005/8/layout/cycle8"/>
    <dgm:cxn modelId="{B6980778-C0BA-410B-980F-75D85EEFA83F}" type="presOf" srcId="{B9CF4D83-BF85-41CB-8A78-6E54FC090DD7}" destId="{B24B9121-8F76-437D-B6D3-6F02B4A33E76}" srcOrd="0" destOrd="0" presId="urn:microsoft.com/office/officeart/2005/8/layout/cycle8"/>
    <dgm:cxn modelId="{AE5F7795-3035-400A-9698-20EAAD2C0F37}" type="presOf" srcId="{D28FA058-8D2D-45EE-A93F-936522B24A76}" destId="{E434A58F-5192-47C5-8DCB-BC2FDE3A2CA3}" srcOrd="1" destOrd="0" presId="urn:microsoft.com/office/officeart/2005/8/layout/cycle8"/>
    <dgm:cxn modelId="{E75BF59E-AE82-465B-827F-03D72EE8706F}" srcId="{069214AA-D0FB-48AF-A41B-59C38F66E717}" destId="{8857C9A2-F1E0-4D0E-BF77-1384661844A8}" srcOrd="2" destOrd="0" parTransId="{D04E95DA-69B0-4D05-B996-8D3B14D05ADA}" sibTransId="{91812939-D37E-4EB5-8A4E-DADBC77B735C}"/>
    <dgm:cxn modelId="{3D67EDB7-C654-48F5-841A-34955B8EF00F}" srcId="{069214AA-D0FB-48AF-A41B-59C38F66E717}" destId="{B9CF4D83-BF85-41CB-8A78-6E54FC090DD7}" srcOrd="1" destOrd="0" parTransId="{48718374-622D-4DD7-BA50-DC9FA747EA28}" sibTransId="{39A708AC-BD9D-47FB-B76D-030EA957496C}"/>
    <dgm:cxn modelId="{3F3AE2C2-7C5E-4CC7-9A74-A6FA401D34D0}" type="presOf" srcId="{B9CF4D83-BF85-41CB-8A78-6E54FC090DD7}" destId="{392369D2-07DB-4265-B7E1-513895F295CE}" srcOrd="1" destOrd="0" presId="urn:microsoft.com/office/officeart/2005/8/layout/cycle8"/>
    <dgm:cxn modelId="{F0F182C3-CB15-4A86-8C71-A4D1A4FA1284}" type="presOf" srcId="{56D9BC07-29EE-4A4A-B34E-BABC979F949B}" destId="{D0FE238B-3845-4778-A63B-861C51A50A9E}" srcOrd="1" destOrd="0" presId="urn:microsoft.com/office/officeart/2005/8/layout/cycle8"/>
    <dgm:cxn modelId="{88918CC5-9273-4A66-8F86-526D9177BFC6}" type="presOf" srcId="{D28FA058-8D2D-45EE-A93F-936522B24A76}" destId="{D2D61F0D-C121-4F01-BC0E-2286ECACA84F}" srcOrd="0" destOrd="0" presId="urn:microsoft.com/office/officeart/2005/8/layout/cycle8"/>
    <dgm:cxn modelId="{5EE62DD5-035A-4D86-BD0C-DCC7F44FCC31}" type="presOf" srcId="{069214AA-D0FB-48AF-A41B-59C38F66E717}" destId="{8B69BC99-6B3E-467A-B78E-999066F70FE4}" srcOrd="0" destOrd="0" presId="urn:microsoft.com/office/officeart/2005/8/layout/cycle8"/>
    <dgm:cxn modelId="{D9F36AF0-8C1B-4CBC-BC92-B312BF9109F2}" srcId="{069214AA-D0FB-48AF-A41B-59C38F66E717}" destId="{56D9BC07-29EE-4A4A-B34E-BABC979F949B}" srcOrd="3" destOrd="0" parTransId="{4E5175E6-E22C-46B0-AC8E-22092986E5E9}" sibTransId="{893FACA1-26CF-4979-9D3A-61E0BAD0CA2D}"/>
    <dgm:cxn modelId="{9FC6B8A9-88F1-4E70-81D7-7752588647E4}" type="presParOf" srcId="{8B69BC99-6B3E-467A-B78E-999066F70FE4}" destId="{D2D61F0D-C121-4F01-BC0E-2286ECACA84F}" srcOrd="0" destOrd="0" presId="urn:microsoft.com/office/officeart/2005/8/layout/cycle8"/>
    <dgm:cxn modelId="{7BF9E9B8-B821-46CE-9CA8-9D29A02C2E6A}" type="presParOf" srcId="{8B69BC99-6B3E-467A-B78E-999066F70FE4}" destId="{3ED482D7-7F2A-4853-A1F6-0208191EE1D4}" srcOrd="1" destOrd="0" presId="urn:microsoft.com/office/officeart/2005/8/layout/cycle8"/>
    <dgm:cxn modelId="{7CA11C81-F9C8-4948-95E0-FDE76546F7BE}" type="presParOf" srcId="{8B69BC99-6B3E-467A-B78E-999066F70FE4}" destId="{99214CCC-4D9F-4DB1-8C55-421939E15071}" srcOrd="2" destOrd="0" presId="urn:microsoft.com/office/officeart/2005/8/layout/cycle8"/>
    <dgm:cxn modelId="{B3049C22-73F1-4818-88CB-D38157DB35F1}" type="presParOf" srcId="{8B69BC99-6B3E-467A-B78E-999066F70FE4}" destId="{E434A58F-5192-47C5-8DCB-BC2FDE3A2CA3}" srcOrd="3" destOrd="0" presId="urn:microsoft.com/office/officeart/2005/8/layout/cycle8"/>
    <dgm:cxn modelId="{F68312E9-029E-4474-87B8-09883DFDD2AE}" type="presParOf" srcId="{8B69BC99-6B3E-467A-B78E-999066F70FE4}" destId="{B24B9121-8F76-437D-B6D3-6F02B4A33E76}" srcOrd="4" destOrd="0" presId="urn:microsoft.com/office/officeart/2005/8/layout/cycle8"/>
    <dgm:cxn modelId="{6BA2CA8A-0332-47AE-8E24-B5803A6FF590}" type="presParOf" srcId="{8B69BC99-6B3E-467A-B78E-999066F70FE4}" destId="{26418381-3086-4B6F-BF68-506CCA3717CB}" srcOrd="5" destOrd="0" presId="urn:microsoft.com/office/officeart/2005/8/layout/cycle8"/>
    <dgm:cxn modelId="{056F92E8-59CB-48EA-AD7B-B6E9D0B8CBE9}" type="presParOf" srcId="{8B69BC99-6B3E-467A-B78E-999066F70FE4}" destId="{8F1B849C-E6FA-4FEC-A97B-472BF7A9AC8A}" srcOrd="6" destOrd="0" presId="urn:microsoft.com/office/officeart/2005/8/layout/cycle8"/>
    <dgm:cxn modelId="{7F675E2D-18ED-4E5E-ABE4-06C91391D612}" type="presParOf" srcId="{8B69BC99-6B3E-467A-B78E-999066F70FE4}" destId="{392369D2-07DB-4265-B7E1-513895F295CE}" srcOrd="7" destOrd="0" presId="urn:microsoft.com/office/officeart/2005/8/layout/cycle8"/>
    <dgm:cxn modelId="{8D93A100-910F-46FE-86E3-9CB76A199450}" type="presParOf" srcId="{8B69BC99-6B3E-467A-B78E-999066F70FE4}" destId="{F415BBEF-2EAE-4BBC-92F0-4B9C41BB7ADF}" srcOrd="8" destOrd="0" presId="urn:microsoft.com/office/officeart/2005/8/layout/cycle8"/>
    <dgm:cxn modelId="{63C082F2-6B28-4178-8F1D-9C3A69737B88}" type="presParOf" srcId="{8B69BC99-6B3E-467A-B78E-999066F70FE4}" destId="{1285EB82-5CDB-4ABE-9A9C-9377587FF0B0}" srcOrd="9" destOrd="0" presId="urn:microsoft.com/office/officeart/2005/8/layout/cycle8"/>
    <dgm:cxn modelId="{A58AA59A-79F2-40A7-93B6-615067F7D9EE}" type="presParOf" srcId="{8B69BC99-6B3E-467A-B78E-999066F70FE4}" destId="{B279C67E-5C0C-41A7-982C-510E08EE21E6}" srcOrd="10" destOrd="0" presId="urn:microsoft.com/office/officeart/2005/8/layout/cycle8"/>
    <dgm:cxn modelId="{B6CBED30-3591-44B7-8D7C-7EB0E07687A5}" type="presParOf" srcId="{8B69BC99-6B3E-467A-B78E-999066F70FE4}" destId="{09723175-5DBA-4635-8B14-140A29FA1E4B}" srcOrd="11" destOrd="0" presId="urn:microsoft.com/office/officeart/2005/8/layout/cycle8"/>
    <dgm:cxn modelId="{D65856C9-7D15-4EA1-946D-DA40A41A6068}" type="presParOf" srcId="{8B69BC99-6B3E-467A-B78E-999066F70FE4}" destId="{BAF4C3AF-6ACA-4671-BA18-1B4E32DF07AE}" srcOrd="12" destOrd="0" presId="urn:microsoft.com/office/officeart/2005/8/layout/cycle8"/>
    <dgm:cxn modelId="{B37B61C5-5B08-46D8-BEE0-60F2C65A0470}" type="presParOf" srcId="{8B69BC99-6B3E-467A-B78E-999066F70FE4}" destId="{5FE763BB-2CA8-4222-B56E-89C3AD367E61}" srcOrd="13" destOrd="0" presId="urn:microsoft.com/office/officeart/2005/8/layout/cycle8"/>
    <dgm:cxn modelId="{BDECA8DF-A7FE-477D-8AE1-CD8D03B92388}" type="presParOf" srcId="{8B69BC99-6B3E-467A-B78E-999066F70FE4}" destId="{3B939EF7-6A24-4317-A348-D550D21DDB7B}" srcOrd="14" destOrd="0" presId="urn:microsoft.com/office/officeart/2005/8/layout/cycle8"/>
    <dgm:cxn modelId="{2483C3C3-80E0-403E-A738-111E7B59A916}" type="presParOf" srcId="{8B69BC99-6B3E-467A-B78E-999066F70FE4}" destId="{D0FE238B-3845-4778-A63B-861C51A50A9E}" srcOrd="15" destOrd="0" presId="urn:microsoft.com/office/officeart/2005/8/layout/cycle8"/>
    <dgm:cxn modelId="{5AD25286-5BF1-4A6A-890D-74C379F1706A}" type="presParOf" srcId="{8B69BC99-6B3E-467A-B78E-999066F70FE4}" destId="{B336454E-896C-404B-8877-ED0D82EFE440}" srcOrd="16" destOrd="0" presId="urn:microsoft.com/office/officeart/2005/8/layout/cycle8"/>
    <dgm:cxn modelId="{BE7E5D0D-22FC-44A0-B4F9-2342D4F559D6}" type="presParOf" srcId="{8B69BC99-6B3E-467A-B78E-999066F70FE4}" destId="{23A06898-CFFE-4229-B1DE-F577703526BF}" srcOrd="17" destOrd="0" presId="urn:microsoft.com/office/officeart/2005/8/layout/cycle8"/>
    <dgm:cxn modelId="{D24A035A-1D49-410F-8EE2-5BC39672E788}" type="presParOf" srcId="{8B69BC99-6B3E-467A-B78E-999066F70FE4}" destId="{31932414-8D3E-475B-8D71-50C16B9784DF}" srcOrd="18" destOrd="0" presId="urn:microsoft.com/office/officeart/2005/8/layout/cycle8"/>
    <dgm:cxn modelId="{FB1090D7-0B73-4C67-B500-62C80685503B}" type="presParOf" srcId="{8B69BC99-6B3E-467A-B78E-999066F70FE4}" destId="{30C3DC39-8FD3-471B-B78C-58820B3B7220}" srcOrd="19" destOrd="0" presId="urn:microsoft.com/office/officeart/2005/8/layout/cycle8"/>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267F36B-1A2D-47F1-8040-7C8D7F42B644}"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18B28D05-3B8E-4CD6-AD78-7D26304DB04B}">
      <dgm:prSet phldrT="[Text]" phldr="0" custT="1"/>
      <dgm:spPr>
        <a:solidFill>
          <a:schemeClr val="tx2">
            <a:lumMod val="50000"/>
          </a:schemeClr>
        </a:solidFill>
      </dgm:spPr>
      <dgm:t>
        <a:bodyPr/>
        <a:lstStyle/>
        <a:p>
          <a:r>
            <a:rPr lang="en-US" sz="1600" dirty="0"/>
            <a:t> </a:t>
          </a:r>
          <a:r>
            <a:rPr lang="en-US" sz="2000" u="sng" dirty="0"/>
            <a:t>Inform ED Provider of Positive Screen </a:t>
          </a:r>
          <a:r>
            <a:rPr lang="en-US" sz="1800" dirty="0"/>
            <a:t>provider assesses the patient, describes treatment options (therapy and/or med) </a:t>
          </a:r>
          <a:endParaRPr lang="en-US" sz="2000" dirty="0"/>
        </a:p>
      </dgm:t>
    </dgm:pt>
    <dgm:pt modelId="{D0009A0B-6644-4FA5-8D24-774CFF23373F}" type="parTrans" cxnId="{BCA803DE-8B8B-4498-BF69-B092DBC2C8B5}">
      <dgm:prSet/>
      <dgm:spPr/>
      <dgm:t>
        <a:bodyPr/>
        <a:lstStyle/>
        <a:p>
          <a:endParaRPr lang="en-US"/>
        </a:p>
      </dgm:t>
    </dgm:pt>
    <dgm:pt modelId="{C0036680-2705-4C35-8CEC-6C5B05E1B9BA}" type="sibTrans" cxnId="{BCA803DE-8B8B-4498-BF69-B092DBC2C8B5}">
      <dgm:prSet/>
      <dgm:spPr>
        <a:solidFill>
          <a:schemeClr val="tx2">
            <a:lumMod val="50000"/>
          </a:schemeClr>
        </a:solidFill>
      </dgm:spPr>
      <dgm:t>
        <a:bodyPr/>
        <a:lstStyle/>
        <a:p>
          <a:endParaRPr lang="en-US"/>
        </a:p>
      </dgm:t>
    </dgm:pt>
    <dgm:pt modelId="{1237F401-6D49-408A-97C9-9454500F7B46}">
      <dgm:prSet phldrT="[Text]" phldr="0" custT="1"/>
      <dgm:spPr>
        <a:solidFill>
          <a:schemeClr val="tx2">
            <a:lumMod val="75000"/>
          </a:schemeClr>
        </a:solidFill>
      </dgm:spPr>
      <dgm:t>
        <a:bodyPr/>
        <a:lstStyle/>
        <a:p>
          <a:r>
            <a:rPr lang="en-US" sz="2000" u="sng" dirty="0"/>
            <a:t>Provide Treatment Options</a:t>
          </a:r>
        </a:p>
        <a:p>
          <a:r>
            <a:rPr lang="en-US" sz="1800" dirty="0"/>
            <a:t>Consult OB provider for treatment options/follow up,  for mod/severe can also call psych for help with meds start</a:t>
          </a:r>
        </a:p>
      </dgm:t>
    </dgm:pt>
    <dgm:pt modelId="{DC8F4C67-4DA5-4AC0-A6E1-F0350C38C1E7}" type="parTrans" cxnId="{AF492D24-C0B6-44D5-A3BC-C27A302DFAE6}">
      <dgm:prSet/>
      <dgm:spPr/>
      <dgm:t>
        <a:bodyPr/>
        <a:lstStyle/>
        <a:p>
          <a:endParaRPr lang="en-US"/>
        </a:p>
      </dgm:t>
    </dgm:pt>
    <dgm:pt modelId="{4520519C-58DE-4673-881F-E064FBC9166A}" type="sibTrans" cxnId="{AF492D24-C0B6-44D5-A3BC-C27A302DFAE6}">
      <dgm:prSet/>
      <dgm:spPr>
        <a:solidFill>
          <a:schemeClr val="tx2">
            <a:lumMod val="75000"/>
          </a:schemeClr>
        </a:solidFill>
      </dgm:spPr>
      <dgm:t>
        <a:bodyPr/>
        <a:lstStyle/>
        <a:p>
          <a:endParaRPr lang="en-US"/>
        </a:p>
      </dgm:t>
    </dgm:pt>
    <dgm:pt modelId="{0682E5D1-813E-4C7F-9061-16AE1581DD69}">
      <dgm:prSet custT="1"/>
      <dgm:spPr>
        <a:solidFill>
          <a:schemeClr val="tx2">
            <a:lumMod val="40000"/>
            <a:lumOff val="60000"/>
          </a:schemeClr>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dirty="0">
              <a:solidFill>
                <a:schemeClr val="tx1"/>
              </a:solidFill>
            </a:rPr>
            <a:t>Follow up calls with patient with PMH +screen who left the ED without making follow up appointments to confirm warm handoff to therapy/OB follow up. </a:t>
          </a:r>
        </a:p>
        <a:p>
          <a:pPr marL="0" lvl="0" defTabSz="488950">
            <a:lnSpc>
              <a:spcPct val="90000"/>
            </a:lnSpc>
            <a:spcBef>
              <a:spcPct val="0"/>
            </a:spcBef>
            <a:spcAft>
              <a:spcPct val="35000"/>
            </a:spcAft>
            <a:buNone/>
          </a:pPr>
          <a:endParaRPr lang="en-US" sz="1500" dirty="0"/>
        </a:p>
      </dgm:t>
    </dgm:pt>
    <dgm:pt modelId="{B8E349CB-A917-4C22-8AD7-9EE675803983}" type="sibTrans" cxnId="{0640EF4F-CEDE-484E-89DA-2ACF783FFFDC}">
      <dgm:prSet/>
      <dgm:spPr/>
      <dgm:t>
        <a:bodyPr/>
        <a:lstStyle/>
        <a:p>
          <a:endParaRPr lang="en-US"/>
        </a:p>
      </dgm:t>
    </dgm:pt>
    <dgm:pt modelId="{51506619-2DB9-4EA5-9372-20159F72C17B}" type="parTrans" cxnId="{0640EF4F-CEDE-484E-89DA-2ACF783FFFDC}">
      <dgm:prSet/>
      <dgm:spPr/>
      <dgm:t>
        <a:bodyPr/>
        <a:lstStyle/>
        <a:p>
          <a:endParaRPr lang="en-US"/>
        </a:p>
      </dgm:t>
    </dgm:pt>
    <dgm:pt modelId="{8DF2F92A-EF6F-47F4-9C1B-0EBC1729067D}">
      <dgm:prSet phldrT="[Text]" phldr="0" custT="1"/>
      <dgm:spPr>
        <a:solidFill>
          <a:schemeClr val="tx2">
            <a:lumMod val="60000"/>
            <a:lumOff val="40000"/>
          </a:schemeClr>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u="sng" dirty="0">
              <a:solidFill>
                <a:schemeClr val="tx1"/>
              </a:solidFill>
            </a:rPr>
            <a:t>Warm Handoffs for close follow up</a:t>
          </a:r>
        </a:p>
        <a:p>
          <a:pPr marL="0" marR="0" lvl="0" indent="0" defTabSz="914400" eaLnBrk="1" fontAlgn="auto" latinLnBrk="0" hangingPunct="1">
            <a:lnSpc>
              <a:spcPct val="100000"/>
            </a:lnSpc>
            <a:spcBef>
              <a:spcPts val="0"/>
            </a:spcBef>
            <a:spcAft>
              <a:spcPts val="0"/>
            </a:spcAft>
            <a:buClrTx/>
            <a:buSzTx/>
            <a:buFontTx/>
            <a:buNone/>
            <a:tabLst/>
            <a:defRPr/>
          </a:pPr>
          <a:r>
            <a:rPr lang="en-US" sz="1600" dirty="0">
              <a:solidFill>
                <a:schemeClr val="tx1"/>
              </a:solidFill>
            </a:rPr>
            <a:t>Call IL MOMS Line / online referral /social work for therapy follow up, schedule 2 week OB follow up                                     </a:t>
          </a:r>
        </a:p>
        <a:p>
          <a:pPr marL="0" lvl="0" defTabSz="311150">
            <a:lnSpc>
              <a:spcPct val="90000"/>
            </a:lnSpc>
            <a:spcBef>
              <a:spcPct val="0"/>
            </a:spcBef>
            <a:spcAft>
              <a:spcPct val="35000"/>
            </a:spcAft>
            <a:buNone/>
          </a:pPr>
          <a:endParaRPr lang="en-US" sz="1500" dirty="0"/>
        </a:p>
      </dgm:t>
    </dgm:pt>
    <dgm:pt modelId="{E1D5E0A7-8525-4A0A-AF8E-59496444BDC9}" type="sibTrans" cxnId="{11FBABE0-967D-4B6F-85DB-62527C2DC62B}">
      <dgm:prSet/>
      <dgm:spPr>
        <a:solidFill>
          <a:schemeClr val="tx2">
            <a:lumMod val="60000"/>
            <a:lumOff val="40000"/>
          </a:schemeClr>
        </a:solidFill>
      </dgm:spPr>
      <dgm:t>
        <a:bodyPr/>
        <a:lstStyle/>
        <a:p>
          <a:endParaRPr lang="en-US"/>
        </a:p>
      </dgm:t>
    </dgm:pt>
    <dgm:pt modelId="{DD297B0B-6A22-4F27-8E31-48B37B8ED7B2}" type="parTrans" cxnId="{11FBABE0-967D-4B6F-85DB-62527C2DC62B}">
      <dgm:prSet/>
      <dgm:spPr/>
      <dgm:t>
        <a:bodyPr/>
        <a:lstStyle/>
        <a:p>
          <a:endParaRPr lang="en-US"/>
        </a:p>
      </dgm:t>
    </dgm:pt>
    <dgm:pt modelId="{AB2243C8-DB7B-4194-8352-21CB0DF50234}" type="pres">
      <dgm:prSet presAssocID="{F267F36B-1A2D-47F1-8040-7C8D7F42B644}" presName="linearFlow" presStyleCnt="0">
        <dgm:presLayoutVars>
          <dgm:resizeHandles val="exact"/>
        </dgm:presLayoutVars>
      </dgm:prSet>
      <dgm:spPr/>
    </dgm:pt>
    <dgm:pt modelId="{7C4757B0-E34A-457B-A1CC-D522A4E749E4}" type="pres">
      <dgm:prSet presAssocID="{18B28D05-3B8E-4CD6-AD78-7D26304DB04B}" presName="node" presStyleLbl="node1" presStyleIdx="0" presStyleCnt="4">
        <dgm:presLayoutVars>
          <dgm:bulletEnabled val="1"/>
        </dgm:presLayoutVars>
      </dgm:prSet>
      <dgm:spPr/>
    </dgm:pt>
    <dgm:pt modelId="{17619A3B-EF1A-42EF-B790-5D0E2B67A10F}" type="pres">
      <dgm:prSet presAssocID="{C0036680-2705-4C35-8CEC-6C5B05E1B9BA}" presName="sibTrans" presStyleLbl="sibTrans2D1" presStyleIdx="0" presStyleCnt="3"/>
      <dgm:spPr/>
    </dgm:pt>
    <dgm:pt modelId="{60BD4BE4-BCAC-41C4-B905-57DB0DAB2858}" type="pres">
      <dgm:prSet presAssocID="{C0036680-2705-4C35-8CEC-6C5B05E1B9BA}" presName="connectorText" presStyleLbl="sibTrans2D1" presStyleIdx="0" presStyleCnt="3"/>
      <dgm:spPr/>
    </dgm:pt>
    <dgm:pt modelId="{59DD9151-7C53-4889-ABD0-180603E5AF83}" type="pres">
      <dgm:prSet presAssocID="{1237F401-6D49-408A-97C9-9454500F7B46}" presName="node" presStyleLbl="node1" presStyleIdx="1" presStyleCnt="4">
        <dgm:presLayoutVars>
          <dgm:bulletEnabled val="1"/>
        </dgm:presLayoutVars>
      </dgm:prSet>
      <dgm:spPr/>
    </dgm:pt>
    <dgm:pt modelId="{7E79D9AC-CEAB-42AA-895F-B78ABF8ACD3D}" type="pres">
      <dgm:prSet presAssocID="{4520519C-58DE-4673-881F-E064FBC9166A}" presName="sibTrans" presStyleLbl="sibTrans2D1" presStyleIdx="1" presStyleCnt="3"/>
      <dgm:spPr/>
    </dgm:pt>
    <dgm:pt modelId="{DA1606A4-A8D3-4BF7-BE7D-67B6D66ECAB2}" type="pres">
      <dgm:prSet presAssocID="{4520519C-58DE-4673-881F-E064FBC9166A}" presName="connectorText" presStyleLbl="sibTrans2D1" presStyleIdx="1" presStyleCnt="3"/>
      <dgm:spPr/>
    </dgm:pt>
    <dgm:pt modelId="{62F2AE83-FF8A-4F4C-8306-079957B1FD23}" type="pres">
      <dgm:prSet presAssocID="{8DF2F92A-EF6F-47F4-9C1B-0EBC1729067D}" presName="node" presStyleLbl="node1" presStyleIdx="2" presStyleCnt="4" custScaleY="96461">
        <dgm:presLayoutVars>
          <dgm:bulletEnabled val="1"/>
        </dgm:presLayoutVars>
      </dgm:prSet>
      <dgm:spPr/>
    </dgm:pt>
    <dgm:pt modelId="{932A82AF-F0BB-4087-AD4D-AB17124718D0}" type="pres">
      <dgm:prSet presAssocID="{E1D5E0A7-8525-4A0A-AF8E-59496444BDC9}" presName="sibTrans" presStyleLbl="sibTrans2D1" presStyleIdx="2" presStyleCnt="3"/>
      <dgm:spPr/>
    </dgm:pt>
    <dgm:pt modelId="{40019C35-D3A5-43C6-A485-BB0D375F81F8}" type="pres">
      <dgm:prSet presAssocID="{E1D5E0A7-8525-4A0A-AF8E-59496444BDC9}" presName="connectorText" presStyleLbl="sibTrans2D1" presStyleIdx="2" presStyleCnt="3"/>
      <dgm:spPr/>
    </dgm:pt>
    <dgm:pt modelId="{ECC1F260-C728-4336-BB2B-DD2E28A899BA}" type="pres">
      <dgm:prSet presAssocID="{0682E5D1-813E-4C7F-9061-16AE1581DD69}" presName="node" presStyleLbl="node1" presStyleIdx="3" presStyleCnt="4">
        <dgm:presLayoutVars>
          <dgm:bulletEnabled val="1"/>
        </dgm:presLayoutVars>
      </dgm:prSet>
      <dgm:spPr/>
    </dgm:pt>
  </dgm:ptLst>
  <dgm:cxnLst>
    <dgm:cxn modelId="{AF492D24-C0B6-44D5-A3BC-C27A302DFAE6}" srcId="{F267F36B-1A2D-47F1-8040-7C8D7F42B644}" destId="{1237F401-6D49-408A-97C9-9454500F7B46}" srcOrd="1" destOrd="0" parTransId="{DC8F4C67-4DA5-4AC0-A6E1-F0350C38C1E7}" sibTransId="{4520519C-58DE-4673-881F-E064FBC9166A}"/>
    <dgm:cxn modelId="{82498927-75D9-4DDD-9CB0-13FE32E5B5D7}" type="presOf" srcId="{1237F401-6D49-408A-97C9-9454500F7B46}" destId="{59DD9151-7C53-4889-ABD0-180603E5AF83}" srcOrd="0" destOrd="0" presId="urn:microsoft.com/office/officeart/2005/8/layout/process2"/>
    <dgm:cxn modelId="{25E0B02C-801B-4A15-973E-866956D411D3}" type="presOf" srcId="{C0036680-2705-4C35-8CEC-6C5B05E1B9BA}" destId="{60BD4BE4-BCAC-41C4-B905-57DB0DAB2858}" srcOrd="1" destOrd="0" presId="urn:microsoft.com/office/officeart/2005/8/layout/process2"/>
    <dgm:cxn modelId="{70318C5C-EBB0-4061-9C2C-B5A87348099E}" type="presOf" srcId="{E1D5E0A7-8525-4A0A-AF8E-59496444BDC9}" destId="{40019C35-D3A5-43C6-A485-BB0D375F81F8}" srcOrd="1" destOrd="0" presId="urn:microsoft.com/office/officeart/2005/8/layout/process2"/>
    <dgm:cxn modelId="{D2AE4F6A-67FA-425C-BDAF-00A7FBF4C479}" type="presOf" srcId="{C0036680-2705-4C35-8CEC-6C5B05E1B9BA}" destId="{17619A3B-EF1A-42EF-B790-5D0E2B67A10F}" srcOrd="0" destOrd="0" presId="urn:microsoft.com/office/officeart/2005/8/layout/process2"/>
    <dgm:cxn modelId="{0640EF4F-CEDE-484E-89DA-2ACF783FFFDC}" srcId="{F267F36B-1A2D-47F1-8040-7C8D7F42B644}" destId="{0682E5D1-813E-4C7F-9061-16AE1581DD69}" srcOrd="3" destOrd="0" parTransId="{51506619-2DB9-4EA5-9372-20159F72C17B}" sibTransId="{B8E349CB-A917-4C22-8AD7-9EE675803983}"/>
    <dgm:cxn modelId="{91730180-FF29-419B-9C2B-A2BEB687D7B2}" type="presOf" srcId="{E1D5E0A7-8525-4A0A-AF8E-59496444BDC9}" destId="{932A82AF-F0BB-4087-AD4D-AB17124718D0}" srcOrd="0" destOrd="0" presId="urn:microsoft.com/office/officeart/2005/8/layout/process2"/>
    <dgm:cxn modelId="{8DF23280-7984-41DD-A5F6-67B218966DBD}" type="presOf" srcId="{18B28D05-3B8E-4CD6-AD78-7D26304DB04B}" destId="{7C4757B0-E34A-457B-A1CC-D522A4E749E4}" srcOrd="0" destOrd="0" presId="urn:microsoft.com/office/officeart/2005/8/layout/process2"/>
    <dgm:cxn modelId="{925E76AF-8FB7-483A-A4AC-594626DE5DB6}" type="presOf" srcId="{4520519C-58DE-4673-881F-E064FBC9166A}" destId="{DA1606A4-A8D3-4BF7-BE7D-67B6D66ECAB2}" srcOrd="1" destOrd="0" presId="urn:microsoft.com/office/officeart/2005/8/layout/process2"/>
    <dgm:cxn modelId="{9F4677D1-80E1-4429-9188-71D0766A1C7F}" type="presOf" srcId="{F267F36B-1A2D-47F1-8040-7C8D7F42B644}" destId="{AB2243C8-DB7B-4194-8352-21CB0DF50234}" srcOrd="0" destOrd="0" presId="urn:microsoft.com/office/officeart/2005/8/layout/process2"/>
    <dgm:cxn modelId="{BCA803DE-8B8B-4498-BF69-B092DBC2C8B5}" srcId="{F267F36B-1A2D-47F1-8040-7C8D7F42B644}" destId="{18B28D05-3B8E-4CD6-AD78-7D26304DB04B}" srcOrd="0" destOrd="0" parTransId="{D0009A0B-6644-4FA5-8D24-774CFF23373F}" sibTransId="{C0036680-2705-4C35-8CEC-6C5B05E1B9BA}"/>
    <dgm:cxn modelId="{11FBABE0-967D-4B6F-85DB-62527C2DC62B}" srcId="{F267F36B-1A2D-47F1-8040-7C8D7F42B644}" destId="{8DF2F92A-EF6F-47F4-9C1B-0EBC1729067D}" srcOrd="2" destOrd="0" parTransId="{DD297B0B-6A22-4F27-8E31-48B37B8ED7B2}" sibTransId="{E1D5E0A7-8525-4A0A-AF8E-59496444BDC9}"/>
    <dgm:cxn modelId="{87BD61E9-4A34-40BA-AF3C-7C806919DD21}" type="presOf" srcId="{0682E5D1-813E-4C7F-9061-16AE1581DD69}" destId="{ECC1F260-C728-4336-BB2B-DD2E28A899BA}" srcOrd="0" destOrd="0" presId="urn:microsoft.com/office/officeart/2005/8/layout/process2"/>
    <dgm:cxn modelId="{1A6FACF4-F533-4C46-9AD2-6511060E82F9}" type="presOf" srcId="{8DF2F92A-EF6F-47F4-9C1B-0EBC1729067D}" destId="{62F2AE83-FF8A-4F4C-8306-079957B1FD23}" srcOrd="0" destOrd="0" presId="urn:microsoft.com/office/officeart/2005/8/layout/process2"/>
    <dgm:cxn modelId="{BC8E2DF8-CC31-4416-9EE1-8F6B66384D52}" type="presOf" srcId="{4520519C-58DE-4673-881F-E064FBC9166A}" destId="{7E79D9AC-CEAB-42AA-895F-B78ABF8ACD3D}" srcOrd="0" destOrd="0" presId="urn:microsoft.com/office/officeart/2005/8/layout/process2"/>
    <dgm:cxn modelId="{F031831C-53CD-4DA8-9D51-7CFC3A0D9444}" type="presParOf" srcId="{AB2243C8-DB7B-4194-8352-21CB0DF50234}" destId="{7C4757B0-E34A-457B-A1CC-D522A4E749E4}" srcOrd="0" destOrd="0" presId="urn:microsoft.com/office/officeart/2005/8/layout/process2"/>
    <dgm:cxn modelId="{66867A1C-603F-42F2-AF81-FA83904D5D82}" type="presParOf" srcId="{AB2243C8-DB7B-4194-8352-21CB0DF50234}" destId="{17619A3B-EF1A-42EF-B790-5D0E2B67A10F}" srcOrd="1" destOrd="0" presId="urn:microsoft.com/office/officeart/2005/8/layout/process2"/>
    <dgm:cxn modelId="{D0DCB7CB-5B8A-45C2-A161-8EF24461334D}" type="presParOf" srcId="{17619A3B-EF1A-42EF-B790-5D0E2B67A10F}" destId="{60BD4BE4-BCAC-41C4-B905-57DB0DAB2858}" srcOrd="0" destOrd="0" presId="urn:microsoft.com/office/officeart/2005/8/layout/process2"/>
    <dgm:cxn modelId="{17EF69B7-AAB3-4E66-9B3E-883A45AA56C6}" type="presParOf" srcId="{AB2243C8-DB7B-4194-8352-21CB0DF50234}" destId="{59DD9151-7C53-4889-ABD0-180603E5AF83}" srcOrd="2" destOrd="0" presId="urn:microsoft.com/office/officeart/2005/8/layout/process2"/>
    <dgm:cxn modelId="{B1A88D26-C586-4DBB-8BF5-EEF7E83D84E8}" type="presParOf" srcId="{AB2243C8-DB7B-4194-8352-21CB0DF50234}" destId="{7E79D9AC-CEAB-42AA-895F-B78ABF8ACD3D}" srcOrd="3" destOrd="0" presId="urn:microsoft.com/office/officeart/2005/8/layout/process2"/>
    <dgm:cxn modelId="{7F0AEF44-B774-4238-B41C-0B030F94604E}" type="presParOf" srcId="{7E79D9AC-CEAB-42AA-895F-B78ABF8ACD3D}" destId="{DA1606A4-A8D3-4BF7-BE7D-67B6D66ECAB2}" srcOrd="0" destOrd="0" presId="urn:microsoft.com/office/officeart/2005/8/layout/process2"/>
    <dgm:cxn modelId="{BCACA882-9BB9-4EEB-831C-64677C6102CB}" type="presParOf" srcId="{AB2243C8-DB7B-4194-8352-21CB0DF50234}" destId="{62F2AE83-FF8A-4F4C-8306-079957B1FD23}" srcOrd="4" destOrd="0" presId="urn:microsoft.com/office/officeart/2005/8/layout/process2"/>
    <dgm:cxn modelId="{68DC4764-2DDF-4904-B363-4B99230792AE}" type="presParOf" srcId="{AB2243C8-DB7B-4194-8352-21CB0DF50234}" destId="{932A82AF-F0BB-4087-AD4D-AB17124718D0}" srcOrd="5" destOrd="0" presId="urn:microsoft.com/office/officeart/2005/8/layout/process2"/>
    <dgm:cxn modelId="{5DEBD567-2B30-43DC-9891-9290407EFBEA}" type="presParOf" srcId="{932A82AF-F0BB-4087-AD4D-AB17124718D0}" destId="{40019C35-D3A5-43C6-A485-BB0D375F81F8}" srcOrd="0" destOrd="0" presId="urn:microsoft.com/office/officeart/2005/8/layout/process2"/>
    <dgm:cxn modelId="{E7A29212-4B43-459C-B361-573F8A8FC892}" type="presParOf" srcId="{AB2243C8-DB7B-4194-8352-21CB0DF50234}" destId="{ECC1F260-C728-4336-BB2B-DD2E28A899BA}" srcOrd="6"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4B032D-09FD-4085-8698-E820B955C52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D8596344-0E37-4615-8222-5C31D3242161}">
      <dgm:prSet phldrT="[Text]" phldr="0"/>
      <dgm:spPr/>
      <dgm:t>
        <a:bodyPr/>
        <a:lstStyle/>
        <a:p>
          <a:r>
            <a:rPr lang="en-US" dirty="0">
              <a:solidFill>
                <a:schemeClr val="tx1">
                  <a:lumMod val="50000"/>
                </a:schemeClr>
              </a:solidFill>
            </a:rPr>
            <a:t>Engage Providers</a:t>
          </a:r>
        </a:p>
      </dgm:t>
    </dgm:pt>
    <dgm:pt modelId="{FF2EA49D-B213-49F1-9C9F-57AFD497B110}" type="parTrans" cxnId="{AC1D8DD0-BE93-426E-ADAA-5A211D614ADE}">
      <dgm:prSet/>
      <dgm:spPr/>
      <dgm:t>
        <a:bodyPr/>
        <a:lstStyle/>
        <a:p>
          <a:endParaRPr lang="en-US"/>
        </a:p>
      </dgm:t>
    </dgm:pt>
    <dgm:pt modelId="{C9B115BB-2AA2-4A3C-92A1-12571E8D7FC6}" type="sibTrans" cxnId="{AC1D8DD0-BE93-426E-ADAA-5A211D614ADE}">
      <dgm:prSet/>
      <dgm:spPr/>
      <dgm:t>
        <a:bodyPr/>
        <a:lstStyle/>
        <a:p>
          <a:endParaRPr lang="en-US"/>
        </a:p>
      </dgm:t>
    </dgm:pt>
    <dgm:pt modelId="{969371AE-D228-43F9-B482-B2FE909BB4F6}">
      <dgm:prSet phldrT="[Text]" custT="1"/>
      <dgm:spPr/>
      <dgm:t>
        <a:bodyPr/>
        <a:lstStyle/>
        <a:p>
          <a:pPr>
            <a:lnSpc>
              <a:spcPct val="100000"/>
            </a:lnSpc>
            <a:spcBef>
              <a:spcPts val="600"/>
            </a:spcBef>
            <a:spcAft>
              <a:spcPts val="600"/>
            </a:spcAft>
            <a:buClr>
              <a:srgbClr val="000000"/>
            </a:buClr>
            <a:buFont typeface="Arial" panose="020B0604020202020204" pitchFamily="34" charset="0"/>
            <a:buChar char="•"/>
          </a:pPr>
          <a:r>
            <a:rPr lang="en-US" sz="2000" dirty="0">
              <a:latin typeface="Arial"/>
              <a:cs typeface="Arial"/>
              <a:sym typeface="Arial"/>
            </a:rPr>
            <a:t>Host grand rounds</a:t>
          </a:r>
          <a:endParaRPr lang="en-US" sz="2000" dirty="0"/>
        </a:p>
      </dgm:t>
    </dgm:pt>
    <dgm:pt modelId="{3DBC53D1-0F2A-489B-937F-75B0157D0CCF}" type="parTrans" cxnId="{30228587-4719-41B9-BA62-5E026B233CA4}">
      <dgm:prSet/>
      <dgm:spPr/>
      <dgm:t>
        <a:bodyPr/>
        <a:lstStyle/>
        <a:p>
          <a:endParaRPr lang="en-US"/>
        </a:p>
      </dgm:t>
    </dgm:pt>
    <dgm:pt modelId="{B668E435-A417-4842-984D-8B16B8BA8E92}" type="sibTrans" cxnId="{30228587-4719-41B9-BA62-5E026B233CA4}">
      <dgm:prSet/>
      <dgm:spPr/>
      <dgm:t>
        <a:bodyPr/>
        <a:lstStyle/>
        <a:p>
          <a:endParaRPr lang="en-US"/>
        </a:p>
      </dgm:t>
    </dgm:pt>
    <dgm:pt modelId="{C62EC995-06C1-42FA-87D0-91F4D46C965E}">
      <dgm:prSet phldrT="[Text]" phldr="0"/>
      <dgm:spPr/>
      <dgm:t>
        <a:bodyPr/>
        <a:lstStyle/>
        <a:p>
          <a:r>
            <a:rPr lang="en-US" dirty="0">
              <a:solidFill>
                <a:schemeClr val="tx1">
                  <a:lumMod val="50000"/>
                </a:schemeClr>
              </a:solidFill>
            </a:rPr>
            <a:t>Promote State Resources</a:t>
          </a:r>
        </a:p>
      </dgm:t>
    </dgm:pt>
    <dgm:pt modelId="{6A3C1FA0-EAC9-4847-A6B5-38E886E3C803}" type="parTrans" cxnId="{EC1B8115-B2C4-4CF7-903F-2948D09D35C4}">
      <dgm:prSet/>
      <dgm:spPr/>
      <dgm:t>
        <a:bodyPr/>
        <a:lstStyle/>
        <a:p>
          <a:endParaRPr lang="en-US"/>
        </a:p>
      </dgm:t>
    </dgm:pt>
    <dgm:pt modelId="{A12FDD29-A48E-4CFB-A294-A8EF584331CF}" type="sibTrans" cxnId="{EC1B8115-B2C4-4CF7-903F-2948D09D35C4}">
      <dgm:prSet/>
      <dgm:spPr/>
      <dgm:t>
        <a:bodyPr/>
        <a:lstStyle/>
        <a:p>
          <a:endParaRPr lang="en-US"/>
        </a:p>
      </dgm:t>
    </dgm:pt>
    <dgm:pt modelId="{546F7991-A93C-453D-8082-12DE0041ABB4}">
      <dgm:prSet phldrT="[Text]" custT="1"/>
      <dgm:spPr/>
      <dgm:t>
        <a:bodyPr/>
        <a:lstStyle/>
        <a:p>
          <a:pPr>
            <a:lnSpc>
              <a:spcPct val="100000"/>
            </a:lnSpc>
            <a:spcBef>
              <a:spcPts val="600"/>
            </a:spcBef>
            <a:spcAft>
              <a:spcPts val="600"/>
            </a:spcAft>
            <a:buClr>
              <a:srgbClr val="000000"/>
            </a:buClr>
            <a:buFont typeface="Arial" panose="020B0604020202020204" pitchFamily="34" charset="0"/>
            <a:buChar char="•"/>
          </a:pPr>
          <a:r>
            <a:rPr lang="en-US" sz="2000" dirty="0">
              <a:latin typeface="Arial"/>
              <a:cs typeface="Arial"/>
              <a:sym typeface="Arial"/>
            </a:rPr>
            <a:t>Have every provider register for </a:t>
          </a:r>
          <a:r>
            <a:rPr lang="en-US" sz="2000" b="1" dirty="0">
              <a:latin typeface="Arial"/>
              <a:cs typeface="Arial"/>
              <a:sym typeface="Arial"/>
            </a:rPr>
            <a:t>IL </a:t>
          </a:r>
          <a:r>
            <a:rPr lang="en-US" sz="2000" b="1" dirty="0" err="1">
              <a:latin typeface="Arial"/>
              <a:cs typeface="Arial"/>
              <a:sym typeface="Arial"/>
            </a:rPr>
            <a:t>DocAssist</a:t>
          </a:r>
          <a:endParaRPr lang="en-US" sz="2000" b="1" dirty="0"/>
        </a:p>
      </dgm:t>
    </dgm:pt>
    <dgm:pt modelId="{A14D707F-117E-4F8E-A65A-4F35EEA6B6D0}" type="parTrans" cxnId="{40EDF792-8C8E-4D8E-9C95-B1A387198053}">
      <dgm:prSet/>
      <dgm:spPr/>
      <dgm:t>
        <a:bodyPr/>
        <a:lstStyle/>
        <a:p>
          <a:endParaRPr lang="en-US"/>
        </a:p>
      </dgm:t>
    </dgm:pt>
    <dgm:pt modelId="{1651F0DB-DBE2-4E62-ACAD-319D0D32F140}" type="sibTrans" cxnId="{40EDF792-8C8E-4D8E-9C95-B1A387198053}">
      <dgm:prSet/>
      <dgm:spPr/>
      <dgm:t>
        <a:bodyPr/>
        <a:lstStyle/>
        <a:p>
          <a:endParaRPr lang="en-US"/>
        </a:p>
      </dgm:t>
    </dgm:pt>
    <dgm:pt modelId="{8713DE4F-184F-413F-87AA-506B39E185FF}">
      <dgm:prSet phldrT="[Text]" phldr="0"/>
      <dgm:spPr>
        <a:solidFill>
          <a:schemeClr val="accent6">
            <a:lumMod val="60000"/>
            <a:lumOff val="40000"/>
          </a:schemeClr>
        </a:solidFill>
        <a:ln>
          <a:solidFill>
            <a:schemeClr val="accent6">
              <a:lumMod val="20000"/>
              <a:lumOff val="80000"/>
            </a:schemeClr>
          </a:solidFill>
        </a:ln>
      </dgm:spPr>
      <dgm:t>
        <a:bodyPr/>
        <a:lstStyle/>
        <a:p>
          <a:r>
            <a:rPr lang="en-US" dirty="0">
              <a:solidFill>
                <a:schemeClr val="tx1">
                  <a:lumMod val="50000"/>
                </a:schemeClr>
              </a:solidFill>
            </a:rPr>
            <a:t>Identify Behavioral Health Resources</a:t>
          </a:r>
        </a:p>
      </dgm:t>
    </dgm:pt>
    <dgm:pt modelId="{213D491F-6603-4F3A-9C71-CF0364B07C7E}" type="parTrans" cxnId="{6D40F449-09CD-48C0-B1AE-1AC22A12F7E8}">
      <dgm:prSet/>
      <dgm:spPr/>
      <dgm:t>
        <a:bodyPr/>
        <a:lstStyle/>
        <a:p>
          <a:endParaRPr lang="en-US"/>
        </a:p>
      </dgm:t>
    </dgm:pt>
    <dgm:pt modelId="{147CD778-4BB6-4511-8624-0B735D51587D}" type="sibTrans" cxnId="{6D40F449-09CD-48C0-B1AE-1AC22A12F7E8}">
      <dgm:prSet/>
      <dgm:spPr/>
      <dgm:t>
        <a:bodyPr/>
        <a:lstStyle/>
        <a:p>
          <a:endParaRPr lang="en-US"/>
        </a:p>
      </dgm:t>
    </dgm:pt>
    <dgm:pt modelId="{FA8BD439-2BEB-4FA5-8D84-AB962460C423}">
      <dgm:prSet phldrT="[Text]" phldr="0" custT="1"/>
      <dgm:spPr>
        <a:solidFill>
          <a:schemeClr val="accent6">
            <a:lumMod val="40000"/>
            <a:lumOff val="60000"/>
            <a:alpha val="90000"/>
          </a:schemeClr>
        </a:solidFill>
        <a:ln>
          <a:solidFill>
            <a:schemeClr val="accent6">
              <a:lumMod val="20000"/>
              <a:lumOff val="80000"/>
              <a:alpha val="90000"/>
            </a:schemeClr>
          </a:solidFill>
        </a:ln>
      </dgm:spPr>
      <dgm:t>
        <a:bodyPr/>
        <a:lstStyle/>
        <a:p>
          <a:pPr>
            <a:lnSpc>
              <a:spcPct val="100000"/>
            </a:lnSpc>
            <a:spcBef>
              <a:spcPts val="600"/>
            </a:spcBef>
            <a:spcAft>
              <a:spcPts val="600"/>
            </a:spcAft>
          </a:pPr>
          <a:r>
            <a:rPr lang="en-US" sz="2000" dirty="0"/>
            <a:t>Utilize ILPQC PMH resource mapping tool</a:t>
          </a:r>
        </a:p>
      </dgm:t>
    </dgm:pt>
    <dgm:pt modelId="{EC892FC2-82F4-4AA6-A9E8-EB74764933F8}" type="parTrans" cxnId="{B18ACB39-8DFD-4A70-A7D9-81080D2DD73B}">
      <dgm:prSet/>
      <dgm:spPr/>
      <dgm:t>
        <a:bodyPr/>
        <a:lstStyle/>
        <a:p>
          <a:endParaRPr lang="en-US"/>
        </a:p>
      </dgm:t>
    </dgm:pt>
    <dgm:pt modelId="{60DE03CB-B83A-4AEB-AD47-D923BD53F34E}" type="sibTrans" cxnId="{B18ACB39-8DFD-4A70-A7D9-81080D2DD73B}">
      <dgm:prSet/>
      <dgm:spPr/>
      <dgm:t>
        <a:bodyPr/>
        <a:lstStyle/>
        <a:p>
          <a:endParaRPr lang="en-US"/>
        </a:p>
      </dgm:t>
    </dgm:pt>
    <dgm:pt modelId="{0FF6D783-7F26-48BA-B790-9D8FA1D9B86D}">
      <dgm:prSet phldrT="[Text]" phldr="0" custT="1"/>
      <dgm:spPr>
        <a:solidFill>
          <a:schemeClr val="accent6">
            <a:lumMod val="40000"/>
            <a:lumOff val="60000"/>
            <a:alpha val="90000"/>
          </a:schemeClr>
        </a:solidFill>
        <a:ln>
          <a:solidFill>
            <a:schemeClr val="accent6">
              <a:lumMod val="20000"/>
              <a:lumOff val="80000"/>
              <a:alpha val="90000"/>
            </a:schemeClr>
          </a:solidFill>
        </a:ln>
      </dgm:spPr>
      <dgm:t>
        <a:bodyPr/>
        <a:lstStyle/>
        <a:p>
          <a:pPr>
            <a:lnSpc>
              <a:spcPct val="100000"/>
            </a:lnSpc>
            <a:spcBef>
              <a:spcPts val="600"/>
            </a:spcBef>
            <a:spcAft>
              <a:spcPts val="600"/>
            </a:spcAft>
          </a:pPr>
          <a:r>
            <a:rPr lang="en-US" sz="2000" dirty="0"/>
            <a:t>Identify strategies for warm handoffs to therapy and support services</a:t>
          </a:r>
        </a:p>
      </dgm:t>
    </dgm:pt>
    <dgm:pt modelId="{FE7BB426-9673-4A77-941D-B0A5050D2B17}" type="parTrans" cxnId="{915EFF3C-86B5-4C42-B41B-F26C27493D83}">
      <dgm:prSet/>
      <dgm:spPr/>
      <dgm:t>
        <a:bodyPr/>
        <a:lstStyle/>
        <a:p>
          <a:endParaRPr lang="en-US"/>
        </a:p>
      </dgm:t>
    </dgm:pt>
    <dgm:pt modelId="{26F93253-6283-4F4E-B389-3A33E92F1892}" type="sibTrans" cxnId="{915EFF3C-86B5-4C42-B41B-F26C27493D83}">
      <dgm:prSet/>
      <dgm:spPr/>
      <dgm:t>
        <a:bodyPr/>
        <a:lstStyle/>
        <a:p>
          <a:endParaRPr lang="en-US"/>
        </a:p>
      </dgm:t>
    </dgm:pt>
    <dgm:pt modelId="{DAC07C7E-D81D-40AB-9134-8656A66AB9FC}">
      <dgm:prSet custT="1"/>
      <dgm:spPr/>
      <dgm:t>
        <a:bodyPr/>
        <a:lstStyle/>
        <a:p>
          <a:pPr>
            <a:lnSpc>
              <a:spcPct val="100000"/>
            </a:lnSpc>
            <a:spcBef>
              <a:spcPts val="600"/>
            </a:spcBef>
            <a:spcAft>
              <a:spcPts val="600"/>
            </a:spcAft>
          </a:pPr>
          <a:r>
            <a:rPr lang="en-US" sz="2000" dirty="0">
              <a:latin typeface="Arial"/>
              <a:cs typeface="Arial"/>
              <a:sym typeface="Arial"/>
            </a:rPr>
            <a:t>Assign PMH e-modules, post PMH posters and magnets</a:t>
          </a:r>
        </a:p>
      </dgm:t>
    </dgm:pt>
    <dgm:pt modelId="{7BF4F447-247A-4034-98B8-3EEBAA8C7F1E}" type="parTrans" cxnId="{4E0FF1E5-4BF9-4288-91F4-C61A2773FBE9}">
      <dgm:prSet/>
      <dgm:spPr/>
      <dgm:t>
        <a:bodyPr/>
        <a:lstStyle/>
        <a:p>
          <a:endParaRPr lang="en-US"/>
        </a:p>
      </dgm:t>
    </dgm:pt>
    <dgm:pt modelId="{F666BAF9-491D-49AC-B61C-AD4B4E9D5291}" type="sibTrans" cxnId="{4E0FF1E5-4BF9-4288-91F4-C61A2773FBE9}">
      <dgm:prSet/>
      <dgm:spPr/>
      <dgm:t>
        <a:bodyPr/>
        <a:lstStyle/>
        <a:p>
          <a:endParaRPr lang="en-US"/>
        </a:p>
      </dgm:t>
    </dgm:pt>
    <dgm:pt modelId="{B760FE15-9EA0-4B77-B0DC-A2124FBAEEAA}">
      <dgm:prSet custT="1"/>
      <dgm:spPr/>
      <dgm:t>
        <a:bodyPr/>
        <a:lstStyle/>
        <a:p>
          <a:pPr>
            <a:lnSpc>
              <a:spcPct val="100000"/>
            </a:lnSpc>
            <a:spcBef>
              <a:spcPts val="600"/>
            </a:spcBef>
            <a:spcAft>
              <a:spcPts val="600"/>
            </a:spcAft>
          </a:pPr>
          <a:r>
            <a:rPr lang="en-US" sz="2000" dirty="0">
              <a:latin typeface="Arial"/>
              <a:cs typeface="Arial"/>
              <a:sym typeface="Arial"/>
            </a:rPr>
            <a:t>Integrate </a:t>
          </a:r>
          <a:r>
            <a:rPr lang="en-US" sz="2000" b="1" dirty="0">
              <a:latin typeface="Arial"/>
              <a:cs typeface="Arial"/>
              <a:sym typeface="Arial"/>
            </a:rPr>
            <a:t>IL </a:t>
          </a:r>
          <a:r>
            <a:rPr lang="en-US" sz="2000" b="1" dirty="0" err="1">
              <a:latin typeface="Arial"/>
              <a:cs typeface="Arial"/>
              <a:sym typeface="Arial"/>
            </a:rPr>
            <a:t>DocAssist</a:t>
          </a:r>
          <a:r>
            <a:rPr lang="en-US" sz="2000" dirty="0">
              <a:latin typeface="Arial"/>
              <a:cs typeface="Arial"/>
              <a:sym typeface="Arial"/>
            </a:rPr>
            <a:t> and </a:t>
          </a:r>
          <a:r>
            <a:rPr lang="en-US" sz="2000" b="1" dirty="0">
              <a:latin typeface="Arial"/>
              <a:cs typeface="Arial"/>
              <a:sym typeface="Arial"/>
            </a:rPr>
            <a:t>IL MOMS Line</a:t>
          </a:r>
          <a:r>
            <a:rPr lang="en-US" sz="2000" dirty="0">
              <a:latin typeface="Arial"/>
              <a:cs typeface="Arial"/>
              <a:sym typeface="Arial"/>
            </a:rPr>
            <a:t> into PMH workflows</a:t>
          </a:r>
        </a:p>
      </dgm:t>
    </dgm:pt>
    <dgm:pt modelId="{76B7444B-72D7-4D73-95B7-9B4B6D88DC85}" type="parTrans" cxnId="{989EBF9D-4668-4302-9290-166CDAE4BE27}">
      <dgm:prSet/>
      <dgm:spPr/>
      <dgm:t>
        <a:bodyPr/>
        <a:lstStyle/>
        <a:p>
          <a:endParaRPr lang="en-US"/>
        </a:p>
      </dgm:t>
    </dgm:pt>
    <dgm:pt modelId="{F0EBE7D4-B06B-46A0-BDBB-2CFDB15346EE}" type="sibTrans" cxnId="{989EBF9D-4668-4302-9290-166CDAE4BE27}">
      <dgm:prSet/>
      <dgm:spPr/>
      <dgm:t>
        <a:bodyPr/>
        <a:lstStyle/>
        <a:p>
          <a:endParaRPr lang="en-US"/>
        </a:p>
      </dgm:t>
    </dgm:pt>
    <dgm:pt modelId="{F84FDC11-B1F7-4282-9AEA-0205D22D79D1}">
      <dgm:prSet phldrT="[Text]" phldr="0"/>
      <dgm:spPr/>
      <dgm:t>
        <a:bodyPr/>
        <a:lstStyle/>
        <a:p>
          <a:r>
            <a:rPr lang="en-US" dirty="0">
              <a:solidFill>
                <a:schemeClr val="tx1">
                  <a:lumMod val="50000"/>
                </a:schemeClr>
              </a:solidFill>
            </a:rPr>
            <a:t>Treatment &amp; Close OB Follow-up</a:t>
          </a:r>
        </a:p>
      </dgm:t>
    </dgm:pt>
    <dgm:pt modelId="{3FC246B2-0E9D-4C36-8876-993A1ADD02BA}" type="parTrans" cxnId="{364A58DC-98BE-455C-8ACE-25C3B2838096}">
      <dgm:prSet/>
      <dgm:spPr/>
      <dgm:t>
        <a:bodyPr/>
        <a:lstStyle/>
        <a:p>
          <a:endParaRPr lang="en-US"/>
        </a:p>
      </dgm:t>
    </dgm:pt>
    <dgm:pt modelId="{057F93EE-4E16-4817-903E-A217D0E10E00}" type="sibTrans" cxnId="{364A58DC-98BE-455C-8ACE-25C3B2838096}">
      <dgm:prSet/>
      <dgm:spPr/>
      <dgm:t>
        <a:bodyPr/>
        <a:lstStyle/>
        <a:p>
          <a:endParaRPr lang="en-US"/>
        </a:p>
      </dgm:t>
    </dgm:pt>
    <dgm:pt modelId="{1AF7F154-6D8C-4444-B825-D6E822AC72DE}">
      <dgm:prSet phldrT="[Text]" phldr="0" custT="1"/>
      <dgm:spPr/>
      <dgm:t>
        <a:bodyPr/>
        <a:lstStyle/>
        <a:p>
          <a:pPr>
            <a:lnSpc>
              <a:spcPct val="100000"/>
            </a:lnSpc>
            <a:spcBef>
              <a:spcPts val="600"/>
            </a:spcBef>
            <a:spcAft>
              <a:spcPts val="600"/>
            </a:spcAft>
          </a:pPr>
          <a:r>
            <a:rPr lang="en-US" sz="2000" dirty="0"/>
            <a:t>Automate </a:t>
          </a:r>
          <a:r>
            <a:rPr lang="en-US" sz="2000" b="1" dirty="0"/>
            <a:t>2-week close</a:t>
          </a:r>
          <a:r>
            <a:rPr lang="en-US" sz="2000" dirty="0"/>
            <a:t> OB follow-up for patients who screen positive</a:t>
          </a:r>
        </a:p>
      </dgm:t>
    </dgm:pt>
    <dgm:pt modelId="{9C6A9B59-9578-4D86-845C-A7DFF91340E5}" type="parTrans" cxnId="{FB0C475B-C47A-4B21-97E4-826D2460D8C4}">
      <dgm:prSet/>
      <dgm:spPr/>
      <dgm:t>
        <a:bodyPr/>
        <a:lstStyle/>
        <a:p>
          <a:endParaRPr lang="en-US"/>
        </a:p>
      </dgm:t>
    </dgm:pt>
    <dgm:pt modelId="{45EDFB51-5A69-4D2D-A5BD-424F54ED2540}" type="sibTrans" cxnId="{FB0C475B-C47A-4B21-97E4-826D2460D8C4}">
      <dgm:prSet/>
      <dgm:spPr/>
      <dgm:t>
        <a:bodyPr/>
        <a:lstStyle/>
        <a:p>
          <a:endParaRPr lang="en-US"/>
        </a:p>
      </dgm:t>
    </dgm:pt>
    <dgm:pt modelId="{24B2EBF5-7E96-4600-88B8-706A8968EC36}">
      <dgm:prSet phldrT="[Text]" phldr="0" custT="1"/>
      <dgm:spPr/>
      <dgm:t>
        <a:bodyPr/>
        <a:lstStyle/>
        <a:p>
          <a:pPr>
            <a:lnSpc>
              <a:spcPct val="100000"/>
            </a:lnSpc>
            <a:spcBef>
              <a:spcPts val="600"/>
            </a:spcBef>
            <a:spcAft>
              <a:spcPts val="600"/>
            </a:spcAft>
          </a:pPr>
          <a:r>
            <a:rPr lang="en-US" sz="2000" dirty="0"/>
            <a:t>Ensure providers have treatment algorithms easily accessible</a:t>
          </a:r>
        </a:p>
      </dgm:t>
    </dgm:pt>
    <dgm:pt modelId="{8B2D0CB1-A677-4E9B-8C1E-A7E684D3CB1E}" type="parTrans" cxnId="{162897D0-0A76-402D-B839-30F64EC35051}">
      <dgm:prSet/>
      <dgm:spPr/>
      <dgm:t>
        <a:bodyPr/>
        <a:lstStyle/>
        <a:p>
          <a:endParaRPr lang="en-US"/>
        </a:p>
      </dgm:t>
    </dgm:pt>
    <dgm:pt modelId="{DC020AC0-0201-4928-801C-39F40689D479}" type="sibTrans" cxnId="{162897D0-0A76-402D-B839-30F64EC35051}">
      <dgm:prSet/>
      <dgm:spPr/>
      <dgm:t>
        <a:bodyPr/>
        <a:lstStyle/>
        <a:p>
          <a:endParaRPr lang="en-US"/>
        </a:p>
      </dgm:t>
    </dgm:pt>
    <dgm:pt modelId="{CE33C42B-D9D4-496E-B5C2-1B9B46A50C8E}">
      <dgm:prSet custT="1"/>
      <dgm:spPr/>
      <dgm:t>
        <a:bodyPr/>
        <a:lstStyle/>
        <a:p>
          <a:pPr>
            <a:lnSpc>
              <a:spcPct val="100000"/>
            </a:lnSpc>
            <a:spcBef>
              <a:spcPts val="600"/>
            </a:spcBef>
            <a:spcAft>
              <a:spcPts val="600"/>
            </a:spcAft>
          </a:pPr>
          <a:r>
            <a:rPr lang="en-US" sz="2000" dirty="0">
              <a:latin typeface="Arial"/>
              <a:cs typeface="Arial"/>
              <a:sym typeface="Arial"/>
            </a:rPr>
            <a:t>Use Fall Out Reviews to provide feedback</a:t>
          </a:r>
        </a:p>
      </dgm:t>
    </dgm:pt>
    <dgm:pt modelId="{4DCF99E1-E9BB-4B47-9A2B-D342732BB8A4}" type="parTrans" cxnId="{15D5EC77-C479-4E77-8E85-4628B18E68A8}">
      <dgm:prSet/>
      <dgm:spPr/>
      <dgm:t>
        <a:bodyPr/>
        <a:lstStyle/>
        <a:p>
          <a:endParaRPr lang="en-US"/>
        </a:p>
      </dgm:t>
    </dgm:pt>
    <dgm:pt modelId="{B7A2F197-7727-413C-9177-44C90D454685}" type="sibTrans" cxnId="{15D5EC77-C479-4E77-8E85-4628B18E68A8}">
      <dgm:prSet/>
      <dgm:spPr/>
      <dgm:t>
        <a:bodyPr/>
        <a:lstStyle/>
        <a:p>
          <a:endParaRPr lang="en-US"/>
        </a:p>
      </dgm:t>
    </dgm:pt>
    <dgm:pt modelId="{A31E53BE-842E-4FAC-9566-AED9DA058068}" type="pres">
      <dgm:prSet presAssocID="{8C4B032D-09FD-4085-8698-E820B955C52B}" presName="Name0" presStyleCnt="0">
        <dgm:presLayoutVars>
          <dgm:dir/>
          <dgm:animLvl val="lvl"/>
          <dgm:resizeHandles val="exact"/>
        </dgm:presLayoutVars>
      </dgm:prSet>
      <dgm:spPr/>
    </dgm:pt>
    <dgm:pt modelId="{1BEE1AD5-1584-4F2C-8FEE-0DB3B181898E}" type="pres">
      <dgm:prSet presAssocID="{D8596344-0E37-4615-8222-5C31D3242161}" presName="composite" presStyleCnt="0"/>
      <dgm:spPr/>
    </dgm:pt>
    <dgm:pt modelId="{F0CE6F44-F543-468F-AE3E-D7DFB4A8B22A}" type="pres">
      <dgm:prSet presAssocID="{D8596344-0E37-4615-8222-5C31D3242161}" presName="parTx" presStyleLbl="alignNode1" presStyleIdx="0" presStyleCnt="4">
        <dgm:presLayoutVars>
          <dgm:chMax val="0"/>
          <dgm:chPref val="0"/>
          <dgm:bulletEnabled val="1"/>
        </dgm:presLayoutVars>
      </dgm:prSet>
      <dgm:spPr/>
    </dgm:pt>
    <dgm:pt modelId="{4E0EAA7C-664B-47EC-84E2-3766963BD3CF}" type="pres">
      <dgm:prSet presAssocID="{D8596344-0E37-4615-8222-5C31D3242161}" presName="desTx" presStyleLbl="alignAccFollowNode1" presStyleIdx="0" presStyleCnt="4">
        <dgm:presLayoutVars>
          <dgm:bulletEnabled val="1"/>
        </dgm:presLayoutVars>
      </dgm:prSet>
      <dgm:spPr/>
    </dgm:pt>
    <dgm:pt modelId="{9F444944-E1B4-4F85-BE32-1596DE90CBA4}" type="pres">
      <dgm:prSet presAssocID="{C9B115BB-2AA2-4A3C-92A1-12571E8D7FC6}" presName="space" presStyleCnt="0"/>
      <dgm:spPr/>
    </dgm:pt>
    <dgm:pt modelId="{64DC6537-F04A-42EB-BB2D-C0B9F2A80A3B}" type="pres">
      <dgm:prSet presAssocID="{C62EC995-06C1-42FA-87D0-91F4D46C965E}" presName="composite" presStyleCnt="0"/>
      <dgm:spPr/>
    </dgm:pt>
    <dgm:pt modelId="{DED8429D-B368-4BE9-89F3-5D6C4092A4D0}" type="pres">
      <dgm:prSet presAssocID="{C62EC995-06C1-42FA-87D0-91F4D46C965E}" presName="parTx" presStyleLbl="alignNode1" presStyleIdx="1" presStyleCnt="4">
        <dgm:presLayoutVars>
          <dgm:chMax val="0"/>
          <dgm:chPref val="0"/>
          <dgm:bulletEnabled val="1"/>
        </dgm:presLayoutVars>
      </dgm:prSet>
      <dgm:spPr/>
    </dgm:pt>
    <dgm:pt modelId="{15956188-1384-4ED8-80FE-CC6700BCD1C4}" type="pres">
      <dgm:prSet presAssocID="{C62EC995-06C1-42FA-87D0-91F4D46C965E}" presName="desTx" presStyleLbl="alignAccFollowNode1" presStyleIdx="1" presStyleCnt="4">
        <dgm:presLayoutVars>
          <dgm:bulletEnabled val="1"/>
        </dgm:presLayoutVars>
      </dgm:prSet>
      <dgm:spPr/>
    </dgm:pt>
    <dgm:pt modelId="{371EBA9B-84B4-4B8E-92F9-2D7D402B3C80}" type="pres">
      <dgm:prSet presAssocID="{A12FDD29-A48E-4CFB-A294-A8EF584331CF}" presName="space" presStyleCnt="0"/>
      <dgm:spPr/>
    </dgm:pt>
    <dgm:pt modelId="{344052F4-627F-457B-88D5-06437A452C5C}" type="pres">
      <dgm:prSet presAssocID="{8713DE4F-184F-413F-87AA-506B39E185FF}" presName="composite" presStyleCnt="0"/>
      <dgm:spPr/>
    </dgm:pt>
    <dgm:pt modelId="{D01DDF9C-4B6C-48CE-A72D-593C299E3846}" type="pres">
      <dgm:prSet presAssocID="{8713DE4F-184F-413F-87AA-506B39E185FF}" presName="parTx" presStyleLbl="alignNode1" presStyleIdx="2" presStyleCnt="4">
        <dgm:presLayoutVars>
          <dgm:chMax val="0"/>
          <dgm:chPref val="0"/>
          <dgm:bulletEnabled val="1"/>
        </dgm:presLayoutVars>
      </dgm:prSet>
      <dgm:spPr/>
    </dgm:pt>
    <dgm:pt modelId="{94D7890F-2795-4A82-B464-98A61C365071}" type="pres">
      <dgm:prSet presAssocID="{8713DE4F-184F-413F-87AA-506B39E185FF}" presName="desTx" presStyleLbl="alignAccFollowNode1" presStyleIdx="2" presStyleCnt="4">
        <dgm:presLayoutVars>
          <dgm:bulletEnabled val="1"/>
        </dgm:presLayoutVars>
      </dgm:prSet>
      <dgm:spPr/>
    </dgm:pt>
    <dgm:pt modelId="{2A9F62CF-B386-4F1F-B196-6AEEB90DA01E}" type="pres">
      <dgm:prSet presAssocID="{147CD778-4BB6-4511-8624-0B735D51587D}" presName="space" presStyleCnt="0"/>
      <dgm:spPr/>
    </dgm:pt>
    <dgm:pt modelId="{2DE50396-EF90-4008-89E4-1F702D079FCD}" type="pres">
      <dgm:prSet presAssocID="{F84FDC11-B1F7-4282-9AEA-0205D22D79D1}" presName="composite" presStyleCnt="0"/>
      <dgm:spPr/>
    </dgm:pt>
    <dgm:pt modelId="{B2274132-0F62-403D-A810-C0C8C6C0B1BA}" type="pres">
      <dgm:prSet presAssocID="{F84FDC11-B1F7-4282-9AEA-0205D22D79D1}" presName="parTx" presStyleLbl="alignNode1" presStyleIdx="3" presStyleCnt="4">
        <dgm:presLayoutVars>
          <dgm:chMax val="0"/>
          <dgm:chPref val="0"/>
          <dgm:bulletEnabled val="1"/>
        </dgm:presLayoutVars>
      </dgm:prSet>
      <dgm:spPr/>
    </dgm:pt>
    <dgm:pt modelId="{58498BC0-A379-4076-B064-CC2F5307605D}" type="pres">
      <dgm:prSet presAssocID="{F84FDC11-B1F7-4282-9AEA-0205D22D79D1}" presName="desTx" presStyleLbl="alignAccFollowNode1" presStyleIdx="3" presStyleCnt="4">
        <dgm:presLayoutVars>
          <dgm:bulletEnabled val="1"/>
        </dgm:presLayoutVars>
      </dgm:prSet>
      <dgm:spPr/>
    </dgm:pt>
  </dgm:ptLst>
  <dgm:cxnLst>
    <dgm:cxn modelId="{EB102908-9279-4A64-8073-4C73DE202B78}" type="presOf" srcId="{8C4B032D-09FD-4085-8698-E820B955C52B}" destId="{A31E53BE-842E-4FAC-9566-AED9DA058068}" srcOrd="0" destOrd="0" presId="urn:microsoft.com/office/officeart/2005/8/layout/hList1"/>
    <dgm:cxn modelId="{70EBB30A-124F-45ED-955D-A6D3174D97BB}" type="presOf" srcId="{546F7991-A93C-453D-8082-12DE0041ABB4}" destId="{15956188-1384-4ED8-80FE-CC6700BCD1C4}" srcOrd="0" destOrd="0" presId="urn:microsoft.com/office/officeart/2005/8/layout/hList1"/>
    <dgm:cxn modelId="{EC1B8115-B2C4-4CF7-903F-2948D09D35C4}" srcId="{8C4B032D-09FD-4085-8698-E820B955C52B}" destId="{C62EC995-06C1-42FA-87D0-91F4D46C965E}" srcOrd="1" destOrd="0" parTransId="{6A3C1FA0-EAC9-4847-A6B5-38E886E3C803}" sibTransId="{A12FDD29-A48E-4CFB-A294-A8EF584331CF}"/>
    <dgm:cxn modelId="{9D284F24-ACAC-49A3-AF3E-1A3B70C146D3}" type="presOf" srcId="{C62EC995-06C1-42FA-87D0-91F4D46C965E}" destId="{DED8429D-B368-4BE9-89F3-5D6C4092A4D0}" srcOrd="0" destOrd="0" presId="urn:microsoft.com/office/officeart/2005/8/layout/hList1"/>
    <dgm:cxn modelId="{9610E837-F886-4637-924F-A881DCF12920}" type="presOf" srcId="{24B2EBF5-7E96-4600-88B8-706A8968EC36}" destId="{58498BC0-A379-4076-B064-CC2F5307605D}" srcOrd="0" destOrd="1" presId="urn:microsoft.com/office/officeart/2005/8/layout/hList1"/>
    <dgm:cxn modelId="{B18ACB39-8DFD-4A70-A7D9-81080D2DD73B}" srcId="{8713DE4F-184F-413F-87AA-506B39E185FF}" destId="{FA8BD439-2BEB-4FA5-8D84-AB962460C423}" srcOrd="0" destOrd="0" parTransId="{EC892FC2-82F4-4AA6-A9E8-EB74764933F8}" sibTransId="{60DE03CB-B83A-4AEB-AD47-D923BD53F34E}"/>
    <dgm:cxn modelId="{915EFF3C-86B5-4C42-B41B-F26C27493D83}" srcId="{8713DE4F-184F-413F-87AA-506B39E185FF}" destId="{0FF6D783-7F26-48BA-B790-9D8FA1D9B86D}" srcOrd="1" destOrd="0" parTransId="{FE7BB426-9673-4A77-941D-B0A5050D2B17}" sibTransId="{26F93253-6283-4F4E-B389-3A33E92F1892}"/>
    <dgm:cxn modelId="{FB0C475B-C47A-4B21-97E4-826D2460D8C4}" srcId="{F84FDC11-B1F7-4282-9AEA-0205D22D79D1}" destId="{1AF7F154-6D8C-4444-B825-D6E822AC72DE}" srcOrd="0" destOrd="0" parTransId="{9C6A9B59-9578-4D86-845C-A7DFF91340E5}" sibTransId="{45EDFB51-5A69-4D2D-A5BD-424F54ED2540}"/>
    <dgm:cxn modelId="{E1781042-BFA8-4AD0-AEB2-E2DEEAA89ADB}" type="presOf" srcId="{FA8BD439-2BEB-4FA5-8D84-AB962460C423}" destId="{94D7890F-2795-4A82-B464-98A61C365071}" srcOrd="0" destOrd="0" presId="urn:microsoft.com/office/officeart/2005/8/layout/hList1"/>
    <dgm:cxn modelId="{6D40F449-09CD-48C0-B1AE-1AC22A12F7E8}" srcId="{8C4B032D-09FD-4085-8698-E820B955C52B}" destId="{8713DE4F-184F-413F-87AA-506B39E185FF}" srcOrd="2" destOrd="0" parTransId="{213D491F-6603-4F3A-9C71-CF0364B07C7E}" sibTransId="{147CD778-4BB6-4511-8624-0B735D51587D}"/>
    <dgm:cxn modelId="{DF25996D-46F0-44CB-B22F-F2E8001CB2C4}" type="presOf" srcId="{F84FDC11-B1F7-4282-9AEA-0205D22D79D1}" destId="{B2274132-0F62-403D-A810-C0C8C6C0B1BA}" srcOrd="0" destOrd="0" presId="urn:microsoft.com/office/officeart/2005/8/layout/hList1"/>
    <dgm:cxn modelId="{15D5EC77-C479-4E77-8E85-4628B18E68A8}" srcId="{D8596344-0E37-4615-8222-5C31D3242161}" destId="{CE33C42B-D9D4-496E-B5C2-1B9B46A50C8E}" srcOrd="2" destOrd="0" parTransId="{4DCF99E1-E9BB-4B47-9A2B-D342732BB8A4}" sibTransId="{B7A2F197-7727-413C-9177-44C90D454685}"/>
    <dgm:cxn modelId="{30228587-4719-41B9-BA62-5E026B233CA4}" srcId="{D8596344-0E37-4615-8222-5C31D3242161}" destId="{969371AE-D228-43F9-B482-B2FE909BB4F6}" srcOrd="0" destOrd="0" parTransId="{3DBC53D1-0F2A-489B-937F-75B0157D0CCF}" sibTransId="{B668E435-A417-4842-984D-8B16B8BA8E92}"/>
    <dgm:cxn modelId="{F74CCA87-1175-4C56-86A1-E0A9F0671CE0}" type="presOf" srcId="{1AF7F154-6D8C-4444-B825-D6E822AC72DE}" destId="{58498BC0-A379-4076-B064-CC2F5307605D}" srcOrd="0" destOrd="0" presId="urn:microsoft.com/office/officeart/2005/8/layout/hList1"/>
    <dgm:cxn modelId="{40EDF792-8C8E-4D8E-9C95-B1A387198053}" srcId="{C62EC995-06C1-42FA-87D0-91F4D46C965E}" destId="{546F7991-A93C-453D-8082-12DE0041ABB4}" srcOrd="0" destOrd="0" parTransId="{A14D707F-117E-4F8E-A65A-4F35EEA6B6D0}" sibTransId="{1651F0DB-DBE2-4E62-ACAD-319D0D32F140}"/>
    <dgm:cxn modelId="{989EBF9D-4668-4302-9290-166CDAE4BE27}" srcId="{C62EC995-06C1-42FA-87D0-91F4D46C965E}" destId="{B760FE15-9EA0-4B77-B0DC-A2124FBAEEAA}" srcOrd="1" destOrd="0" parTransId="{76B7444B-72D7-4D73-95B7-9B4B6D88DC85}" sibTransId="{F0EBE7D4-B06B-46A0-BDBB-2CFDB15346EE}"/>
    <dgm:cxn modelId="{A012759F-5213-4FD4-B572-99EE81204F45}" type="presOf" srcId="{8713DE4F-184F-413F-87AA-506B39E185FF}" destId="{D01DDF9C-4B6C-48CE-A72D-593C299E3846}" srcOrd="0" destOrd="0" presId="urn:microsoft.com/office/officeart/2005/8/layout/hList1"/>
    <dgm:cxn modelId="{A1289BA0-45FA-4B5F-B675-A4C538CE43C4}" type="presOf" srcId="{0FF6D783-7F26-48BA-B790-9D8FA1D9B86D}" destId="{94D7890F-2795-4A82-B464-98A61C365071}" srcOrd="0" destOrd="1" presId="urn:microsoft.com/office/officeart/2005/8/layout/hList1"/>
    <dgm:cxn modelId="{6E7E07AA-98CB-4C33-9E9B-5D1B8EC32CFE}" type="presOf" srcId="{D8596344-0E37-4615-8222-5C31D3242161}" destId="{F0CE6F44-F543-468F-AE3E-D7DFB4A8B22A}" srcOrd="0" destOrd="0" presId="urn:microsoft.com/office/officeart/2005/8/layout/hList1"/>
    <dgm:cxn modelId="{2B12FFAC-58F4-486A-9CC9-35F0EE8DA753}" type="presOf" srcId="{B760FE15-9EA0-4B77-B0DC-A2124FBAEEAA}" destId="{15956188-1384-4ED8-80FE-CC6700BCD1C4}" srcOrd="0" destOrd="1" presId="urn:microsoft.com/office/officeart/2005/8/layout/hList1"/>
    <dgm:cxn modelId="{AC1D8DD0-BE93-426E-ADAA-5A211D614ADE}" srcId="{8C4B032D-09FD-4085-8698-E820B955C52B}" destId="{D8596344-0E37-4615-8222-5C31D3242161}" srcOrd="0" destOrd="0" parTransId="{FF2EA49D-B213-49F1-9C9F-57AFD497B110}" sibTransId="{C9B115BB-2AA2-4A3C-92A1-12571E8D7FC6}"/>
    <dgm:cxn modelId="{162897D0-0A76-402D-B839-30F64EC35051}" srcId="{F84FDC11-B1F7-4282-9AEA-0205D22D79D1}" destId="{24B2EBF5-7E96-4600-88B8-706A8968EC36}" srcOrd="1" destOrd="0" parTransId="{8B2D0CB1-A677-4E9B-8C1E-A7E684D3CB1E}" sibTransId="{DC020AC0-0201-4928-801C-39F40689D479}"/>
    <dgm:cxn modelId="{364A58DC-98BE-455C-8ACE-25C3B2838096}" srcId="{8C4B032D-09FD-4085-8698-E820B955C52B}" destId="{F84FDC11-B1F7-4282-9AEA-0205D22D79D1}" srcOrd="3" destOrd="0" parTransId="{3FC246B2-0E9D-4C36-8876-993A1ADD02BA}" sibTransId="{057F93EE-4E16-4817-903E-A217D0E10E00}"/>
    <dgm:cxn modelId="{4E0FF1E5-4BF9-4288-91F4-C61A2773FBE9}" srcId="{D8596344-0E37-4615-8222-5C31D3242161}" destId="{DAC07C7E-D81D-40AB-9134-8656A66AB9FC}" srcOrd="1" destOrd="0" parTransId="{7BF4F447-247A-4034-98B8-3EEBAA8C7F1E}" sibTransId="{F666BAF9-491D-49AC-B61C-AD4B4E9D5291}"/>
    <dgm:cxn modelId="{B718C2EA-BFC4-4E59-ADCD-5CBCBA25D15B}" type="presOf" srcId="{969371AE-D228-43F9-B482-B2FE909BB4F6}" destId="{4E0EAA7C-664B-47EC-84E2-3766963BD3CF}" srcOrd="0" destOrd="0" presId="urn:microsoft.com/office/officeart/2005/8/layout/hList1"/>
    <dgm:cxn modelId="{B4F10EF9-77FA-4223-99C9-D81BA8126741}" type="presOf" srcId="{DAC07C7E-D81D-40AB-9134-8656A66AB9FC}" destId="{4E0EAA7C-664B-47EC-84E2-3766963BD3CF}" srcOrd="0" destOrd="1" presId="urn:microsoft.com/office/officeart/2005/8/layout/hList1"/>
    <dgm:cxn modelId="{B64433FF-A434-4AAE-ABAE-4F55DA3ED02E}" type="presOf" srcId="{CE33C42B-D9D4-496E-B5C2-1B9B46A50C8E}" destId="{4E0EAA7C-664B-47EC-84E2-3766963BD3CF}" srcOrd="0" destOrd="2" presId="urn:microsoft.com/office/officeart/2005/8/layout/hList1"/>
    <dgm:cxn modelId="{69641625-ACC6-468B-9557-76F6C67DDA23}" type="presParOf" srcId="{A31E53BE-842E-4FAC-9566-AED9DA058068}" destId="{1BEE1AD5-1584-4F2C-8FEE-0DB3B181898E}" srcOrd="0" destOrd="0" presId="urn:microsoft.com/office/officeart/2005/8/layout/hList1"/>
    <dgm:cxn modelId="{32AF192D-5A48-44B2-80A7-C6F6EE8D2D74}" type="presParOf" srcId="{1BEE1AD5-1584-4F2C-8FEE-0DB3B181898E}" destId="{F0CE6F44-F543-468F-AE3E-D7DFB4A8B22A}" srcOrd="0" destOrd="0" presId="urn:microsoft.com/office/officeart/2005/8/layout/hList1"/>
    <dgm:cxn modelId="{EBCA870B-6FC4-4655-9CCC-AACFFD9F30B6}" type="presParOf" srcId="{1BEE1AD5-1584-4F2C-8FEE-0DB3B181898E}" destId="{4E0EAA7C-664B-47EC-84E2-3766963BD3CF}" srcOrd="1" destOrd="0" presId="urn:microsoft.com/office/officeart/2005/8/layout/hList1"/>
    <dgm:cxn modelId="{7AD4ED24-A5A2-4934-A203-E5ED65F15AA6}" type="presParOf" srcId="{A31E53BE-842E-4FAC-9566-AED9DA058068}" destId="{9F444944-E1B4-4F85-BE32-1596DE90CBA4}" srcOrd="1" destOrd="0" presId="urn:microsoft.com/office/officeart/2005/8/layout/hList1"/>
    <dgm:cxn modelId="{90EAD456-F460-4E42-84BF-0F66F1526CE6}" type="presParOf" srcId="{A31E53BE-842E-4FAC-9566-AED9DA058068}" destId="{64DC6537-F04A-42EB-BB2D-C0B9F2A80A3B}" srcOrd="2" destOrd="0" presId="urn:microsoft.com/office/officeart/2005/8/layout/hList1"/>
    <dgm:cxn modelId="{15AE655F-F13B-4477-A3DA-CDF353F5B01A}" type="presParOf" srcId="{64DC6537-F04A-42EB-BB2D-C0B9F2A80A3B}" destId="{DED8429D-B368-4BE9-89F3-5D6C4092A4D0}" srcOrd="0" destOrd="0" presId="urn:microsoft.com/office/officeart/2005/8/layout/hList1"/>
    <dgm:cxn modelId="{ABCFE742-6EC9-4ADE-8DC6-6CEAAF82C6DE}" type="presParOf" srcId="{64DC6537-F04A-42EB-BB2D-C0B9F2A80A3B}" destId="{15956188-1384-4ED8-80FE-CC6700BCD1C4}" srcOrd="1" destOrd="0" presId="urn:microsoft.com/office/officeart/2005/8/layout/hList1"/>
    <dgm:cxn modelId="{7FD2160E-AD91-438A-A0A3-1EB2648D787B}" type="presParOf" srcId="{A31E53BE-842E-4FAC-9566-AED9DA058068}" destId="{371EBA9B-84B4-4B8E-92F9-2D7D402B3C80}" srcOrd="3" destOrd="0" presId="urn:microsoft.com/office/officeart/2005/8/layout/hList1"/>
    <dgm:cxn modelId="{8D62AE20-A391-41EB-BF74-58256E46FC52}" type="presParOf" srcId="{A31E53BE-842E-4FAC-9566-AED9DA058068}" destId="{344052F4-627F-457B-88D5-06437A452C5C}" srcOrd="4" destOrd="0" presId="urn:microsoft.com/office/officeart/2005/8/layout/hList1"/>
    <dgm:cxn modelId="{C0012C00-222D-40F4-81AE-91F532E4F25E}" type="presParOf" srcId="{344052F4-627F-457B-88D5-06437A452C5C}" destId="{D01DDF9C-4B6C-48CE-A72D-593C299E3846}" srcOrd="0" destOrd="0" presId="urn:microsoft.com/office/officeart/2005/8/layout/hList1"/>
    <dgm:cxn modelId="{B4EB3F74-5EAD-42C4-99CE-648DF41BAEE8}" type="presParOf" srcId="{344052F4-627F-457B-88D5-06437A452C5C}" destId="{94D7890F-2795-4A82-B464-98A61C365071}" srcOrd="1" destOrd="0" presId="urn:microsoft.com/office/officeart/2005/8/layout/hList1"/>
    <dgm:cxn modelId="{9DF6F59E-A77F-408A-856B-E544288162C2}" type="presParOf" srcId="{A31E53BE-842E-4FAC-9566-AED9DA058068}" destId="{2A9F62CF-B386-4F1F-B196-6AEEB90DA01E}" srcOrd="5" destOrd="0" presId="urn:microsoft.com/office/officeart/2005/8/layout/hList1"/>
    <dgm:cxn modelId="{5423D8C6-ACAF-4C75-802A-245E30B43A02}" type="presParOf" srcId="{A31E53BE-842E-4FAC-9566-AED9DA058068}" destId="{2DE50396-EF90-4008-89E4-1F702D079FCD}" srcOrd="6" destOrd="0" presId="urn:microsoft.com/office/officeart/2005/8/layout/hList1"/>
    <dgm:cxn modelId="{ACDB0AEF-343A-45D2-A9DA-E4235082D04E}" type="presParOf" srcId="{2DE50396-EF90-4008-89E4-1F702D079FCD}" destId="{B2274132-0F62-403D-A810-C0C8C6C0B1BA}" srcOrd="0" destOrd="0" presId="urn:microsoft.com/office/officeart/2005/8/layout/hList1"/>
    <dgm:cxn modelId="{C1DECE89-BCA5-41FF-B203-9836CDB80C3D}" type="presParOf" srcId="{2DE50396-EF90-4008-89E4-1F702D079FCD}" destId="{58498BC0-A379-4076-B064-CC2F5307605D}"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03016D-5D9A-40F4-B924-5966C1AA8FE9}">
      <dsp:nvSpPr>
        <dsp:cNvPr id="0" name=""/>
        <dsp:cNvSpPr/>
      </dsp:nvSpPr>
      <dsp:spPr>
        <a:xfrm>
          <a:off x="1048539" y="0"/>
          <a:ext cx="10027607" cy="5054041"/>
        </a:xfrm>
        <a:prstGeom prst="rightArrow">
          <a:avLst/>
        </a:prstGeom>
        <a:solidFill>
          <a:schemeClr val="accent1"/>
        </a:solidFill>
        <a:ln>
          <a:noFill/>
        </a:ln>
        <a:effectLst/>
      </dsp:spPr>
      <dsp:style>
        <a:lnRef idx="0">
          <a:scrgbClr r="0" g="0" b="0"/>
        </a:lnRef>
        <a:fillRef idx="1">
          <a:scrgbClr r="0" g="0" b="0"/>
        </a:fillRef>
        <a:effectRef idx="0">
          <a:scrgbClr r="0" g="0" b="0"/>
        </a:effectRef>
        <a:fontRef idx="minor"/>
      </dsp:style>
    </dsp:sp>
    <dsp:sp modelId="{30D35D51-1DA6-4B61-9BE8-CE0C0EC4D78B}">
      <dsp:nvSpPr>
        <dsp:cNvPr id="0" name=""/>
        <dsp:cNvSpPr/>
      </dsp:nvSpPr>
      <dsp:spPr>
        <a:xfrm>
          <a:off x="1849" y="1516212"/>
          <a:ext cx="2673170" cy="2021616"/>
        </a:xfrm>
        <a:prstGeom prst="roundRect">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Clr>
              <a:srgbClr val="444C55"/>
            </a:buClr>
            <a:buSzPts val="2800"/>
            <a:buFont typeface="Calibri"/>
            <a:buNone/>
          </a:pPr>
          <a:r>
            <a:rPr kumimoji="0" lang="en-US" sz="3200" b="1" i="0" u="none" strike="noStrike" kern="1200" cap="none" spc="0" normalizeH="0" baseline="0" noProof="0" dirty="0">
              <a:ln/>
              <a:solidFill>
                <a:schemeClr val="tx1">
                  <a:lumMod val="50000"/>
                </a:schemeClr>
              </a:solidFill>
              <a:effectLst/>
              <a:uLnTx/>
              <a:uFillTx/>
              <a:latin typeface="Calibri"/>
              <a:ea typeface="Calibri"/>
              <a:cs typeface="Calibri"/>
              <a:sym typeface="Calibri"/>
            </a:rPr>
            <a:t>Educate </a:t>
          </a:r>
          <a:br>
            <a:rPr kumimoji="0" lang="en-US" sz="3200" b="1" i="0" u="none" strike="noStrike" kern="1200" cap="none" spc="0" normalizeH="0" baseline="0" noProof="0" dirty="0">
              <a:ln/>
              <a:solidFill>
                <a:schemeClr val="tx1">
                  <a:lumMod val="50000"/>
                </a:schemeClr>
              </a:solidFill>
              <a:effectLst/>
              <a:uLnTx/>
              <a:uFillTx/>
              <a:latin typeface="Calibri"/>
              <a:ea typeface="Calibri"/>
              <a:cs typeface="Calibri"/>
              <a:sym typeface="Calibri"/>
            </a:rPr>
          </a:br>
          <a:r>
            <a:rPr kumimoji="0" lang="en-US" sz="3200" b="0" i="0" u="none" strike="noStrike" kern="1200" cap="none" spc="0" normalizeH="0" baseline="0" noProof="0" dirty="0">
              <a:ln/>
              <a:solidFill>
                <a:schemeClr val="tx1">
                  <a:lumMod val="50000"/>
                </a:schemeClr>
              </a:solidFill>
              <a:effectLst/>
              <a:uLnTx/>
              <a:uFillTx/>
              <a:latin typeface="Calibri"/>
              <a:ea typeface="Calibri"/>
              <a:cs typeface="Calibri"/>
              <a:sym typeface="Calibri"/>
            </a:rPr>
            <a:t>Clinical Staff and Patients</a:t>
          </a:r>
          <a:endParaRPr lang="en-US" sz="3200" b="0" kern="1200" dirty="0">
            <a:solidFill>
              <a:schemeClr val="tx1">
                <a:lumMod val="50000"/>
              </a:schemeClr>
            </a:solidFill>
          </a:endParaRPr>
        </a:p>
      </dsp:txBody>
      <dsp:txXfrm>
        <a:off x="100536" y="1614899"/>
        <a:ext cx="2475796" cy="1824242"/>
      </dsp:txXfrm>
    </dsp:sp>
    <dsp:sp modelId="{0A0D6521-8AD0-493B-9FE2-7EC22D7997FB}">
      <dsp:nvSpPr>
        <dsp:cNvPr id="0" name=""/>
        <dsp:cNvSpPr/>
      </dsp:nvSpPr>
      <dsp:spPr>
        <a:xfrm>
          <a:off x="3041954" y="1516212"/>
          <a:ext cx="2673170" cy="2021616"/>
        </a:xfrm>
        <a:prstGeom prst="roundRect">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Clr>
              <a:srgbClr val="444C55"/>
            </a:buClr>
            <a:buSzPts val="2800"/>
            <a:buFont typeface="Calibri"/>
            <a:buNone/>
          </a:pPr>
          <a:r>
            <a:rPr kumimoji="0" lang="en-US" sz="3200" b="1" i="0" u="none" strike="noStrike" kern="1200" cap="none" spc="0" normalizeH="0" baseline="0" noProof="0" dirty="0">
              <a:ln/>
              <a:solidFill>
                <a:schemeClr val="tx1">
                  <a:lumMod val="50000"/>
                </a:schemeClr>
              </a:solidFill>
              <a:effectLst/>
              <a:uLnTx/>
              <a:uFillTx/>
              <a:latin typeface="Calibri"/>
              <a:ea typeface="Calibri"/>
              <a:cs typeface="Calibri"/>
              <a:sym typeface="Calibri"/>
            </a:rPr>
            <a:t>Screen and Assess </a:t>
          </a:r>
          <a:br>
            <a:rPr kumimoji="0" lang="en-US" sz="3200" b="1" i="0" u="none" strike="noStrike" kern="1200" cap="none" spc="0" normalizeH="0" baseline="0" noProof="0" dirty="0">
              <a:ln/>
              <a:solidFill>
                <a:schemeClr val="tx1">
                  <a:lumMod val="50000"/>
                </a:schemeClr>
              </a:solidFill>
              <a:effectLst/>
              <a:uLnTx/>
              <a:uFillTx/>
              <a:latin typeface="Calibri"/>
              <a:ea typeface="Calibri"/>
              <a:cs typeface="Calibri"/>
              <a:sym typeface="Calibri"/>
            </a:rPr>
          </a:br>
          <a:r>
            <a:rPr kumimoji="0" lang="en-US" sz="3200" b="0" i="0" u="none" strike="noStrike" kern="1200" cap="none" spc="0" normalizeH="0" baseline="0" noProof="0" dirty="0">
              <a:ln/>
              <a:solidFill>
                <a:schemeClr val="tx1">
                  <a:lumMod val="50000"/>
                </a:schemeClr>
              </a:solidFill>
              <a:effectLst/>
              <a:uLnTx/>
              <a:uFillTx/>
              <a:latin typeface="Calibri"/>
              <a:ea typeface="Calibri"/>
              <a:cs typeface="Calibri"/>
              <a:sym typeface="Calibri"/>
            </a:rPr>
            <a:t>for PMH Conditions</a:t>
          </a:r>
          <a:endParaRPr lang="en-US" sz="3200" b="0" kern="1200" dirty="0">
            <a:solidFill>
              <a:schemeClr val="tx1">
                <a:lumMod val="50000"/>
              </a:schemeClr>
            </a:solidFill>
          </a:endParaRPr>
        </a:p>
      </dsp:txBody>
      <dsp:txXfrm>
        <a:off x="3140641" y="1614899"/>
        <a:ext cx="2475796" cy="1824242"/>
      </dsp:txXfrm>
    </dsp:sp>
    <dsp:sp modelId="{22ACFC72-B430-454A-A4F3-320FBB4E9992}">
      <dsp:nvSpPr>
        <dsp:cNvPr id="0" name=""/>
        <dsp:cNvSpPr/>
      </dsp:nvSpPr>
      <dsp:spPr>
        <a:xfrm>
          <a:off x="6082059" y="1516212"/>
          <a:ext cx="2673170" cy="2021616"/>
        </a:xfrm>
        <a:prstGeom prst="roundRect">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Clr>
              <a:srgbClr val="444C55"/>
            </a:buClr>
            <a:buSzPts val="2800"/>
            <a:buFont typeface="Calibri"/>
            <a:buNone/>
          </a:pPr>
          <a:r>
            <a:rPr kumimoji="0" lang="en-US" sz="3100" b="0" i="0" u="none" strike="noStrike" kern="1200" cap="none" spc="0" normalizeH="0" baseline="0" noProof="0" dirty="0">
              <a:ln/>
              <a:solidFill>
                <a:schemeClr val="tx1">
                  <a:lumMod val="50000"/>
                </a:schemeClr>
              </a:solidFill>
              <a:effectLst/>
              <a:uLnTx/>
              <a:uFillTx/>
              <a:latin typeface="Calibri"/>
              <a:ea typeface="Calibri"/>
              <a:cs typeface="Calibri"/>
              <a:sym typeface="Calibri"/>
            </a:rPr>
            <a:t>Counsel on Treatment options and </a:t>
          </a:r>
          <a:r>
            <a:rPr kumimoji="0" lang="en-US" sz="3100" b="1" i="0" u="none" strike="noStrike" kern="1200" cap="none" spc="0" normalizeH="0" baseline="0" noProof="0" dirty="0">
              <a:ln/>
              <a:solidFill>
                <a:schemeClr val="tx1">
                  <a:lumMod val="50000"/>
                </a:schemeClr>
              </a:solidFill>
              <a:effectLst/>
              <a:uLnTx/>
              <a:uFillTx/>
              <a:latin typeface="Calibri"/>
              <a:ea typeface="Calibri"/>
              <a:cs typeface="Calibri"/>
              <a:sym typeface="Calibri"/>
            </a:rPr>
            <a:t>Establish Treatment</a:t>
          </a:r>
          <a:endParaRPr lang="en-US" sz="3100" b="1" kern="1200" dirty="0">
            <a:solidFill>
              <a:schemeClr val="tx1">
                <a:lumMod val="50000"/>
              </a:schemeClr>
            </a:solidFill>
          </a:endParaRPr>
        </a:p>
      </dsp:txBody>
      <dsp:txXfrm>
        <a:off x="6180746" y="1614899"/>
        <a:ext cx="2475796" cy="1824242"/>
      </dsp:txXfrm>
    </dsp:sp>
    <dsp:sp modelId="{CBA1718F-19B7-49DB-A568-731859A96B0B}">
      <dsp:nvSpPr>
        <dsp:cNvPr id="0" name=""/>
        <dsp:cNvSpPr/>
      </dsp:nvSpPr>
      <dsp:spPr>
        <a:xfrm>
          <a:off x="9122164" y="1516212"/>
          <a:ext cx="2673170" cy="2021616"/>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Clr>
              <a:srgbClr val="444C55"/>
            </a:buClr>
            <a:buSzPts val="2800"/>
            <a:buFont typeface="Calibri"/>
            <a:buNone/>
          </a:pPr>
          <a:r>
            <a:rPr kumimoji="0" lang="en-US" sz="3100" b="1" i="0" u="none" strike="noStrike" kern="1200" cap="none" spc="0" normalizeH="0" baseline="0" noProof="0" dirty="0">
              <a:ln/>
              <a:solidFill>
                <a:schemeClr val="tx1">
                  <a:lumMod val="50000"/>
                </a:schemeClr>
              </a:solidFill>
              <a:effectLst/>
              <a:uLnTx/>
              <a:uFillTx/>
              <a:latin typeface="Calibri"/>
              <a:ea typeface="Calibri"/>
              <a:cs typeface="Calibri"/>
              <a:sym typeface="Calibri"/>
            </a:rPr>
            <a:t>Provide </a:t>
          </a:r>
          <a:br>
            <a:rPr kumimoji="0" lang="en-US" sz="3100" b="1" i="0" u="none" strike="noStrike" kern="1200" cap="none" spc="0" normalizeH="0" baseline="0" noProof="0" dirty="0">
              <a:ln/>
              <a:solidFill>
                <a:schemeClr val="tx1">
                  <a:lumMod val="50000"/>
                </a:schemeClr>
              </a:solidFill>
              <a:effectLst/>
              <a:uLnTx/>
              <a:uFillTx/>
              <a:latin typeface="Calibri"/>
              <a:ea typeface="Calibri"/>
              <a:cs typeface="Calibri"/>
              <a:sym typeface="Calibri"/>
            </a:rPr>
          </a:br>
          <a:r>
            <a:rPr kumimoji="0" lang="en-US" sz="3100" b="0" i="0" u="none" strike="noStrike" kern="1200" cap="none" spc="0" normalizeH="0" baseline="0" noProof="0" dirty="0">
              <a:ln/>
              <a:solidFill>
                <a:schemeClr val="tx1">
                  <a:lumMod val="50000"/>
                </a:schemeClr>
              </a:solidFill>
              <a:effectLst/>
              <a:uLnTx/>
              <a:uFillTx/>
              <a:latin typeface="Calibri"/>
              <a:ea typeface="Calibri"/>
              <a:cs typeface="Calibri"/>
              <a:sym typeface="Calibri"/>
            </a:rPr>
            <a:t>Behavioral Health &amp; OB </a:t>
          </a:r>
          <a:br>
            <a:rPr kumimoji="0" lang="en-US" sz="3100" b="0" i="0" u="none" strike="noStrike" kern="1200" cap="none" spc="0" normalizeH="0" baseline="0" noProof="0" dirty="0">
              <a:ln/>
              <a:solidFill>
                <a:schemeClr val="tx1">
                  <a:lumMod val="50000"/>
                </a:schemeClr>
              </a:solidFill>
              <a:effectLst/>
              <a:uLnTx/>
              <a:uFillTx/>
              <a:latin typeface="Calibri"/>
              <a:ea typeface="Calibri"/>
              <a:cs typeface="Calibri"/>
              <a:sym typeface="Calibri"/>
            </a:rPr>
          </a:br>
          <a:r>
            <a:rPr kumimoji="0" lang="en-US" sz="3100" b="1" i="0" u="none" strike="noStrike" kern="1200" cap="none" spc="0" normalizeH="0" baseline="0" noProof="0" dirty="0">
              <a:ln/>
              <a:solidFill>
                <a:schemeClr val="tx1">
                  <a:lumMod val="50000"/>
                </a:schemeClr>
              </a:solidFill>
              <a:effectLst/>
              <a:uLnTx/>
              <a:uFillTx/>
              <a:latin typeface="Calibri"/>
              <a:ea typeface="Calibri"/>
              <a:cs typeface="Calibri"/>
              <a:sym typeface="Calibri"/>
            </a:rPr>
            <a:t>Follow-up</a:t>
          </a:r>
          <a:endParaRPr lang="en-US" sz="3100" kern="1200" dirty="0">
            <a:solidFill>
              <a:schemeClr val="tx1">
                <a:lumMod val="50000"/>
              </a:schemeClr>
            </a:solidFill>
          </a:endParaRPr>
        </a:p>
      </dsp:txBody>
      <dsp:txXfrm>
        <a:off x="9220851" y="1614899"/>
        <a:ext cx="2475796" cy="18242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D61F0D-C121-4F01-BC0E-2286ECACA84F}">
      <dsp:nvSpPr>
        <dsp:cNvPr id="0" name=""/>
        <dsp:cNvSpPr/>
      </dsp:nvSpPr>
      <dsp:spPr>
        <a:xfrm>
          <a:off x="933064" y="204487"/>
          <a:ext cx="2835961" cy="2835961"/>
        </a:xfrm>
        <a:prstGeom prst="pie">
          <a:avLst>
            <a:gd name="adj1" fmla="val 16200000"/>
            <a:gd name="adj2" fmla="val 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dirty="0"/>
            <a:t>Plan</a:t>
          </a:r>
        </a:p>
      </dsp:txBody>
      <dsp:txXfrm>
        <a:off x="2438487" y="792274"/>
        <a:ext cx="1046604" cy="776513"/>
      </dsp:txXfrm>
    </dsp:sp>
    <dsp:sp modelId="{B24B9121-8F76-437D-B6D3-6F02B4A33E76}">
      <dsp:nvSpPr>
        <dsp:cNvPr id="0" name=""/>
        <dsp:cNvSpPr/>
      </dsp:nvSpPr>
      <dsp:spPr>
        <a:xfrm>
          <a:off x="933064" y="299695"/>
          <a:ext cx="2835961" cy="2835961"/>
        </a:xfrm>
        <a:prstGeom prst="pie">
          <a:avLst>
            <a:gd name="adj1" fmla="val 0"/>
            <a:gd name="adj2" fmla="val 5400000"/>
          </a:avLst>
        </a:prstGeom>
        <a:solidFill>
          <a:schemeClr val="accent4">
            <a:hueOff val="3599988"/>
            <a:satOff val="-12096"/>
            <a:lumOff val="10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dirty="0"/>
            <a:t>Do</a:t>
          </a:r>
        </a:p>
      </dsp:txBody>
      <dsp:txXfrm>
        <a:off x="2438487" y="1771356"/>
        <a:ext cx="1046604" cy="776513"/>
      </dsp:txXfrm>
    </dsp:sp>
    <dsp:sp modelId="{F415BBEF-2EAE-4BBC-92F0-4B9C41BB7ADF}">
      <dsp:nvSpPr>
        <dsp:cNvPr id="0" name=""/>
        <dsp:cNvSpPr/>
      </dsp:nvSpPr>
      <dsp:spPr>
        <a:xfrm>
          <a:off x="837857" y="299695"/>
          <a:ext cx="2835961" cy="2835961"/>
        </a:xfrm>
        <a:prstGeom prst="pie">
          <a:avLst>
            <a:gd name="adj1" fmla="val 5400000"/>
            <a:gd name="adj2" fmla="val 10800000"/>
          </a:avLst>
        </a:prstGeom>
        <a:solidFill>
          <a:schemeClr val="accent4">
            <a:hueOff val="7199976"/>
            <a:satOff val="-24193"/>
            <a:lumOff val="20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a:t>Study</a:t>
          </a:r>
          <a:endParaRPr lang="en-US" sz="3300" kern="1200" dirty="0"/>
        </a:p>
      </dsp:txBody>
      <dsp:txXfrm>
        <a:off x="1121791" y="1771356"/>
        <a:ext cx="1046604" cy="776513"/>
      </dsp:txXfrm>
    </dsp:sp>
    <dsp:sp modelId="{BAF4C3AF-6ACA-4671-BA18-1B4E32DF07AE}">
      <dsp:nvSpPr>
        <dsp:cNvPr id="0" name=""/>
        <dsp:cNvSpPr/>
      </dsp:nvSpPr>
      <dsp:spPr>
        <a:xfrm>
          <a:off x="837857" y="204487"/>
          <a:ext cx="2835961" cy="2835961"/>
        </a:xfrm>
        <a:prstGeom prst="pie">
          <a:avLst>
            <a:gd name="adj1" fmla="val 10800000"/>
            <a:gd name="adj2" fmla="val 16200000"/>
          </a:avLst>
        </a:prstGeom>
        <a:solidFill>
          <a:schemeClr val="accent4">
            <a:hueOff val="10799963"/>
            <a:satOff val="-36289"/>
            <a:lumOff val="31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dirty="0"/>
            <a:t>Act</a:t>
          </a:r>
        </a:p>
      </dsp:txBody>
      <dsp:txXfrm>
        <a:off x="1121791" y="792274"/>
        <a:ext cx="1046604" cy="776513"/>
      </dsp:txXfrm>
    </dsp:sp>
    <dsp:sp modelId="{B336454E-896C-404B-8877-ED0D82EFE440}">
      <dsp:nvSpPr>
        <dsp:cNvPr id="0" name=""/>
        <dsp:cNvSpPr/>
      </dsp:nvSpPr>
      <dsp:spPr>
        <a:xfrm>
          <a:off x="757505" y="28928"/>
          <a:ext cx="3187080" cy="3187080"/>
        </a:xfrm>
        <a:prstGeom prst="circularArrow">
          <a:avLst>
            <a:gd name="adj1" fmla="val 5085"/>
            <a:gd name="adj2" fmla="val 327528"/>
            <a:gd name="adj3" fmla="val 21272472"/>
            <a:gd name="adj4" fmla="val 16200000"/>
            <a:gd name="adj5" fmla="val 5932"/>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A06898-CFFE-4229-B1DE-F577703526BF}">
      <dsp:nvSpPr>
        <dsp:cNvPr id="0" name=""/>
        <dsp:cNvSpPr/>
      </dsp:nvSpPr>
      <dsp:spPr>
        <a:xfrm>
          <a:off x="757505" y="124135"/>
          <a:ext cx="3187080" cy="3187080"/>
        </a:xfrm>
        <a:prstGeom prst="circularArrow">
          <a:avLst>
            <a:gd name="adj1" fmla="val 5085"/>
            <a:gd name="adj2" fmla="val 327528"/>
            <a:gd name="adj3" fmla="val 5072472"/>
            <a:gd name="adj4" fmla="val 0"/>
            <a:gd name="adj5" fmla="val 5932"/>
          </a:avLst>
        </a:prstGeom>
        <a:solidFill>
          <a:schemeClr val="accent4">
            <a:hueOff val="3599988"/>
            <a:satOff val="-12096"/>
            <a:lumOff val="10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1932414-8D3E-475B-8D71-50C16B9784DF}">
      <dsp:nvSpPr>
        <dsp:cNvPr id="0" name=""/>
        <dsp:cNvSpPr/>
      </dsp:nvSpPr>
      <dsp:spPr>
        <a:xfrm>
          <a:off x="662297" y="124135"/>
          <a:ext cx="3187080" cy="3187080"/>
        </a:xfrm>
        <a:prstGeom prst="circularArrow">
          <a:avLst>
            <a:gd name="adj1" fmla="val 5085"/>
            <a:gd name="adj2" fmla="val 327528"/>
            <a:gd name="adj3" fmla="val 10472472"/>
            <a:gd name="adj4" fmla="val 5400000"/>
            <a:gd name="adj5" fmla="val 5932"/>
          </a:avLst>
        </a:prstGeom>
        <a:solidFill>
          <a:schemeClr val="accent4">
            <a:hueOff val="7199976"/>
            <a:satOff val="-24193"/>
            <a:lumOff val="209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0C3DC39-8FD3-471B-B78C-58820B3B7220}">
      <dsp:nvSpPr>
        <dsp:cNvPr id="0" name=""/>
        <dsp:cNvSpPr/>
      </dsp:nvSpPr>
      <dsp:spPr>
        <a:xfrm>
          <a:off x="662297" y="28928"/>
          <a:ext cx="3187080" cy="3187080"/>
        </a:xfrm>
        <a:prstGeom prst="circularArrow">
          <a:avLst>
            <a:gd name="adj1" fmla="val 5085"/>
            <a:gd name="adj2" fmla="val 327528"/>
            <a:gd name="adj3" fmla="val 15872472"/>
            <a:gd name="adj4" fmla="val 10800000"/>
            <a:gd name="adj5" fmla="val 5932"/>
          </a:avLst>
        </a:prstGeom>
        <a:solidFill>
          <a:schemeClr val="accent4">
            <a:hueOff val="10799963"/>
            <a:satOff val="-36289"/>
            <a:lumOff val="3137"/>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4757B0-E34A-457B-A1CC-D522A4E749E4}">
      <dsp:nvSpPr>
        <dsp:cNvPr id="0" name=""/>
        <dsp:cNvSpPr/>
      </dsp:nvSpPr>
      <dsp:spPr>
        <a:xfrm>
          <a:off x="2739961" y="5178"/>
          <a:ext cx="4426076" cy="1106519"/>
        </a:xfrm>
        <a:prstGeom prst="roundRect">
          <a:avLst>
            <a:gd name="adj" fmla="val 10000"/>
          </a:avLst>
        </a:prstGeom>
        <a:solidFill>
          <a:schemeClr val="tx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 </a:t>
          </a:r>
          <a:r>
            <a:rPr lang="en-US" sz="2000" u="sng" kern="1200" dirty="0"/>
            <a:t>Inform ED Provider of Positive Screen </a:t>
          </a:r>
          <a:r>
            <a:rPr lang="en-US" sz="1800" kern="1200" dirty="0"/>
            <a:t>provider assesses the patient, describes treatment options (therapy and/or med) </a:t>
          </a:r>
          <a:endParaRPr lang="en-US" sz="2000" kern="1200" dirty="0"/>
        </a:p>
      </dsp:txBody>
      <dsp:txXfrm>
        <a:off x="2772370" y="37587"/>
        <a:ext cx="4361258" cy="1041701"/>
      </dsp:txXfrm>
    </dsp:sp>
    <dsp:sp modelId="{17619A3B-EF1A-42EF-B790-5D0E2B67A10F}">
      <dsp:nvSpPr>
        <dsp:cNvPr id="0" name=""/>
        <dsp:cNvSpPr/>
      </dsp:nvSpPr>
      <dsp:spPr>
        <a:xfrm rot="5400000">
          <a:off x="4745527" y="1139360"/>
          <a:ext cx="414944" cy="497933"/>
        </a:xfrm>
        <a:prstGeom prst="rightArrow">
          <a:avLst>
            <a:gd name="adj1" fmla="val 60000"/>
            <a:gd name="adj2" fmla="val 50000"/>
          </a:avLst>
        </a:prstGeom>
        <a:solidFill>
          <a:schemeClr val="tx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4803620" y="1180855"/>
        <a:ext cx="298759" cy="290461"/>
      </dsp:txXfrm>
    </dsp:sp>
    <dsp:sp modelId="{59DD9151-7C53-4889-ABD0-180603E5AF83}">
      <dsp:nvSpPr>
        <dsp:cNvPr id="0" name=""/>
        <dsp:cNvSpPr/>
      </dsp:nvSpPr>
      <dsp:spPr>
        <a:xfrm>
          <a:off x="2739961" y="1664957"/>
          <a:ext cx="4426076" cy="1106519"/>
        </a:xfrm>
        <a:prstGeom prst="roundRect">
          <a:avLst>
            <a:gd name="adj" fmla="val 10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u="sng" kern="1200" dirty="0"/>
            <a:t>Provide Treatment Options</a:t>
          </a:r>
        </a:p>
        <a:p>
          <a:pPr marL="0" lvl="0" indent="0" algn="ctr" defTabSz="889000">
            <a:lnSpc>
              <a:spcPct val="90000"/>
            </a:lnSpc>
            <a:spcBef>
              <a:spcPct val="0"/>
            </a:spcBef>
            <a:spcAft>
              <a:spcPct val="35000"/>
            </a:spcAft>
            <a:buNone/>
          </a:pPr>
          <a:r>
            <a:rPr lang="en-US" sz="1800" kern="1200" dirty="0"/>
            <a:t>Consult OB provider for treatment options/follow up,  for mod/severe can also call psych for help with meds start</a:t>
          </a:r>
        </a:p>
      </dsp:txBody>
      <dsp:txXfrm>
        <a:off x="2772370" y="1697366"/>
        <a:ext cx="4361258" cy="1041701"/>
      </dsp:txXfrm>
    </dsp:sp>
    <dsp:sp modelId="{7E79D9AC-CEAB-42AA-895F-B78ABF8ACD3D}">
      <dsp:nvSpPr>
        <dsp:cNvPr id="0" name=""/>
        <dsp:cNvSpPr/>
      </dsp:nvSpPr>
      <dsp:spPr>
        <a:xfrm rot="5400000">
          <a:off x="4745527" y="2799139"/>
          <a:ext cx="414944" cy="497933"/>
        </a:xfrm>
        <a:prstGeom prst="rightArrow">
          <a:avLst>
            <a:gd name="adj1" fmla="val 60000"/>
            <a:gd name="adj2" fmla="val 50000"/>
          </a:avLst>
        </a:prstGeom>
        <a:solidFill>
          <a:schemeClr val="tx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4803620" y="2840634"/>
        <a:ext cx="298759" cy="290461"/>
      </dsp:txXfrm>
    </dsp:sp>
    <dsp:sp modelId="{62F2AE83-FF8A-4F4C-8306-079957B1FD23}">
      <dsp:nvSpPr>
        <dsp:cNvPr id="0" name=""/>
        <dsp:cNvSpPr/>
      </dsp:nvSpPr>
      <dsp:spPr>
        <a:xfrm>
          <a:off x="2739961" y="3324736"/>
          <a:ext cx="4426076" cy="1067359"/>
        </a:xfrm>
        <a:prstGeom prst="roundRect">
          <a:avLst>
            <a:gd name="adj" fmla="val 10000"/>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u="sng" kern="1200" dirty="0">
              <a:solidFill>
                <a:schemeClr val="tx1"/>
              </a:solidFill>
            </a:rPr>
            <a:t>Warm Handoffs for close follow up</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Call IL MOMS Line / online referral /social work for therapy follow up, schedule 2 week OB follow up                                     </a:t>
          </a:r>
        </a:p>
        <a:p>
          <a:pPr marL="0" lvl="0" algn="ctr" defTabSz="311150">
            <a:lnSpc>
              <a:spcPct val="90000"/>
            </a:lnSpc>
            <a:spcBef>
              <a:spcPct val="0"/>
            </a:spcBef>
            <a:spcAft>
              <a:spcPct val="35000"/>
            </a:spcAft>
            <a:buNone/>
          </a:pPr>
          <a:endParaRPr lang="en-US" sz="1500" kern="1200" dirty="0"/>
        </a:p>
      </dsp:txBody>
      <dsp:txXfrm>
        <a:off x="2771223" y="3355998"/>
        <a:ext cx="4363552" cy="1004835"/>
      </dsp:txXfrm>
    </dsp:sp>
    <dsp:sp modelId="{932A82AF-F0BB-4087-AD4D-AB17124718D0}">
      <dsp:nvSpPr>
        <dsp:cNvPr id="0" name=""/>
        <dsp:cNvSpPr/>
      </dsp:nvSpPr>
      <dsp:spPr>
        <a:xfrm rot="5400000">
          <a:off x="4745527" y="4419758"/>
          <a:ext cx="414944" cy="497933"/>
        </a:xfrm>
        <a:prstGeom prst="rightArrow">
          <a:avLst>
            <a:gd name="adj1" fmla="val 60000"/>
            <a:gd name="adj2" fmla="val 50000"/>
          </a:avLst>
        </a:prstGeom>
        <a:solidFill>
          <a:schemeClr val="tx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4803620" y="4461253"/>
        <a:ext cx="298759" cy="290461"/>
      </dsp:txXfrm>
    </dsp:sp>
    <dsp:sp modelId="{ECC1F260-C728-4336-BB2B-DD2E28A899BA}">
      <dsp:nvSpPr>
        <dsp:cNvPr id="0" name=""/>
        <dsp:cNvSpPr/>
      </dsp:nvSpPr>
      <dsp:spPr>
        <a:xfrm>
          <a:off x="2739961" y="4945355"/>
          <a:ext cx="4426076" cy="1106519"/>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Follow up calls with patient with PMH +screen who left the ED without making follow up appointments to confirm warm handoff to therapy/OB follow up. </a:t>
          </a:r>
        </a:p>
        <a:p>
          <a:pPr marL="0" lvl="0" algn="ctr" defTabSz="488950">
            <a:lnSpc>
              <a:spcPct val="90000"/>
            </a:lnSpc>
            <a:spcBef>
              <a:spcPct val="0"/>
            </a:spcBef>
            <a:spcAft>
              <a:spcPct val="35000"/>
            </a:spcAft>
            <a:buNone/>
          </a:pPr>
          <a:endParaRPr lang="en-US" sz="1500" kern="1200" dirty="0"/>
        </a:p>
      </dsp:txBody>
      <dsp:txXfrm>
        <a:off x="2772370" y="4977764"/>
        <a:ext cx="4361258" cy="10417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CE6F44-F543-468F-AE3E-D7DFB4A8B22A}">
      <dsp:nvSpPr>
        <dsp:cNvPr id="0" name=""/>
        <dsp:cNvSpPr/>
      </dsp:nvSpPr>
      <dsp:spPr>
        <a:xfrm>
          <a:off x="4223" y="1448333"/>
          <a:ext cx="2539299" cy="733212"/>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lumMod val="50000"/>
                </a:schemeClr>
              </a:solidFill>
            </a:rPr>
            <a:t>Engage Providers</a:t>
          </a:r>
        </a:p>
      </dsp:txBody>
      <dsp:txXfrm>
        <a:off x="4223" y="1448333"/>
        <a:ext cx="2539299" cy="733212"/>
      </dsp:txXfrm>
    </dsp:sp>
    <dsp:sp modelId="{4E0EAA7C-664B-47EC-84E2-3766963BD3CF}">
      <dsp:nvSpPr>
        <dsp:cNvPr id="0" name=""/>
        <dsp:cNvSpPr/>
      </dsp:nvSpPr>
      <dsp:spPr>
        <a:xfrm>
          <a:off x="4223" y="2181546"/>
          <a:ext cx="2539299" cy="3228120"/>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ts val="600"/>
            </a:spcBef>
            <a:spcAft>
              <a:spcPts val="600"/>
            </a:spcAft>
            <a:buClr>
              <a:srgbClr val="000000"/>
            </a:buClr>
            <a:buFont typeface="Arial" panose="020B0604020202020204" pitchFamily="34" charset="0"/>
            <a:buChar char="•"/>
          </a:pPr>
          <a:r>
            <a:rPr lang="en-US" sz="2000" kern="1200" dirty="0">
              <a:latin typeface="Arial"/>
              <a:cs typeface="Arial"/>
              <a:sym typeface="Arial"/>
            </a:rPr>
            <a:t>Host grand rounds</a:t>
          </a:r>
          <a:endParaRPr lang="en-US" sz="2000" kern="1200" dirty="0"/>
        </a:p>
        <a:p>
          <a:pPr marL="228600" lvl="1" indent="-228600" algn="l" defTabSz="889000">
            <a:lnSpc>
              <a:spcPct val="100000"/>
            </a:lnSpc>
            <a:spcBef>
              <a:spcPts val="600"/>
            </a:spcBef>
            <a:spcAft>
              <a:spcPts val="600"/>
            </a:spcAft>
            <a:buChar char="•"/>
          </a:pPr>
          <a:r>
            <a:rPr lang="en-US" sz="2000" kern="1200" dirty="0">
              <a:latin typeface="Arial"/>
              <a:cs typeface="Arial"/>
              <a:sym typeface="Arial"/>
            </a:rPr>
            <a:t>Assign PMH e-modules, post PMH posters and magnets</a:t>
          </a:r>
        </a:p>
        <a:p>
          <a:pPr marL="228600" lvl="1" indent="-228600" algn="l" defTabSz="889000">
            <a:lnSpc>
              <a:spcPct val="100000"/>
            </a:lnSpc>
            <a:spcBef>
              <a:spcPts val="600"/>
            </a:spcBef>
            <a:spcAft>
              <a:spcPts val="600"/>
            </a:spcAft>
            <a:buChar char="•"/>
          </a:pPr>
          <a:r>
            <a:rPr lang="en-US" sz="2000" kern="1200" dirty="0">
              <a:latin typeface="Arial"/>
              <a:cs typeface="Arial"/>
              <a:sym typeface="Arial"/>
            </a:rPr>
            <a:t>Use Fall Out Reviews to provide feedback</a:t>
          </a:r>
        </a:p>
      </dsp:txBody>
      <dsp:txXfrm>
        <a:off x="4223" y="2181546"/>
        <a:ext cx="2539299" cy="3228120"/>
      </dsp:txXfrm>
    </dsp:sp>
    <dsp:sp modelId="{DED8429D-B368-4BE9-89F3-5D6C4092A4D0}">
      <dsp:nvSpPr>
        <dsp:cNvPr id="0" name=""/>
        <dsp:cNvSpPr/>
      </dsp:nvSpPr>
      <dsp:spPr>
        <a:xfrm>
          <a:off x="2899025" y="1448333"/>
          <a:ext cx="2539299" cy="733212"/>
        </a:xfrm>
        <a:prstGeom prst="rect">
          <a:avLst/>
        </a:prstGeom>
        <a:solidFill>
          <a:schemeClr val="accent2">
            <a:hueOff val="-6612581"/>
            <a:satOff val="0"/>
            <a:lumOff val="0"/>
            <a:alphaOff val="0"/>
          </a:schemeClr>
        </a:solidFill>
        <a:ln w="25400" cap="flat" cmpd="sng" algn="ctr">
          <a:solidFill>
            <a:schemeClr val="accent2">
              <a:hueOff val="-6612581"/>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lumMod val="50000"/>
                </a:schemeClr>
              </a:solidFill>
            </a:rPr>
            <a:t>Promote State Resources</a:t>
          </a:r>
        </a:p>
      </dsp:txBody>
      <dsp:txXfrm>
        <a:off x="2899025" y="1448333"/>
        <a:ext cx="2539299" cy="733212"/>
      </dsp:txXfrm>
    </dsp:sp>
    <dsp:sp modelId="{15956188-1384-4ED8-80FE-CC6700BCD1C4}">
      <dsp:nvSpPr>
        <dsp:cNvPr id="0" name=""/>
        <dsp:cNvSpPr/>
      </dsp:nvSpPr>
      <dsp:spPr>
        <a:xfrm>
          <a:off x="2899025" y="2181546"/>
          <a:ext cx="2539299" cy="3228120"/>
        </a:xfrm>
        <a:prstGeom prst="rect">
          <a:avLst/>
        </a:prstGeom>
        <a:solidFill>
          <a:schemeClr val="accent2">
            <a:tint val="40000"/>
            <a:alpha val="90000"/>
            <a:hueOff val="-6799879"/>
            <a:satOff val="0"/>
            <a:lumOff val="0"/>
            <a:alphaOff val="0"/>
          </a:schemeClr>
        </a:solidFill>
        <a:ln w="25400" cap="flat" cmpd="sng" algn="ctr">
          <a:solidFill>
            <a:schemeClr val="accent2">
              <a:tint val="40000"/>
              <a:alpha val="90000"/>
              <a:hueOff val="-6799879"/>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ts val="600"/>
            </a:spcBef>
            <a:spcAft>
              <a:spcPts val="600"/>
            </a:spcAft>
            <a:buClr>
              <a:srgbClr val="000000"/>
            </a:buClr>
            <a:buFont typeface="Arial" panose="020B0604020202020204" pitchFamily="34" charset="0"/>
            <a:buChar char="•"/>
          </a:pPr>
          <a:r>
            <a:rPr lang="en-US" sz="2000" kern="1200" dirty="0">
              <a:latin typeface="Arial"/>
              <a:cs typeface="Arial"/>
              <a:sym typeface="Arial"/>
            </a:rPr>
            <a:t>Have every provider register for </a:t>
          </a:r>
          <a:r>
            <a:rPr lang="en-US" sz="2000" b="1" kern="1200" dirty="0">
              <a:latin typeface="Arial"/>
              <a:cs typeface="Arial"/>
              <a:sym typeface="Arial"/>
            </a:rPr>
            <a:t>IL </a:t>
          </a:r>
          <a:r>
            <a:rPr lang="en-US" sz="2000" b="1" kern="1200" dirty="0" err="1">
              <a:latin typeface="Arial"/>
              <a:cs typeface="Arial"/>
              <a:sym typeface="Arial"/>
            </a:rPr>
            <a:t>DocAssist</a:t>
          </a:r>
          <a:endParaRPr lang="en-US" sz="2000" b="1" kern="1200" dirty="0"/>
        </a:p>
        <a:p>
          <a:pPr marL="228600" lvl="1" indent="-228600" algn="l" defTabSz="889000">
            <a:lnSpc>
              <a:spcPct val="100000"/>
            </a:lnSpc>
            <a:spcBef>
              <a:spcPts val="600"/>
            </a:spcBef>
            <a:spcAft>
              <a:spcPts val="600"/>
            </a:spcAft>
            <a:buChar char="•"/>
          </a:pPr>
          <a:r>
            <a:rPr lang="en-US" sz="2000" kern="1200" dirty="0">
              <a:latin typeface="Arial"/>
              <a:cs typeface="Arial"/>
              <a:sym typeface="Arial"/>
            </a:rPr>
            <a:t>Integrate </a:t>
          </a:r>
          <a:r>
            <a:rPr lang="en-US" sz="2000" b="1" kern="1200" dirty="0">
              <a:latin typeface="Arial"/>
              <a:cs typeface="Arial"/>
              <a:sym typeface="Arial"/>
            </a:rPr>
            <a:t>IL </a:t>
          </a:r>
          <a:r>
            <a:rPr lang="en-US" sz="2000" b="1" kern="1200" dirty="0" err="1">
              <a:latin typeface="Arial"/>
              <a:cs typeface="Arial"/>
              <a:sym typeface="Arial"/>
            </a:rPr>
            <a:t>DocAssist</a:t>
          </a:r>
          <a:r>
            <a:rPr lang="en-US" sz="2000" kern="1200" dirty="0">
              <a:latin typeface="Arial"/>
              <a:cs typeface="Arial"/>
              <a:sym typeface="Arial"/>
            </a:rPr>
            <a:t> and </a:t>
          </a:r>
          <a:r>
            <a:rPr lang="en-US" sz="2000" b="1" kern="1200" dirty="0">
              <a:latin typeface="Arial"/>
              <a:cs typeface="Arial"/>
              <a:sym typeface="Arial"/>
            </a:rPr>
            <a:t>IL MOMS Line</a:t>
          </a:r>
          <a:r>
            <a:rPr lang="en-US" sz="2000" kern="1200" dirty="0">
              <a:latin typeface="Arial"/>
              <a:cs typeface="Arial"/>
              <a:sym typeface="Arial"/>
            </a:rPr>
            <a:t> into PMH workflows</a:t>
          </a:r>
        </a:p>
      </dsp:txBody>
      <dsp:txXfrm>
        <a:off x="2899025" y="2181546"/>
        <a:ext cx="2539299" cy="3228120"/>
      </dsp:txXfrm>
    </dsp:sp>
    <dsp:sp modelId="{D01DDF9C-4B6C-48CE-A72D-593C299E3846}">
      <dsp:nvSpPr>
        <dsp:cNvPr id="0" name=""/>
        <dsp:cNvSpPr/>
      </dsp:nvSpPr>
      <dsp:spPr>
        <a:xfrm>
          <a:off x="5793826" y="1448333"/>
          <a:ext cx="2539299" cy="733212"/>
        </a:xfrm>
        <a:prstGeom prst="rect">
          <a:avLst/>
        </a:prstGeom>
        <a:solidFill>
          <a:schemeClr val="accent6">
            <a:lumMod val="60000"/>
            <a:lumOff val="40000"/>
          </a:schemeClr>
        </a:solidFill>
        <a:ln w="25400" cap="flat" cmpd="sng" algn="ctr">
          <a:solidFill>
            <a:schemeClr val="accent6">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lumMod val="50000"/>
                </a:schemeClr>
              </a:solidFill>
            </a:rPr>
            <a:t>Identify Behavioral Health Resources</a:t>
          </a:r>
        </a:p>
      </dsp:txBody>
      <dsp:txXfrm>
        <a:off x="5793826" y="1448333"/>
        <a:ext cx="2539299" cy="733212"/>
      </dsp:txXfrm>
    </dsp:sp>
    <dsp:sp modelId="{94D7890F-2795-4A82-B464-98A61C365071}">
      <dsp:nvSpPr>
        <dsp:cNvPr id="0" name=""/>
        <dsp:cNvSpPr/>
      </dsp:nvSpPr>
      <dsp:spPr>
        <a:xfrm>
          <a:off x="5793826" y="2181546"/>
          <a:ext cx="2539299" cy="3228120"/>
        </a:xfrm>
        <a:prstGeom prst="rect">
          <a:avLst/>
        </a:prstGeom>
        <a:solidFill>
          <a:schemeClr val="accent6">
            <a:lumMod val="40000"/>
            <a:lumOff val="60000"/>
            <a:alpha val="90000"/>
          </a:schemeClr>
        </a:solidFill>
        <a:ln w="25400" cap="flat" cmpd="sng" algn="ctr">
          <a:solidFill>
            <a:schemeClr val="accent6">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ts val="600"/>
            </a:spcBef>
            <a:spcAft>
              <a:spcPts val="600"/>
            </a:spcAft>
            <a:buChar char="•"/>
          </a:pPr>
          <a:r>
            <a:rPr lang="en-US" sz="2000" kern="1200" dirty="0"/>
            <a:t>Utilize ILPQC PMH resource mapping tool</a:t>
          </a:r>
        </a:p>
        <a:p>
          <a:pPr marL="228600" lvl="1" indent="-228600" algn="l" defTabSz="889000">
            <a:lnSpc>
              <a:spcPct val="100000"/>
            </a:lnSpc>
            <a:spcBef>
              <a:spcPts val="600"/>
            </a:spcBef>
            <a:spcAft>
              <a:spcPts val="600"/>
            </a:spcAft>
            <a:buChar char="•"/>
          </a:pPr>
          <a:r>
            <a:rPr lang="en-US" sz="2000" kern="1200" dirty="0"/>
            <a:t>Identify strategies for warm handoffs to therapy and support services</a:t>
          </a:r>
        </a:p>
      </dsp:txBody>
      <dsp:txXfrm>
        <a:off x="5793826" y="2181546"/>
        <a:ext cx="2539299" cy="3228120"/>
      </dsp:txXfrm>
    </dsp:sp>
    <dsp:sp modelId="{B2274132-0F62-403D-A810-C0C8C6C0B1BA}">
      <dsp:nvSpPr>
        <dsp:cNvPr id="0" name=""/>
        <dsp:cNvSpPr/>
      </dsp:nvSpPr>
      <dsp:spPr>
        <a:xfrm>
          <a:off x="8688628" y="1448333"/>
          <a:ext cx="2539299" cy="733212"/>
        </a:xfrm>
        <a:prstGeom prst="rect">
          <a:avLst/>
        </a:prstGeom>
        <a:solidFill>
          <a:schemeClr val="accent2">
            <a:hueOff val="-19837744"/>
            <a:satOff val="0"/>
            <a:lumOff val="0"/>
            <a:alphaOff val="0"/>
          </a:schemeClr>
        </a:solidFill>
        <a:ln w="25400" cap="flat" cmpd="sng" algn="ctr">
          <a:solidFill>
            <a:schemeClr val="accent2">
              <a:hueOff val="-19837744"/>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lumMod val="50000"/>
                </a:schemeClr>
              </a:solidFill>
            </a:rPr>
            <a:t>Treatment &amp; Close OB Follow-up</a:t>
          </a:r>
        </a:p>
      </dsp:txBody>
      <dsp:txXfrm>
        <a:off x="8688628" y="1448333"/>
        <a:ext cx="2539299" cy="733212"/>
      </dsp:txXfrm>
    </dsp:sp>
    <dsp:sp modelId="{58498BC0-A379-4076-B064-CC2F5307605D}">
      <dsp:nvSpPr>
        <dsp:cNvPr id="0" name=""/>
        <dsp:cNvSpPr/>
      </dsp:nvSpPr>
      <dsp:spPr>
        <a:xfrm>
          <a:off x="8688628" y="2181546"/>
          <a:ext cx="2539299" cy="3228120"/>
        </a:xfrm>
        <a:prstGeom prst="rect">
          <a:avLst/>
        </a:prstGeom>
        <a:solidFill>
          <a:schemeClr val="accent2">
            <a:tint val="40000"/>
            <a:alpha val="90000"/>
            <a:hueOff val="-20399637"/>
            <a:satOff val="0"/>
            <a:lumOff val="0"/>
            <a:alphaOff val="0"/>
          </a:schemeClr>
        </a:solidFill>
        <a:ln w="25400" cap="flat" cmpd="sng" algn="ctr">
          <a:solidFill>
            <a:schemeClr val="accent2">
              <a:tint val="40000"/>
              <a:alpha val="90000"/>
              <a:hueOff val="-20399637"/>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ts val="600"/>
            </a:spcBef>
            <a:spcAft>
              <a:spcPts val="600"/>
            </a:spcAft>
            <a:buChar char="•"/>
          </a:pPr>
          <a:r>
            <a:rPr lang="en-US" sz="2000" kern="1200" dirty="0"/>
            <a:t>Automate </a:t>
          </a:r>
          <a:r>
            <a:rPr lang="en-US" sz="2000" b="1" kern="1200" dirty="0"/>
            <a:t>2-week close</a:t>
          </a:r>
          <a:r>
            <a:rPr lang="en-US" sz="2000" kern="1200" dirty="0"/>
            <a:t> OB follow-up for patients who screen positive</a:t>
          </a:r>
        </a:p>
        <a:p>
          <a:pPr marL="228600" lvl="1" indent="-228600" algn="l" defTabSz="889000">
            <a:lnSpc>
              <a:spcPct val="100000"/>
            </a:lnSpc>
            <a:spcBef>
              <a:spcPts val="600"/>
            </a:spcBef>
            <a:spcAft>
              <a:spcPts val="600"/>
            </a:spcAft>
            <a:buChar char="•"/>
          </a:pPr>
          <a:r>
            <a:rPr lang="en-US" sz="2000" kern="1200" dirty="0"/>
            <a:t>Ensure providers have treatment algorithms easily accessible</a:t>
          </a:r>
        </a:p>
      </dsp:txBody>
      <dsp:txXfrm>
        <a:off x="8688628" y="2181546"/>
        <a:ext cx="2539299" cy="322812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EBB586-2CF5-4D29-833A-57D6283FDEF7}" type="datetimeFigureOut">
              <a:t>6/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83A75A-6C44-4448-8BBF-4B6021CFF996}" type="slidenum">
              <a:t>‹#›</a:t>
            </a:fld>
            <a:endParaRPr lang="en-US"/>
          </a:p>
        </p:txBody>
      </p:sp>
    </p:spTree>
    <p:extLst>
      <p:ext uri="{BB962C8B-B14F-4D97-AF65-F5344CB8AC3E}">
        <p14:creationId xmlns:p14="http://schemas.microsoft.com/office/powerpoint/2010/main" val="122267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7"/>
        <p:cNvGrpSpPr/>
        <p:nvPr/>
      </p:nvGrpSpPr>
      <p:grpSpPr>
        <a:xfrm>
          <a:off x="0" y="0"/>
          <a:ext cx="0" cy="0"/>
          <a:chOff x="0" y="0"/>
          <a:chExt cx="0" cy="0"/>
        </a:xfrm>
      </p:grpSpPr>
      <p:sp>
        <p:nvSpPr>
          <p:cNvPr id="1508" name="Google Shape;1508;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200" kern="1200" dirty="0">
                <a:solidFill>
                  <a:schemeClr val="tx1"/>
                </a:solidFill>
                <a:effectLst/>
                <a:latin typeface="+mn-lt"/>
                <a:ea typeface="+mn-ea"/>
                <a:cs typeface="+mn-cs"/>
              </a:rPr>
              <a:t>Good afternoon everyone! My name is Rebecca Ainis and I am the project coordinator at ILPQC for the Perinatal Mental Health initiative. We are so excited for this hospital teams panel on sharing strategies to advance optimal perinatal mental health care. We are going to start by having the panelists share, then Ann will do an overview of the key PMH strategies and resources, and we will end with a Q&amp;A with the panelists. </a:t>
            </a:r>
            <a:endParaRPr dirty="0"/>
          </a:p>
        </p:txBody>
      </p:sp>
      <p:sp>
        <p:nvSpPr>
          <p:cNvPr id="1509" name="Google Shape;150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alk through real workflow.</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9F3FAF-CC6A-478D-BF6B-BD1EE87BC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945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05C7C-0C1B-7F79-DEBF-728C448CB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1BA396-E901-F59C-3C89-6590A8BE07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4BD5D0-8D62-5608-E166-D6876E59F3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31FAC14-918F-6B02-1D61-9C5AB10C83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2B4267-FD12-436C-A400-74799FCF0C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3438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ducation ensures consistency and adop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9F3FAF-CC6A-478D-BF6B-BD1EE87BC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6079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rong closing statemen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9F3FAF-CC6A-478D-BF6B-BD1EE87BC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91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f maternal deaths in Illinois showed that maternal deaths from mental health conditions (suicide and overdose) had a visit in the ED during pregnancy or postpartum 85% of the time, compared to women who died from medical complications were seen in the ED 65% of the time.  So the ED is a very important place for us to identify perinatal mental health conditions and provide optimal PMH care.  We know with improved PMH care in the ED we can save liv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2AAC3-F3DE-4DD1-8300-9F2E815B1A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42690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2AAC3-F3DE-4DD1-8300-9F2E815B1A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4555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 – Have you experience any pregnancy –related events in the last year, such as childbirth, miscarriage </a:t>
            </a:r>
            <a:r>
              <a:rPr lang="en-US" dirty="0" err="1"/>
              <a:t>eor</a:t>
            </a:r>
            <a:r>
              <a:rPr lang="en-US" dirty="0"/>
              <a:t> other outcomes, excluding current pregnanc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2AAC3-F3DE-4DD1-8300-9F2E815B1A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6132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2AAC3-F3DE-4DD1-8300-9F2E815B1A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957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realized since the PMH </a:t>
            </a:r>
            <a:r>
              <a:rPr lang="en-US" dirty="0" err="1"/>
              <a:t>initative</a:t>
            </a:r>
            <a:r>
              <a:rPr lang="en-US" dirty="0"/>
              <a:t> – providing the AVS with just a phone number is not enoug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2AAC3-F3DE-4DD1-8300-9F2E815B1A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7458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Inform ED Provider of Positive Screen </a:t>
            </a:r>
          </a:p>
          <a:p>
            <a:r>
              <a:rPr lang="en-US" dirty="0"/>
              <a:t>     - ED Provider goes to see the patient and discusses + screen </a:t>
            </a:r>
          </a:p>
          <a:p>
            <a:r>
              <a:rPr lang="en-US" dirty="0"/>
              <a:t>     - Assesses patient for safety / severity (mild/moderate/severe based on screen result)</a:t>
            </a:r>
          </a:p>
          <a:p>
            <a:r>
              <a:rPr lang="en-US" dirty="0"/>
              <a:t>     - Describes the treatment is therapy, medication or both</a:t>
            </a:r>
          </a:p>
          <a:p>
            <a:r>
              <a:rPr lang="en-US" dirty="0"/>
              <a:t>    - Explains will get the patient connected to treatment options (OB or psych) and follow up before leaving ED</a:t>
            </a:r>
            <a:br>
              <a:rPr lang="en-US" dirty="0"/>
            </a:br>
            <a:endParaRPr lang="en-US" dirty="0"/>
          </a:p>
          <a:p>
            <a:r>
              <a:rPr lang="en-US" dirty="0"/>
              <a:t>2) Provide Treatment Options</a:t>
            </a:r>
          </a:p>
          <a:p>
            <a:r>
              <a:rPr lang="en-US" dirty="0"/>
              <a:t>     - Consult OB provider to discuss treatment options / follow-up</a:t>
            </a:r>
          </a:p>
          <a:p>
            <a:r>
              <a:rPr lang="en-US" dirty="0"/>
              <a:t>     - For patients with moderate/ severe discuss with OB or psychiatry to help start medication  </a:t>
            </a:r>
          </a:p>
          <a:p>
            <a:r>
              <a:rPr lang="en-US" dirty="0"/>
              <a:t>	(can call IL Doc Assist for help with treatment plan)</a:t>
            </a:r>
          </a:p>
          <a:p>
            <a:r>
              <a:rPr lang="en-US" dirty="0"/>
              <a:t>     - Ensure timely follow up if medication is needed</a:t>
            </a:r>
            <a:br>
              <a:rPr lang="en-US" dirty="0"/>
            </a:br>
            <a:endParaRPr lang="en-US" dirty="0"/>
          </a:p>
          <a:p>
            <a:r>
              <a:rPr lang="en-US" dirty="0"/>
              <a:t>3) Warm Handoffs for close follow up</a:t>
            </a:r>
          </a:p>
          <a:p>
            <a:r>
              <a:rPr lang="en-US" dirty="0"/>
              <a:t>    - Refer to therapy behavioral health (Call IL MOMS Line or place Online Referral) </a:t>
            </a:r>
          </a:p>
          <a:p>
            <a:r>
              <a:rPr lang="en-US" dirty="0"/>
              <a:t>    - Ensure follow-up with OB or PCP within 2 weeks </a:t>
            </a:r>
          </a:p>
          <a:p>
            <a:r>
              <a:rPr lang="en-US" dirty="0"/>
              <a:t>4) Follow up calls with patient with positive screening who left the ED without being able to make follow up appointments to confirm warm handoff to follow up.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2AAC3-F3DE-4DD1-8300-9F2E815B1A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055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200" kern="1200" dirty="0">
                <a:solidFill>
                  <a:schemeClr val="tx1"/>
                </a:solidFill>
                <a:effectLst/>
                <a:latin typeface="+mn-lt"/>
                <a:ea typeface="+mn-ea"/>
                <a:cs typeface="+mn-cs"/>
              </a:rPr>
              <a:t>The overall goal of this session is to highlight strategies that hospital teams can use to strengthen PMH education, screening, response to positive screens, and linkages to care.</a:t>
            </a:r>
            <a:endParaRPr lang="en-US" dirty="0"/>
          </a:p>
        </p:txBody>
      </p:sp>
      <p:sp>
        <p:nvSpPr>
          <p:cNvPr id="4" name="Slide Number Placeholder 3"/>
          <p:cNvSpPr>
            <a:spLocks noGrp="1"/>
          </p:cNvSpPr>
          <p:nvPr>
            <p:ph type="sldNum" sz="quarter" idx="5"/>
          </p:nvPr>
        </p:nvSpPr>
        <p:spPr/>
        <p:txBody>
          <a:bodyPr/>
          <a:lstStyle/>
          <a:p>
            <a:fld id="{8E83A75A-6C44-4448-8BBF-4B6021CFF996}" type="slidenum">
              <a:rPr lang="en-US" smtClean="0"/>
              <a:t>2</a:t>
            </a:fld>
            <a:endParaRPr lang="en-US"/>
          </a:p>
        </p:txBody>
      </p:sp>
    </p:spTree>
    <p:extLst>
      <p:ext uri="{BB962C8B-B14F-4D97-AF65-F5344CB8AC3E}">
        <p14:creationId xmlns:p14="http://schemas.microsoft.com/office/powerpoint/2010/main" val="31705586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4E558-DFB9-46FD-AB37-08FFDA6647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4775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4E558-DFB9-46FD-AB37-08FFDA6647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7815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89"/>
        <p:cNvGrpSpPr/>
        <p:nvPr/>
      </p:nvGrpSpPr>
      <p:grpSpPr>
        <a:xfrm>
          <a:off x="0" y="0"/>
          <a:ext cx="0" cy="0"/>
          <a:chOff x="0" y="0"/>
          <a:chExt cx="0" cy="0"/>
        </a:xfrm>
      </p:grpSpPr>
      <p:sp>
        <p:nvSpPr>
          <p:cNvPr id="24490" name="Google Shape;24490;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4491" name="Google Shape;24491;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47247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98">
          <a:extLst>
            <a:ext uri="{FF2B5EF4-FFF2-40B4-BE49-F238E27FC236}">
              <a16:creationId xmlns:a16="http://schemas.microsoft.com/office/drawing/2014/main" id="{8D4B324F-E8FC-7D0C-A48B-3517C53E5899}"/>
            </a:ext>
          </a:extLst>
        </p:cNvPr>
        <p:cNvGrpSpPr/>
        <p:nvPr/>
      </p:nvGrpSpPr>
      <p:grpSpPr>
        <a:xfrm>
          <a:off x="0" y="0"/>
          <a:ext cx="0" cy="0"/>
          <a:chOff x="0" y="0"/>
          <a:chExt cx="0" cy="0"/>
        </a:xfrm>
      </p:grpSpPr>
      <p:sp>
        <p:nvSpPr>
          <p:cNvPr id="24499" name="Google Shape;24499;p39:notes">
            <a:extLst>
              <a:ext uri="{FF2B5EF4-FFF2-40B4-BE49-F238E27FC236}">
                <a16:creationId xmlns:a16="http://schemas.microsoft.com/office/drawing/2014/main" id="{1BFBCC30-F0AF-7A0C-A81A-BEE4161B2831}"/>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4500" name="Google Shape;24500;p39:notes">
            <a:extLst>
              <a:ext uri="{FF2B5EF4-FFF2-40B4-BE49-F238E27FC236}">
                <a16:creationId xmlns:a16="http://schemas.microsoft.com/office/drawing/2014/main" id="{F6263932-D7CB-C8B7-4B52-6586AE1A5CE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920978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23">
          <a:extLst>
            <a:ext uri="{FF2B5EF4-FFF2-40B4-BE49-F238E27FC236}">
              <a16:creationId xmlns:a16="http://schemas.microsoft.com/office/drawing/2014/main" id="{60A2DD24-5953-96FD-E3BA-9F0F921F7D7A}"/>
            </a:ext>
          </a:extLst>
        </p:cNvPr>
        <p:cNvGrpSpPr/>
        <p:nvPr/>
      </p:nvGrpSpPr>
      <p:grpSpPr>
        <a:xfrm>
          <a:off x="0" y="0"/>
          <a:ext cx="0" cy="0"/>
          <a:chOff x="0" y="0"/>
          <a:chExt cx="0" cy="0"/>
        </a:xfrm>
      </p:grpSpPr>
      <p:sp>
        <p:nvSpPr>
          <p:cNvPr id="20524" name="Google Shape;20524;p2645:notes">
            <a:extLst>
              <a:ext uri="{FF2B5EF4-FFF2-40B4-BE49-F238E27FC236}">
                <a16:creationId xmlns:a16="http://schemas.microsoft.com/office/drawing/2014/main" id="{0B1155A0-317D-6D54-4F93-8BFCA75DFCF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20525" name="Google Shape;20525;p2645:notes">
            <a:extLst>
              <a:ext uri="{FF2B5EF4-FFF2-40B4-BE49-F238E27FC236}">
                <a16:creationId xmlns:a16="http://schemas.microsoft.com/office/drawing/2014/main" id="{E48A7E1F-7366-0F24-E30E-13FF737A6D8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029492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80"/>
        <p:cNvGrpSpPr/>
        <p:nvPr/>
      </p:nvGrpSpPr>
      <p:grpSpPr>
        <a:xfrm>
          <a:off x="0" y="0"/>
          <a:ext cx="0" cy="0"/>
          <a:chOff x="0" y="0"/>
          <a:chExt cx="0" cy="0"/>
        </a:xfrm>
      </p:grpSpPr>
      <p:sp>
        <p:nvSpPr>
          <p:cNvPr id="24681" name="Google Shape;24681;p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82" name="Google Shape;24682;p4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83" name="Google Shape;24683;p4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4</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7498835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83A75A-6C44-4448-8BBF-4B6021CFF9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0282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17"/>
        <p:cNvGrpSpPr/>
        <p:nvPr/>
      </p:nvGrpSpPr>
      <p:grpSpPr>
        <a:xfrm>
          <a:off x="0" y="0"/>
          <a:ext cx="0" cy="0"/>
          <a:chOff x="0" y="0"/>
          <a:chExt cx="0" cy="0"/>
        </a:xfrm>
      </p:grpSpPr>
      <p:sp>
        <p:nvSpPr>
          <p:cNvPr id="24618" name="Google Shape;24618;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19" name="Google Shape;24619;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Arial"/>
              <a:buNone/>
            </a:pPr>
            <a:endParaRPr dirty="0"/>
          </a:p>
        </p:txBody>
      </p:sp>
      <p:sp>
        <p:nvSpPr>
          <p:cNvPr id="24620" name="Google Shape;24620;p44:notes"/>
          <p:cNvSpPr txBox="1"/>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800"/>
                <a:buFont typeface="Calibri"/>
                <a:buNone/>
                <a:tabLst/>
                <a:defRPr/>
              </a:pPr>
              <a:t>4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5077887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70"/>
        <p:cNvGrpSpPr/>
        <p:nvPr/>
      </p:nvGrpSpPr>
      <p:grpSpPr>
        <a:xfrm>
          <a:off x="0" y="0"/>
          <a:ext cx="0" cy="0"/>
          <a:chOff x="0" y="0"/>
          <a:chExt cx="0" cy="0"/>
        </a:xfrm>
      </p:grpSpPr>
      <p:sp>
        <p:nvSpPr>
          <p:cNvPr id="24671" name="Google Shape;24671;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72" name="Google Shape;24672;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sz="1200" b="1" i="0" u="none" strike="noStrike" cap="none" dirty="0">
                <a:solidFill>
                  <a:schemeClr val="dk1"/>
                </a:solidFill>
                <a:latin typeface="Calibri"/>
                <a:ea typeface="Calibri"/>
                <a:cs typeface="Calibri"/>
                <a:sym typeface="Calibri"/>
              </a:rPr>
              <a:t>Use </a:t>
            </a:r>
            <a:r>
              <a:rPr lang="en-US" sz="1200" b="1" i="0" u="sng" strike="noStrike" cap="none" dirty="0">
                <a:solidFill>
                  <a:schemeClr val="dk1"/>
                </a:solidFill>
                <a:latin typeface="Calibri"/>
                <a:ea typeface="Calibri"/>
                <a:cs typeface="Calibri"/>
                <a:sym typeface="Calibri"/>
              </a:rPr>
              <a:t>PMH Fallout Case Review Form </a:t>
            </a:r>
            <a:r>
              <a:rPr lang="en-US" sz="1200" b="1" i="0" u="none" strike="noStrike" cap="none" dirty="0">
                <a:solidFill>
                  <a:schemeClr val="dk1"/>
                </a:solidFill>
                <a:latin typeface="Calibri"/>
                <a:ea typeface="Calibri"/>
                <a:cs typeface="Calibri"/>
                <a:sym typeface="Calibri"/>
              </a:rPr>
              <a:t>for monthly review of random sample of patients who screened positive for PMH for fallout cases to identify opportunities to improve care: </a:t>
            </a:r>
            <a:endParaRPr lang="en-US" sz="800" b="1" i="0" u="none" strike="noStrike" cap="none" dirty="0">
              <a:solidFill>
                <a:srgbClr val="000000"/>
              </a:solidFill>
              <a:latin typeface="Arial"/>
              <a:ea typeface="Arial"/>
              <a:cs typeface="Arial"/>
              <a:sym typeface="Arial"/>
            </a:endParaRPr>
          </a:p>
          <a:p>
            <a:pPr marL="0" lvl="0" indent="0" algn="l" rtl="0">
              <a:lnSpc>
                <a:spcPct val="100000"/>
              </a:lnSpc>
              <a:spcBef>
                <a:spcPts val="0"/>
              </a:spcBef>
              <a:spcAft>
                <a:spcPts val="0"/>
              </a:spcAft>
              <a:buClr>
                <a:schemeClr val="dk1"/>
              </a:buClr>
              <a:buSzPts val="1200"/>
              <a:buFont typeface="Arial"/>
              <a:buNone/>
            </a:pPr>
            <a:endParaRPr lang="en-US" dirty="0"/>
          </a:p>
          <a:p>
            <a:pPr marL="0" lvl="0" indent="0" algn="l" rtl="0">
              <a:lnSpc>
                <a:spcPct val="100000"/>
              </a:lnSpc>
              <a:spcBef>
                <a:spcPts val="0"/>
              </a:spcBef>
              <a:spcAft>
                <a:spcPts val="0"/>
              </a:spcAft>
              <a:buClr>
                <a:schemeClr val="dk1"/>
              </a:buClr>
              <a:buSzPts val="1200"/>
              <a:buFont typeface="Arial"/>
              <a:buNone/>
            </a:pPr>
            <a:r>
              <a:rPr lang="en-US" dirty="0"/>
              <a:t>Slides</a:t>
            </a:r>
            <a:endParaRPr dirty="0"/>
          </a:p>
          <a:p>
            <a:pPr marL="171450" lvl="0" indent="-171450" algn="l" rtl="0">
              <a:lnSpc>
                <a:spcPct val="100000"/>
              </a:lnSpc>
              <a:spcBef>
                <a:spcPts val="0"/>
              </a:spcBef>
              <a:spcAft>
                <a:spcPts val="0"/>
              </a:spcAft>
              <a:buClr>
                <a:schemeClr val="dk1"/>
              </a:buClr>
              <a:buSzPts val="1200"/>
              <a:buFont typeface="Arial"/>
              <a:buChar char="-"/>
            </a:pPr>
            <a:r>
              <a:rPr lang="en-US" dirty="0"/>
              <a:t>Engaging with ED – use slide that Ann made</a:t>
            </a:r>
            <a:endParaRPr dirty="0"/>
          </a:p>
          <a:p>
            <a:pPr marL="0" lvl="0" indent="0" algn="l" rtl="0">
              <a:lnSpc>
                <a:spcPct val="100000"/>
              </a:lnSpc>
              <a:spcBef>
                <a:spcPts val="0"/>
              </a:spcBef>
              <a:spcAft>
                <a:spcPts val="0"/>
              </a:spcAft>
              <a:buClr>
                <a:schemeClr val="dk1"/>
              </a:buClr>
              <a:buSzPts val="1200"/>
              <a:buFont typeface="Arial"/>
              <a:buNone/>
            </a:pPr>
            <a:r>
              <a:rPr lang="en-US" dirty="0"/>
              <a:t>1. ED training</a:t>
            </a:r>
            <a:endParaRPr dirty="0"/>
          </a:p>
          <a:p>
            <a:pPr marL="0" lvl="0" indent="0" algn="l" rtl="0">
              <a:lnSpc>
                <a:spcPct val="100000"/>
              </a:lnSpc>
              <a:spcBef>
                <a:spcPts val="0"/>
              </a:spcBef>
              <a:spcAft>
                <a:spcPts val="0"/>
              </a:spcAft>
              <a:buClr>
                <a:schemeClr val="dk1"/>
              </a:buClr>
              <a:buSzPts val="1200"/>
              <a:buFont typeface="Arial"/>
              <a:buNone/>
            </a:pPr>
            <a:r>
              <a:rPr lang="en-US" dirty="0"/>
              <a:t>2. Meeting with social work, psych, ED, OB</a:t>
            </a:r>
            <a:endParaRPr dirty="0"/>
          </a:p>
          <a:p>
            <a:pPr marL="0" lvl="0" indent="0" algn="l" rtl="0">
              <a:lnSpc>
                <a:spcPct val="100000"/>
              </a:lnSpc>
              <a:spcBef>
                <a:spcPts val="0"/>
              </a:spcBef>
              <a:spcAft>
                <a:spcPts val="0"/>
              </a:spcAft>
              <a:buClr>
                <a:schemeClr val="dk1"/>
              </a:buClr>
              <a:buSzPts val="1200"/>
              <a:buFont typeface="Arial"/>
              <a:buNone/>
            </a:pPr>
            <a:r>
              <a:rPr lang="en-US" dirty="0"/>
              <a:t>- Fallout case review: Look at PVB and MNO slides about fallout case review and how to use it</a:t>
            </a:r>
            <a:endParaRPr dirty="0"/>
          </a:p>
          <a:p>
            <a:pPr marL="0" lvl="0" indent="0" algn="l" rtl="0">
              <a:lnSpc>
                <a:spcPct val="100000"/>
              </a:lnSpc>
              <a:spcBef>
                <a:spcPts val="0"/>
              </a:spcBef>
              <a:spcAft>
                <a:spcPts val="0"/>
              </a:spcAft>
              <a:buClr>
                <a:schemeClr val="dk1"/>
              </a:buClr>
              <a:buSzPts val="1200"/>
              <a:buFont typeface="Arial"/>
              <a:buNone/>
            </a:pPr>
            <a:r>
              <a:rPr lang="en-US" dirty="0"/>
              <a:t>- Sharing with outpatient sites</a:t>
            </a:r>
            <a:endParaRPr dirty="0"/>
          </a:p>
          <a:p>
            <a:pPr marL="0" lvl="0" indent="0" algn="l" rtl="0">
              <a:lnSpc>
                <a:spcPct val="100000"/>
              </a:lnSpc>
              <a:spcBef>
                <a:spcPts val="0"/>
              </a:spcBef>
              <a:spcAft>
                <a:spcPts val="0"/>
              </a:spcAft>
              <a:buClr>
                <a:schemeClr val="dk1"/>
              </a:buClr>
              <a:buSzPts val="1200"/>
              <a:buFont typeface="Arial"/>
              <a:buNone/>
            </a:pPr>
            <a:r>
              <a:rPr lang="en-US" dirty="0"/>
              <a:t> List steps for sharing purple folder and outpatient packet</a:t>
            </a:r>
            <a:endParaRPr dirty="0"/>
          </a:p>
          <a:p>
            <a:pPr marL="228600" lvl="0" indent="-228600" algn="l" rtl="0">
              <a:lnSpc>
                <a:spcPct val="100000"/>
              </a:lnSpc>
              <a:spcBef>
                <a:spcPts val="0"/>
              </a:spcBef>
              <a:spcAft>
                <a:spcPts val="0"/>
              </a:spcAft>
              <a:buClr>
                <a:schemeClr val="dk1"/>
              </a:buClr>
              <a:buSzPts val="1200"/>
              <a:buFont typeface="Arial"/>
              <a:buAutoNum type="arabicPeriod"/>
            </a:pPr>
            <a:r>
              <a:rPr lang="en-US" dirty="0"/>
              <a:t>Connect outpatient reps on PMH qi team</a:t>
            </a:r>
            <a:endParaRPr dirty="0"/>
          </a:p>
          <a:p>
            <a:pPr marL="228600" lvl="0" indent="-228600" algn="l" rtl="0">
              <a:lnSpc>
                <a:spcPct val="100000"/>
              </a:lnSpc>
              <a:spcBef>
                <a:spcPts val="0"/>
              </a:spcBef>
              <a:spcAft>
                <a:spcPts val="0"/>
              </a:spcAft>
              <a:buClr>
                <a:schemeClr val="dk1"/>
              </a:buClr>
              <a:buSzPts val="1200"/>
              <a:buFont typeface="Arial"/>
              <a:buAutoNum type="arabicPeriod"/>
            </a:pPr>
            <a:r>
              <a:rPr lang="en-US" dirty="0"/>
              <a:t>Reach out to all outpatient sites</a:t>
            </a:r>
            <a:endParaRPr dirty="0"/>
          </a:p>
          <a:p>
            <a:pPr marL="228600" lvl="0" indent="-228600" algn="l" rtl="0">
              <a:lnSpc>
                <a:spcPct val="100000"/>
              </a:lnSpc>
              <a:spcBef>
                <a:spcPts val="0"/>
              </a:spcBef>
              <a:spcAft>
                <a:spcPts val="0"/>
              </a:spcAft>
              <a:buClr>
                <a:schemeClr val="dk1"/>
              </a:buClr>
              <a:buSzPts val="1200"/>
              <a:buFont typeface="Arial"/>
              <a:buAutoNum type="arabicPeriod"/>
            </a:pPr>
            <a:r>
              <a:rPr lang="en-US" dirty="0"/>
              <a:t>Take the draft letter </a:t>
            </a:r>
            <a:endParaRPr dirty="0"/>
          </a:p>
          <a:p>
            <a:pPr marL="0" lvl="0" indent="0" algn="l" rtl="0">
              <a:lnSpc>
                <a:spcPct val="100000"/>
              </a:lnSpc>
              <a:spcBef>
                <a:spcPts val="0"/>
              </a:spcBef>
              <a:spcAft>
                <a:spcPts val="0"/>
              </a:spcAft>
              <a:buClr>
                <a:schemeClr val="dk1"/>
              </a:buClr>
              <a:buSzPts val="1200"/>
              <a:buFont typeface="Arial"/>
              <a:buNone/>
            </a:pPr>
            <a:r>
              <a:rPr lang="en-US" dirty="0"/>
              <a:t>- PMH education campaign</a:t>
            </a:r>
            <a:endParaRPr dirty="0"/>
          </a:p>
        </p:txBody>
      </p:sp>
      <p:sp>
        <p:nvSpPr>
          <p:cNvPr id="24673" name="Google Shape;24673;p46:notes"/>
          <p:cNvSpPr txBox="1"/>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800"/>
                <a:buFont typeface="Calibri"/>
                <a:buNone/>
                <a:tabLst/>
                <a:defRPr/>
              </a:pPr>
              <a:t>4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23">
          <a:extLst>
            <a:ext uri="{FF2B5EF4-FFF2-40B4-BE49-F238E27FC236}">
              <a16:creationId xmlns:a16="http://schemas.microsoft.com/office/drawing/2014/main" id="{B3A241E9-F241-0398-67B6-DEC32851F75D}"/>
            </a:ext>
          </a:extLst>
        </p:cNvPr>
        <p:cNvGrpSpPr/>
        <p:nvPr/>
      </p:nvGrpSpPr>
      <p:grpSpPr>
        <a:xfrm>
          <a:off x="0" y="0"/>
          <a:ext cx="0" cy="0"/>
          <a:chOff x="0" y="0"/>
          <a:chExt cx="0" cy="0"/>
        </a:xfrm>
      </p:grpSpPr>
      <p:sp>
        <p:nvSpPr>
          <p:cNvPr id="20524" name="Google Shape;20524;p2645:notes">
            <a:extLst>
              <a:ext uri="{FF2B5EF4-FFF2-40B4-BE49-F238E27FC236}">
                <a16:creationId xmlns:a16="http://schemas.microsoft.com/office/drawing/2014/main" id="{BDCF398F-9D80-A0A4-230A-36830E2AB42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20525" name="Google Shape;20525;p2645:notes">
            <a:extLst>
              <a:ext uri="{FF2B5EF4-FFF2-40B4-BE49-F238E27FC236}">
                <a16:creationId xmlns:a16="http://schemas.microsoft.com/office/drawing/2014/main" id="{4F37439B-3D19-7D97-AD40-5E79EC74322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11351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31"/>
        <p:cNvGrpSpPr/>
        <p:nvPr/>
      </p:nvGrpSpPr>
      <p:grpSpPr>
        <a:xfrm>
          <a:off x="0" y="0"/>
          <a:ext cx="0" cy="0"/>
          <a:chOff x="0" y="0"/>
          <a:chExt cx="0" cy="0"/>
        </a:xfrm>
      </p:grpSpPr>
      <p:sp>
        <p:nvSpPr>
          <p:cNvPr id="24332" name="Google Shape;24332;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333" name="Google Shape;24333;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200" kern="1200" dirty="0">
                <a:solidFill>
                  <a:schemeClr val="tx1"/>
                </a:solidFill>
                <a:effectLst/>
                <a:latin typeface="+mn-lt"/>
                <a:ea typeface="+mn-ea"/>
                <a:cs typeface="+mn-cs"/>
              </a:rPr>
              <a:t>Before our panelists share we wanted to provide a brief refresher on the focus of the PMH initiative. The PMH initiative launched in 2025 with the aim of having ≥80% of women with positive PMH screen offered/received perinatal mental health care treatment (therapy, medication, or both) prenatally or by delivery discharge. We are excited to continue this work throughout the rest of 2026 by focusing on clinical staff education, building workflows to respond to positive PMH screens, incorporating key resources into workflows, identifying strategies for warm handoffs to therapy and support services, and engaging outpatient and ED sites to improve PMH care.</a:t>
            </a:r>
            <a:endParaRPr dirty="0"/>
          </a:p>
        </p:txBody>
      </p:sp>
      <p:sp>
        <p:nvSpPr>
          <p:cNvPr id="24334" name="Google Shape;24334;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05">
          <a:extLst>
            <a:ext uri="{FF2B5EF4-FFF2-40B4-BE49-F238E27FC236}">
              <a16:creationId xmlns:a16="http://schemas.microsoft.com/office/drawing/2014/main" id="{AABFF012-0B9B-16E1-CDFA-AF69F33D33C9}"/>
            </a:ext>
          </a:extLst>
        </p:cNvPr>
        <p:cNvGrpSpPr/>
        <p:nvPr/>
      </p:nvGrpSpPr>
      <p:grpSpPr>
        <a:xfrm>
          <a:off x="0" y="0"/>
          <a:ext cx="0" cy="0"/>
          <a:chOff x="0" y="0"/>
          <a:chExt cx="0" cy="0"/>
        </a:xfrm>
      </p:grpSpPr>
      <p:sp>
        <p:nvSpPr>
          <p:cNvPr id="26306" name="Google Shape;26306;p47:notes">
            <a:extLst>
              <a:ext uri="{FF2B5EF4-FFF2-40B4-BE49-F238E27FC236}">
                <a16:creationId xmlns:a16="http://schemas.microsoft.com/office/drawing/2014/main" id="{E25C5855-48C4-3476-7DCC-B2109E43AB3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307" name="Google Shape;26307;p47:notes">
            <a:extLst>
              <a:ext uri="{FF2B5EF4-FFF2-40B4-BE49-F238E27FC236}">
                <a16:creationId xmlns:a16="http://schemas.microsoft.com/office/drawing/2014/main" id="{83E85411-F217-22F4-2F51-2A976D33AEF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kern="1200" dirty="0">
                <a:solidFill>
                  <a:schemeClr val="tx1"/>
                </a:solidFill>
                <a:effectLst/>
                <a:latin typeface="+mn-lt"/>
                <a:ea typeface="+mn-ea"/>
                <a:cs typeface="+mn-cs"/>
              </a:rPr>
              <a:t>The goal is to provide optimal PMH care for every patient, every time by following these key steps: educating patients and clinical staff, screening and assessing for PMH conditions, counseling on treatment options and establishing treatment, and providing warm hand offs for behavioral healthcare and close OB follow-up.</a:t>
            </a:r>
            <a:endParaRPr dirty="0"/>
          </a:p>
        </p:txBody>
      </p:sp>
      <p:sp>
        <p:nvSpPr>
          <p:cNvPr id="26308" name="Google Shape;26308;p47:notes">
            <a:extLst>
              <a:ext uri="{FF2B5EF4-FFF2-40B4-BE49-F238E27FC236}">
                <a16:creationId xmlns:a16="http://schemas.microsoft.com/office/drawing/2014/main" id="{1D747EE9-3850-9762-3954-431D063B9A0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683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a:extLst>
            <a:ext uri="{FF2B5EF4-FFF2-40B4-BE49-F238E27FC236}">
              <a16:creationId xmlns:a16="http://schemas.microsoft.com/office/drawing/2014/main" id="{85FE5838-CB68-DE58-3D77-3B575EF947BA}"/>
            </a:ext>
          </a:extLst>
        </p:cNvPr>
        <p:cNvGrpSpPr/>
        <p:nvPr/>
      </p:nvGrpSpPr>
      <p:grpSpPr>
        <a:xfrm>
          <a:off x="0" y="0"/>
          <a:ext cx="0" cy="0"/>
          <a:chOff x="0" y="0"/>
          <a:chExt cx="0" cy="0"/>
        </a:xfrm>
      </p:grpSpPr>
      <p:sp>
        <p:nvSpPr>
          <p:cNvPr id="1555" name="Google Shape;1555;p5:notes">
            <a:extLst>
              <a:ext uri="{FF2B5EF4-FFF2-40B4-BE49-F238E27FC236}">
                <a16:creationId xmlns:a16="http://schemas.microsoft.com/office/drawing/2014/main" id="{E3F04F4C-9AB3-8903-C1E2-86831975972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56" name="Google Shape;1556;p5:notes">
            <a:extLst>
              <a:ext uri="{FF2B5EF4-FFF2-40B4-BE49-F238E27FC236}">
                <a16:creationId xmlns:a16="http://schemas.microsoft.com/office/drawing/2014/main" id="{301F9B5A-D7B6-4269-B05E-CA100D84E86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I will now introduce our three hospital panelists!</a:t>
            </a:r>
            <a:endParaRPr dirty="0"/>
          </a:p>
        </p:txBody>
      </p:sp>
      <p:sp>
        <p:nvSpPr>
          <p:cNvPr id="1557" name="Google Shape;1557;p5:notes">
            <a:extLst>
              <a:ext uri="{FF2B5EF4-FFF2-40B4-BE49-F238E27FC236}">
                <a16:creationId xmlns:a16="http://schemas.microsoft.com/office/drawing/2014/main" id="{13E6AB95-0032-F391-1070-4AE938A9CF9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a:t>
            </a:fld>
            <a:endParaRPr/>
          </a:p>
        </p:txBody>
      </p:sp>
    </p:spTree>
    <p:extLst>
      <p:ext uri="{BB962C8B-B14F-4D97-AF65-F5344CB8AC3E}">
        <p14:creationId xmlns:p14="http://schemas.microsoft.com/office/powerpoint/2010/main" val="2277678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9F3FAF-CC6A-478D-BF6B-BD1EE87BC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74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2B4267-FD12-436C-A400-74799FCF0C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014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ture improvements and IT suppor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9F3FAF-CC6A-478D-BF6B-BD1EE87BC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5272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9F3FAF-CC6A-478D-BF6B-BD1EE87BC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319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0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0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0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01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2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08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8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8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8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8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09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1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2.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8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9.xml"/></Relationships>
</file>

<file path=ppt/slideLayouts/_rels/slideLayout118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18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18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9.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9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19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20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9.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1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1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2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4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4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25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9.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7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7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8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28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28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8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8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29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29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9.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9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0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0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1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1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1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1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1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9.xml"/></Relationships>
</file>

<file path=ppt/slideLayouts/_rels/slideLayout13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3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33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3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3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3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33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3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35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5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39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0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9.xml"/></Relationships>
</file>

<file path=ppt/slideLayouts/_rels/slideLayout140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1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41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9.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4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41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42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4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9.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2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9.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3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4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44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4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5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4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45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5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9.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7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8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8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8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49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49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9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9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9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0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50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50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0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0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1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3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3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4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4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4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5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4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4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55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55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5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6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5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5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5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5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8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158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9.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58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5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9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59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59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9.xml"/></Relationships>
</file>

<file path=ppt/slideLayouts/_rels/slideLayout15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5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5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0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0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0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0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1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9.xml"/></Relationships>
</file>

<file path=ppt/slideLayouts/_rels/slideLayout161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1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1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6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61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62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16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2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6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6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3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9.xml"/></Relationships>
</file>

<file path=ppt/slideLayouts/_rels/slideLayout16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63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6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6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6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4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64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164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5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5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66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6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6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16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6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6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0.xml"/></Relationships>
</file>

<file path=ppt/slideLayouts/_rels/slideLayout16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7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6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8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8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6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6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0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71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71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1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2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3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73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17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4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5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5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6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7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8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178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8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8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8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8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8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8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8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7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0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181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8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2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8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8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8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8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8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8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8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83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0.xml"/></Relationships>
</file>

<file path=ppt/slideLayouts/_rels/slideLayout18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183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4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0.xml"/></Relationships>
</file>

<file path=ppt/slideLayouts/_rels/slideLayout184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0.xml"/></Relationships>
</file>

<file path=ppt/slideLayouts/_rels/slideLayout18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184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18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184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18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5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0.xml"/></Relationships>
</file>

<file path=ppt/slideLayouts/_rels/slideLayout185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0.xml"/></Relationships>
</file>

<file path=ppt/slideLayouts/_rels/slideLayout185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0.xml"/></Relationships>
</file>

<file path=ppt/slideLayouts/_rels/slideLayout18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8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7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8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8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8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88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10.xml"/></Relationships>
</file>

<file path=ppt/slideLayouts/_rels/slideLayout188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8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18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9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9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89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9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0.xml"/></Relationships>
</file>

<file path=ppt/slideLayouts/_rels/slideLayout189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89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0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0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9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0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0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191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1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0.xml"/></Relationships>
</file>

<file path=ppt/slideLayouts/_rels/slideLayout191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1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1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1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2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0.xml"/></Relationships>
</file>

<file path=ppt/slideLayouts/_rels/slideLayout19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3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9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94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9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9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5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5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5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5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5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5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5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96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6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6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19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6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6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9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7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7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7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7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7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980.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8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8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8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19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8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8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8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1.xml"/></Relationships>
</file>

<file path=ppt/slideLayouts/_rels/slideLayout198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99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1.xml"/></Relationships>
</file>

<file path=ppt/slideLayouts/_rels/slideLayout199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199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200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0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0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0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0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Master" Target="../slideMasters/slideMaster11.xml"/><Relationship Id="rId1" Type="http://schemas.openxmlformats.org/officeDocument/2006/relationships/tags" Target="../tags/tag17.xml"/></Relationships>
</file>

<file path=ppt/slideLayouts/_rels/slideLayout200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11.xml"/><Relationship Id="rId1" Type="http://schemas.openxmlformats.org/officeDocument/2006/relationships/tags" Target="../tags/tag18.xml"/></Relationships>
</file>

<file path=ppt/slideLayouts/_rels/slideLayout200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Master" Target="../slideMasters/slideMaster11.xml"/><Relationship Id="rId1" Type="http://schemas.openxmlformats.org/officeDocument/2006/relationships/tags" Target="../tags/tag1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1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Master" Target="../slideMasters/slideMaster11.xml"/><Relationship Id="rId1" Type="http://schemas.openxmlformats.org/officeDocument/2006/relationships/tags" Target="../tags/tag20.xml"/></Relationships>
</file>

<file path=ppt/slideLayouts/_rels/slideLayout201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1.xml"/></Relationships>
</file>

<file path=ppt/slideLayouts/_rels/slideLayout201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1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1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0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21.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Layouts/_rels/slideLayout202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18.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02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11.xml"/></Relationships>
</file>

<file path=ppt/slideLayouts/_rels/slideLayout202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202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202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3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3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3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03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0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0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4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4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0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1.xml"/></Relationships>
</file>

<file path=ppt/slideLayouts/_rels/slideLayout20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5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5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0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5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0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0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0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0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8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8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08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08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0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9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9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0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1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0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11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2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3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13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3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3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3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3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13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4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4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4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46.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47.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48.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4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5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5.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1.xml"/></Relationships>
</file>

<file path=ppt/slideLayouts/_rels/slideLayout2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15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5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15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60.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1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16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6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6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6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16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7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8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18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18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18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8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9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9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9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9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9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1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19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1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2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2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2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2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220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20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220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20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1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2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2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2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21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21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11.xml"/></Relationships>
</file>

<file path=ppt/slideLayouts/_rels/slideLayout221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2217.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1.xml"/></Relationships>
</file>

<file path=ppt/slideLayouts/_rels/slideLayout2218.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1.xml"/></Relationships>
</file>

<file path=ppt/slideLayouts/_rels/slideLayout221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22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22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22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22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22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22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2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2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2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2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2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2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2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2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2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2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2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224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24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224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2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2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24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24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5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2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2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5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225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2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25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2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2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2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26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2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26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26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26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26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27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2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28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24.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Layouts/_rels/slideLayout228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2.jp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28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27.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Layouts/_rels/slideLayout228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2.jp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28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2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2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2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29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29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9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0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30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30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30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3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30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30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30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30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30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1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1.xml"/></Relationships>
</file>

<file path=ppt/slideLayouts/_rels/slideLayout2311.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1.xml"/></Relationships>
</file>

<file path=ppt/slideLayouts/_rels/slideLayout231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6.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1.xml"/><Relationship Id="rId1" Type="http://schemas.openxmlformats.org/officeDocument/2006/relationships/tags" Target="../tags/tag32.xml"/></Relationships>
</file>

<file path=ppt/slideLayouts/_rels/slideLayout23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3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1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Layouts/_rels/slideLayout23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3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32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3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3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3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jp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3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33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3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33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3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3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3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3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3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3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3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3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23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23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34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3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3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35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35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3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35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235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3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35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3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3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3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36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36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2.jp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3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23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37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37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8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8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8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8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38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38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38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8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3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Master" Target="../slideMasters/slideMaster11.xml"/><Relationship Id="rId1" Type="http://schemas.openxmlformats.org/officeDocument/2006/relationships/tags" Target="../tags/tag35.xml"/></Relationships>
</file>

<file path=ppt/slideLayouts/_rels/slideLayout23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40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40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4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40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40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40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40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40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40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24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4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4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24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4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44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245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5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5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246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6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6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247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7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7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7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7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7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7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47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7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24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8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4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24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9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49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49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49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50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50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50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50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50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5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0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50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5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5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5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51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5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5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5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5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5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5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5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5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52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52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52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52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5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5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53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53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5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5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25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54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2.jp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5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254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1.xml"/></Relationships>
</file>

<file path=ppt/slideLayouts/_rels/slideLayout254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255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5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1.xml"/></Relationships>
</file>

<file path=ppt/slideLayouts/_rels/slideLayout25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5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5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25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92.png"/><Relationship Id="rId1" Type="http://schemas.openxmlformats.org/officeDocument/2006/relationships/slideMaster" Target="../slideMasters/slideMaster11.xml"/></Relationships>
</file>

<file path=ppt/slideLayouts/_rels/slideLayout25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5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25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61.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18.jpe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56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6.jpe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5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1.xml"/><Relationship Id="rId1" Type="http://schemas.openxmlformats.org/officeDocument/2006/relationships/tags" Target="../tags/tag42.xml"/></Relationships>
</file>

<file path=ppt/slideLayouts/_rels/slideLayout25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257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57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57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257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257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25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57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8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8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6.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58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58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26.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5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1.xml"/><Relationship Id="rId1" Type="http://schemas.openxmlformats.org/officeDocument/2006/relationships/tags" Target="../tags/tag47.xml"/></Relationships>
</file>

<file path=ppt/slideLayouts/_rels/slideLayout25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58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259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5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59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11.xml"/><Relationship Id="rId1" Type="http://schemas.openxmlformats.org/officeDocument/2006/relationships/tags" Target="../tags/tag48.xml"/></Relationships>
</file>

<file path=ppt/slideLayouts/_rels/slideLayout259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5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9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260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0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Master" Target="../slideMasters/slideMaster11.xml"/></Relationships>
</file>

<file path=ppt/slideLayouts/_rels/slideLayout2602.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11.xml"/></Relationships>
</file>

<file path=ppt/slideLayouts/_rels/slideLayout260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0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26.jpe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60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1.xml"/></Relationships>
</file>

<file path=ppt/slideLayouts/_rels/slideLayout260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07.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Master" Target="../slideMasters/slideMaster11.xml"/></Relationships>
</file>

<file path=ppt/slideLayouts/_rels/slideLayout260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0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0.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Master" Target="../slideMasters/slideMaster11.xml"/></Relationships>
</file>

<file path=ppt/slideLayouts/_rels/slideLayout26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1.xml"/></Relationships>
</file>

<file path=ppt/slideLayouts/_rels/slideLayout261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61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Master" Target="../slideMasters/slideMaster11.xml"/></Relationships>
</file>

<file path=ppt/slideLayouts/_rels/slideLayout261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6.jpe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261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Master" Target="../slideMasters/slideMaster11.xml"/></Relationships>
</file>

<file path=ppt/slideLayouts/_rels/slideLayout261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Master" Target="../slideMasters/slideMaster11.xml"/></Relationships>
</file>

<file path=ppt/slideLayouts/_rels/slideLayout261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1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Master" Target="../slideMasters/slideMaster11.xml"/></Relationships>
</file>

<file path=ppt/slideLayouts/_rels/slideLayout2619.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262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11.xml"/><Relationship Id="rId1" Type="http://schemas.openxmlformats.org/officeDocument/2006/relationships/tags" Target="../tags/tag53.xml"/></Relationships>
</file>

<file path=ppt/slideLayouts/_rels/slideLayout2622.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image" Target="../media/image140.jpeg"/><Relationship Id="rId1" Type="http://schemas.openxmlformats.org/officeDocument/2006/relationships/slideMaster" Target="../slideMasters/slideMaster11.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Layouts/_rels/slideLayout26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62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Master" Target="../slideMasters/slideMaster11.xml"/></Relationships>
</file>

<file path=ppt/slideLayouts/_rels/slideLayout2625.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Master" Target="../slideMasters/slideMaster11.xml"/></Relationships>
</file>

<file path=ppt/slideLayouts/_rels/slideLayout26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6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6.jpeg"/><Relationship Id="rId1" Type="http://schemas.openxmlformats.org/officeDocument/2006/relationships/slideMaster" Target="../slideMasters/slideMaster3.xml"/><Relationship Id="rId4" Type="http://schemas.openxmlformats.org/officeDocument/2006/relationships/image" Target="../media/image57.png"/></Relationships>
</file>

<file path=ppt/slideLayouts/_rels/slideLayout26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1.xml"/><Relationship Id="rId1" Type="http://schemas.openxmlformats.org/officeDocument/2006/relationships/tags" Target="../tags/tag54.xml"/></Relationships>
</file>

<file path=ppt/slideLayouts/_rels/slideLayout26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6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63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6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6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11.xml"/><Relationship Id="rId1" Type="http://schemas.openxmlformats.org/officeDocument/2006/relationships/tags" Target="../tags/tag55.xml"/></Relationships>
</file>

<file path=ppt/slideLayouts/_rels/slideLayout263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63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6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6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2.xml.rels><?xml version="1.0" encoding="UTF-8" standalone="yes"?>
<Relationships xmlns="http://schemas.openxmlformats.org/package/2006/relationships"><Relationship Id="rId3" Type="http://schemas.openxmlformats.org/officeDocument/2006/relationships/image" Target="../media/image149.emf"/><Relationship Id="rId2" Type="http://schemas.openxmlformats.org/officeDocument/2006/relationships/image" Target="../media/image148.png"/><Relationship Id="rId1" Type="http://schemas.openxmlformats.org/officeDocument/2006/relationships/slideMaster" Target="../slideMasters/slideMaster12.xml"/><Relationship Id="rId4" Type="http://schemas.openxmlformats.org/officeDocument/2006/relationships/image" Target="../media/image150.emf"/></Relationships>
</file>

<file path=ppt/slideLayouts/_rels/slideLayout2643.xml.rels><?xml version="1.0" encoding="UTF-8" standalone="yes"?>
<Relationships xmlns="http://schemas.openxmlformats.org/package/2006/relationships"><Relationship Id="rId3" Type="http://schemas.openxmlformats.org/officeDocument/2006/relationships/image" Target="../media/image150.emf"/><Relationship Id="rId2" Type="http://schemas.openxmlformats.org/officeDocument/2006/relationships/image" Target="../media/image151.png"/><Relationship Id="rId1" Type="http://schemas.openxmlformats.org/officeDocument/2006/relationships/slideMaster" Target="../slideMasters/slideMaster12.xml"/></Relationships>
</file>

<file path=ppt/slideLayouts/_rels/slideLayout2644.xml.rels><?xml version="1.0" encoding="UTF-8" standalone="yes"?>
<Relationships xmlns="http://schemas.openxmlformats.org/package/2006/relationships"><Relationship Id="rId3" Type="http://schemas.openxmlformats.org/officeDocument/2006/relationships/image" Target="../media/image150.emf"/><Relationship Id="rId2" Type="http://schemas.openxmlformats.org/officeDocument/2006/relationships/image" Target="../media/image152.png"/><Relationship Id="rId1" Type="http://schemas.openxmlformats.org/officeDocument/2006/relationships/slideMaster" Target="../slideMasters/slideMaster12.xml"/><Relationship Id="rId4" Type="http://schemas.openxmlformats.org/officeDocument/2006/relationships/image" Target="../media/image149.emf"/></Relationships>
</file>

<file path=ppt/slideLayouts/_rels/slideLayout2645.xml.rels><?xml version="1.0" encoding="UTF-8" standalone="yes"?>
<Relationships xmlns="http://schemas.openxmlformats.org/package/2006/relationships"><Relationship Id="rId3" Type="http://schemas.openxmlformats.org/officeDocument/2006/relationships/image" Target="../media/image150.emf"/><Relationship Id="rId2" Type="http://schemas.openxmlformats.org/officeDocument/2006/relationships/image" Target="../media/image153.png"/><Relationship Id="rId1" Type="http://schemas.openxmlformats.org/officeDocument/2006/relationships/slideMaster" Target="../slideMasters/slideMaster12.xml"/><Relationship Id="rId4" Type="http://schemas.openxmlformats.org/officeDocument/2006/relationships/image" Target="../media/image149.emf"/></Relationships>
</file>

<file path=ppt/slideLayouts/_rels/slideLayout2646.xml.rels><?xml version="1.0" encoding="UTF-8" standalone="yes"?>
<Relationships xmlns="http://schemas.openxmlformats.org/package/2006/relationships"><Relationship Id="rId3" Type="http://schemas.openxmlformats.org/officeDocument/2006/relationships/image" Target="../media/image150.emf"/><Relationship Id="rId2" Type="http://schemas.openxmlformats.org/officeDocument/2006/relationships/image" Target="../media/image151.png"/><Relationship Id="rId1" Type="http://schemas.openxmlformats.org/officeDocument/2006/relationships/slideMaster" Target="../slideMasters/slideMaster12.xml"/></Relationships>
</file>

<file path=ppt/slideLayouts/_rels/slideLayout26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9.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6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1.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Master" Target="../slideMasters/slideMaster13.xml"/></Relationships>
</file>

<file path=ppt/slideLayouts/_rels/slideLayout2652.xml.rels><?xml version="1.0" encoding="UTF-8" standalone="yes"?>
<Relationships xmlns="http://schemas.openxmlformats.org/package/2006/relationships"><Relationship Id="rId2" Type="http://schemas.openxmlformats.org/officeDocument/2006/relationships/image" Target="../media/image156.jpg"/><Relationship Id="rId1" Type="http://schemas.openxmlformats.org/officeDocument/2006/relationships/slideMaster" Target="../slideMasters/slideMaster13.xml"/></Relationships>
</file>

<file path=ppt/slideLayouts/_rels/slideLayout2653.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Master" Target="../slideMasters/slideMaster13.xml"/></Relationships>
</file>

<file path=ppt/slideLayouts/_rels/slideLayout26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6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1.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Master" Target="../slideMasters/slideMaster13.xml"/></Relationships>
</file>

<file path=ppt/slideLayouts/_rels/slideLayout26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7.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Master" Target="../slideMasters/slideMaster13.xml"/></Relationships>
</file>

<file path=ppt/slideLayouts/_rels/slideLayout2668.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Master" Target="../slideMasters/slideMaster13.xml"/></Relationships>
</file>

<file path=ppt/slideLayouts/_rels/slideLayout2669.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670.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Master" Target="../slideMasters/slideMaster13.xml"/></Relationships>
</file>

<file path=ppt/slideLayouts/_rels/slideLayout2671.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Master" Target="../slideMasters/slideMaster13.xml"/></Relationships>
</file>

<file path=ppt/slideLayouts/_rels/slideLayout2672.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Master" Target="../slideMasters/slideMaster13.xml"/></Relationships>
</file>

<file path=ppt/slideLayouts/_rels/slideLayout2673.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Master" Target="../slideMasters/slideMaster13.xml"/></Relationships>
</file>

<file path=ppt/slideLayouts/_rels/slideLayout2674.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Master" Target="../slideMasters/slideMaster13.xml"/></Relationships>
</file>

<file path=ppt/slideLayouts/_rels/slideLayout2675.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Master" Target="../slideMasters/slideMaster13.xml"/></Relationships>
</file>

<file path=ppt/slideLayouts/_rels/slideLayout2676.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Master" Target="../slideMasters/slideMaster13.xml"/></Relationships>
</file>

<file path=ppt/slideLayouts/_rels/slideLayout2677.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Master" Target="../slideMasters/slideMaster13.xml"/></Relationships>
</file>

<file path=ppt/slideLayouts/_rels/slideLayout2678.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Master" Target="../slideMasters/slideMaster13.xml"/></Relationships>
</file>

<file path=ppt/slideLayouts/_rels/slideLayout2679.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680.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Master" Target="../slideMasters/slideMaster13.xml"/></Relationships>
</file>

<file path=ppt/slideLayouts/_rels/slideLayout2681.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Master" Target="../slideMasters/slideMaster13.xml"/></Relationships>
</file>

<file path=ppt/slideLayouts/_rels/slideLayout2682.xml.rels><?xml version="1.0" encoding="UTF-8" standalone="yes"?>
<Relationships xmlns="http://schemas.openxmlformats.org/package/2006/relationships"><Relationship Id="rId2" Type="http://schemas.openxmlformats.org/officeDocument/2006/relationships/image" Target="../media/image156.jpg"/><Relationship Id="rId1" Type="http://schemas.openxmlformats.org/officeDocument/2006/relationships/slideMaster" Target="../slideMasters/slideMaster13.xml"/></Relationships>
</file>

<file path=ppt/slideLayouts/_rels/slideLayout2683.xml.rels><?xml version="1.0" encoding="UTF-8" standalone="yes"?>
<Relationships xmlns="http://schemas.openxmlformats.org/package/2006/relationships"><Relationship Id="rId2" Type="http://schemas.openxmlformats.org/officeDocument/2006/relationships/image" Target="../media/image156.jpg"/><Relationship Id="rId1" Type="http://schemas.openxmlformats.org/officeDocument/2006/relationships/slideMaster" Target="../slideMasters/slideMaster13.xml"/></Relationships>
</file>

<file path=ppt/slideLayouts/_rels/slideLayout2684.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Master" Target="../slideMasters/slideMaster13.xml"/></Relationships>
</file>

<file path=ppt/slideLayouts/_rels/slideLayout2685.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Master" Target="../slideMasters/slideMaster13.xml"/></Relationships>
</file>

<file path=ppt/slideLayouts/_rels/slideLayout26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6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7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02.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Master" Target="../slideMasters/slideMaster13.xml"/></Relationships>
</file>

<file path=ppt/slideLayouts/_rels/slideLayout27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0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62.png"/><Relationship Id="rId1" Type="http://schemas.openxmlformats.org/officeDocument/2006/relationships/slideMaster" Target="../slideMasters/slideMaster14.xml"/></Relationships>
</file>

<file path=ppt/slideLayouts/_rels/slideLayout270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jpeg"/><Relationship Id="rId1" Type="http://schemas.openxmlformats.org/officeDocument/2006/relationships/slideMaster" Target="../slideMasters/slideMaster14.xml"/></Relationships>
</file>

<file path=ppt/slideLayouts/_rels/slideLayout270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5.jpeg"/><Relationship Id="rId1" Type="http://schemas.openxmlformats.org/officeDocument/2006/relationships/slideMaster" Target="../slideMasters/slideMaster14.xml"/></Relationships>
</file>

<file path=ppt/slideLayouts/_rels/slideLayout270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6.jpe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71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7.png"/><Relationship Id="rId1" Type="http://schemas.openxmlformats.org/officeDocument/2006/relationships/slideMaster" Target="../slideMasters/slideMaster14.xml"/></Relationships>
</file>

<file path=ppt/slideLayouts/_rels/slideLayout2711.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Master" Target="../slideMasters/slideMaster14.xml"/></Relationships>
</file>

<file path=ppt/slideLayouts/_rels/slideLayout2712.xml.rels><?xml version="1.0" encoding="UTF-8" standalone="yes"?>
<Relationships xmlns="http://schemas.openxmlformats.org/package/2006/relationships"><Relationship Id="rId2" Type="http://schemas.openxmlformats.org/officeDocument/2006/relationships/image" Target="../media/image169.jpeg"/><Relationship Id="rId1" Type="http://schemas.openxmlformats.org/officeDocument/2006/relationships/slideMaster" Target="../slideMasters/slideMaster14.xml"/></Relationships>
</file>

<file path=ppt/slideLayouts/_rels/slideLayout2713.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Master" Target="../slideMasters/slideMaster14.xml"/></Relationships>
</file>

<file path=ppt/slideLayouts/_rels/slideLayout2714.xml.rels><?xml version="1.0" encoding="UTF-8" standalone="yes"?>
<Relationships xmlns="http://schemas.openxmlformats.org/package/2006/relationships"><Relationship Id="rId2" Type="http://schemas.openxmlformats.org/officeDocument/2006/relationships/image" Target="../media/image171.jpeg"/><Relationship Id="rId1" Type="http://schemas.openxmlformats.org/officeDocument/2006/relationships/slideMaster" Target="../slideMasters/slideMaster14.xml"/></Relationships>
</file>

<file path=ppt/slideLayouts/_rels/slideLayout2715.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Master" Target="../slideMasters/slideMaster14.xml"/></Relationships>
</file>

<file path=ppt/slideLayouts/_rels/slideLayout27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720.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Master" Target="../slideMasters/slideMaster14.xml"/></Relationships>
</file>

<file path=ppt/slideLayouts/_rels/slideLayout27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74.jpeg"/><Relationship Id="rId1" Type="http://schemas.openxmlformats.org/officeDocument/2006/relationships/slideMaster" Target="../slideMasters/slideMaster14.xml"/></Relationships>
</file>

<file path=ppt/slideLayouts/_rels/slideLayout27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75.pn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3.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3.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Master" Target="../slideMasters/slideMaster3.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Master" Target="../slideMasters/slideMaster3.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9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93.png"/><Relationship Id="rId1" Type="http://schemas.openxmlformats.org/officeDocument/2006/relationships/slideMaster" Target="../slideMasters/slideMaster3.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3.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6.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3.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3.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01.png"/><Relationship Id="rId1" Type="http://schemas.openxmlformats.org/officeDocument/2006/relationships/slideMaster" Target="../slideMasters/slideMaster3.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3.xml"/></Relationships>
</file>

<file path=ppt/slideLayouts/_rels/slideLayout6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6.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5.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73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0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8.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8.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8.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8.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8.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8.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90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8.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1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8.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9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3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8.xml"/></Relationships>
</file>

<file path=ppt/slideLayouts/_rels/slideLayout9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9.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8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9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77"/>
        <p:cNvGrpSpPr/>
        <p:nvPr/>
      </p:nvGrpSpPr>
      <p:grpSpPr>
        <a:xfrm>
          <a:off x="0" y="0"/>
          <a:ext cx="0" cy="0"/>
          <a:chOff x="0" y="0"/>
          <a:chExt cx="0" cy="0"/>
        </a:xfrm>
      </p:grpSpPr>
      <p:grpSp>
        <p:nvGrpSpPr>
          <p:cNvPr id="978" name="Google Shape;978;p99"/>
          <p:cNvGrpSpPr/>
          <p:nvPr/>
        </p:nvGrpSpPr>
        <p:grpSpPr>
          <a:xfrm>
            <a:off x="7191542" y="1"/>
            <a:ext cx="5000459" cy="1425992"/>
            <a:chOff x="7191542" y="1"/>
            <a:chExt cx="5000459" cy="1425992"/>
          </a:xfrm>
        </p:grpSpPr>
        <p:pic>
          <p:nvPicPr>
            <p:cNvPr id="979" name="Google Shape;979;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 name="Google Shape;980;p99"/>
            <p:cNvGrpSpPr/>
            <p:nvPr/>
          </p:nvGrpSpPr>
          <p:grpSpPr>
            <a:xfrm>
              <a:off x="7191542" y="1"/>
              <a:ext cx="5000459" cy="1425992"/>
              <a:chOff x="7186272" y="0"/>
              <a:chExt cx="5005729" cy="1427495"/>
            </a:xfrm>
          </p:grpSpPr>
          <p:sp>
            <p:nvSpPr>
              <p:cNvPr id="981" name="Google Shape;98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2" name="Google Shape;98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3" name="Google Shape;98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 name="Google Shape;98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 name="Google Shape;98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7" name="Google Shape;98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matchingName="1_TWO_OBJECTS_WITH_TEXT">
  <p:cSld name="1_TWO_OBJECTS_WITH_TEXT">
    <p:spTree>
      <p:nvGrpSpPr>
        <p:cNvPr id="1" name="Shape 15969"/>
        <p:cNvGrpSpPr/>
        <p:nvPr/>
      </p:nvGrpSpPr>
      <p:grpSpPr>
        <a:xfrm>
          <a:off x="0" y="0"/>
          <a:ext cx="0" cy="0"/>
          <a:chOff x="0" y="0"/>
          <a:chExt cx="0" cy="0"/>
        </a:xfrm>
      </p:grpSpPr>
      <p:grpSp>
        <p:nvGrpSpPr>
          <p:cNvPr id="15970" name="Google Shape;15970;p1360"/>
          <p:cNvGrpSpPr/>
          <p:nvPr/>
        </p:nvGrpSpPr>
        <p:grpSpPr>
          <a:xfrm>
            <a:off x="7191545" y="0"/>
            <a:ext cx="5000460" cy="1425988"/>
            <a:chOff x="7191545" y="0"/>
            <a:chExt cx="5000460" cy="1425988"/>
          </a:xfrm>
        </p:grpSpPr>
        <p:pic>
          <p:nvPicPr>
            <p:cNvPr id="15971" name="Google Shape;15971;p13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72" name="Google Shape;15972;p1360"/>
            <p:cNvGrpSpPr/>
            <p:nvPr/>
          </p:nvGrpSpPr>
          <p:grpSpPr>
            <a:xfrm>
              <a:off x="7191545" y="0"/>
              <a:ext cx="5000460" cy="1425988"/>
              <a:chOff x="7191545" y="0"/>
              <a:chExt cx="5000460" cy="1425988"/>
            </a:xfrm>
          </p:grpSpPr>
          <p:sp>
            <p:nvSpPr>
              <p:cNvPr id="15973" name="Google Shape;15973;p13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74" name="Google Shape;15974;p13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75" name="Google Shape;15975;p136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6" name="Google Shape;15976;p1360"/>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77" name="Google Shape;15977;p1360"/>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78" name="Google Shape;15978;p1360"/>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79" name="Google Shape;15979;p1360"/>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80" name="Google Shape;15980;p136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81" name="Google Shape;15981;p13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82" name="Google Shape;15982;p136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6125183"/>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matchingName="1_TITLE_ONLY">
  <p:cSld name="1_TITLE_ONLY">
    <p:spTree>
      <p:nvGrpSpPr>
        <p:cNvPr id="1" name="Shape 15983"/>
        <p:cNvGrpSpPr/>
        <p:nvPr/>
      </p:nvGrpSpPr>
      <p:grpSpPr>
        <a:xfrm>
          <a:off x="0" y="0"/>
          <a:ext cx="0" cy="0"/>
          <a:chOff x="0" y="0"/>
          <a:chExt cx="0" cy="0"/>
        </a:xfrm>
      </p:grpSpPr>
      <p:grpSp>
        <p:nvGrpSpPr>
          <p:cNvPr id="15984" name="Google Shape;15984;p1361"/>
          <p:cNvGrpSpPr/>
          <p:nvPr/>
        </p:nvGrpSpPr>
        <p:grpSpPr>
          <a:xfrm>
            <a:off x="7191545" y="0"/>
            <a:ext cx="5000460" cy="1425988"/>
            <a:chOff x="7191545" y="0"/>
            <a:chExt cx="5000460" cy="1425988"/>
          </a:xfrm>
        </p:grpSpPr>
        <p:pic>
          <p:nvPicPr>
            <p:cNvPr id="15985" name="Google Shape;15985;p13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86" name="Google Shape;15986;p1361"/>
            <p:cNvGrpSpPr/>
            <p:nvPr/>
          </p:nvGrpSpPr>
          <p:grpSpPr>
            <a:xfrm>
              <a:off x="7191545" y="0"/>
              <a:ext cx="5000460" cy="1425988"/>
              <a:chOff x="7191545" y="0"/>
              <a:chExt cx="5000460" cy="1425988"/>
            </a:xfrm>
          </p:grpSpPr>
          <p:sp>
            <p:nvSpPr>
              <p:cNvPr id="15987" name="Google Shape;15987;p13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88" name="Google Shape;15988;p13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89" name="Google Shape;15989;p136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90" name="Google Shape;15990;p136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91" name="Google Shape;15991;p13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92" name="Google Shape;15992;p136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63699714"/>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15993"/>
        <p:cNvGrpSpPr/>
        <p:nvPr/>
      </p:nvGrpSpPr>
      <p:grpSpPr>
        <a:xfrm>
          <a:off x="0" y="0"/>
          <a:ext cx="0" cy="0"/>
          <a:chOff x="0" y="0"/>
          <a:chExt cx="0" cy="0"/>
        </a:xfrm>
      </p:grpSpPr>
      <p:grpSp>
        <p:nvGrpSpPr>
          <p:cNvPr id="15994" name="Google Shape;15994;p1362"/>
          <p:cNvGrpSpPr/>
          <p:nvPr/>
        </p:nvGrpSpPr>
        <p:grpSpPr>
          <a:xfrm>
            <a:off x="0" y="0"/>
            <a:ext cx="12191996" cy="2148830"/>
            <a:chOff x="0" y="0"/>
            <a:chExt cx="12191996" cy="2148830"/>
          </a:xfrm>
        </p:grpSpPr>
        <p:sp>
          <p:nvSpPr>
            <p:cNvPr id="15995" name="Google Shape;15995;p136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96" name="Google Shape;15996;p136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997" name="Google Shape;15997;p1362"/>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98" name="Google Shape;15998;p1362"/>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5999" name="Google Shape;15999;p136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000" name="Google Shape;16000;p136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32718208"/>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6001"/>
        <p:cNvGrpSpPr/>
        <p:nvPr/>
      </p:nvGrpSpPr>
      <p:grpSpPr>
        <a:xfrm>
          <a:off x="0" y="0"/>
          <a:ext cx="0" cy="0"/>
          <a:chOff x="0" y="0"/>
          <a:chExt cx="0" cy="0"/>
        </a:xfrm>
      </p:grpSpPr>
      <p:sp>
        <p:nvSpPr>
          <p:cNvPr id="16002" name="Google Shape;16002;p136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03" name="Google Shape;16003;p13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04" name="Google Shape;16004;p136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05" name="Google Shape;16005;p1363"/>
          <p:cNvGrpSpPr/>
          <p:nvPr/>
        </p:nvGrpSpPr>
        <p:grpSpPr>
          <a:xfrm>
            <a:off x="7191545" y="0"/>
            <a:ext cx="5000460" cy="1425988"/>
            <a:chOff x="7191545" y="0"/>
            <a:chExt cx="5000460" cy="1425988"/>
          </a:xfrm>
        </p:grpSpPr>
        <p:pic>
          <p:nvPicPr>
            <p:cNvPr id="16006" name="Google Shape;16006;p13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07" name="Google Shape;16007;p1363"/>
            <p:cNvGrpSpPr/>
            <p:nvPr/>
          </p:nvGrpSpPr>
          <p:grpSpPr>
            <a:xfrm>
              <a:off x="7191545" y="0"/>
              <a:ext cx="5000460" cy="1425988"/>
              <a:chOff x="7191545" y="0"/>
              <a:chExt cx="5000460" cy="1425988"/>
            </a:xfrm>
          </p:grpSpPr>
          <p:sp>
            <p:nvSpPr>
              <p:cNvPr id="16008" name="Google Shape;16008;p13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09" name="Google Shape;16009;p13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754018246"/>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matchingName="1_Quotation 2">
  <p:cSld name="1_Quotation 2">
    <p:spTree>
      <p:nvGrpSpPr>
        <p:cNvPr id="1" name="Shape 16010"/>
        <p:cNvGrpSpPr/>
        <p:nvPr/>
      </p:nvGrpSpPr>
      <p:grpSpPr>
        <a:xfrm>
          <a:off x="0" y="0"/>
          <a:ext cx="0" cy="0"/>
          <a:chOff x="0" y="0"/>
          <a:chExt cx="0" cy="0"/>
        </a:xfrm>
      </p:grpSpPr>
      <p:sp>
        <p:nvSpPr>
          <p:cNvPr id="16011" name="Google Shape;16011;p136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12" name="Google Shape;16012;p13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13" name="Google Shape;16013;p1364"/>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14" name="Google Shape;16014;p136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15" name="Google Shape;16015;p13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16" name="Google Shape;16016;p136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7" name="Google Shape;16017;p1364"/>
          <p:cNvGrpSpPr/>
          <p:nvPr/>
        </p:nvGrpSpPr>
        <p:grpSpPr>
          <a:xfrm>
            <a:off x="7191545" y="0"/>
            <a:ext cx="5000460" cy="1425988"/>
            <a:chOff x="7191545" y="0"/>
            <a:chExt cx="5000460" cy="1425988"/>
          </a:xfrm>
        </p:grpSpPr>
        <p:pic>
          <p:nvPicPr>
            <p:cNvPr id="16018" name="Google Shape;16018;p13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19" name="Google Shape;16019;p1364"/>
            <p:cNvGrpSpPr/>
            <p:nvPr/>
          </p:nvGrpSpPr>
          <p:grpSpPr>
            <a:xfrm>
              <a:off x="7191545" y="0"/>
              <a:ext cx="5000460" cy="1425988"/>
              <a:chOff x="7191545" y="0"/>
              <a:chExt cx="5000460" cy="1425988"/>
            </a:xfrm>
          </p:grpSpPr>
          <p:sp>
            <p:nvSpPr>
              <p:cNvPr id="16020" name="Google Shape;16020;p13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21" name="Google Shape;16021;p13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22" name="Google Shape;16022;p1364"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793861768"/>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matchingName="Cover 3">
  <p:cSld name="Cover 3">
    <p:spTree>
      <p:nvGrpSpPr>
        <p:cNvPr id="1" name="Shape 16023"/>
        <p:cNvGrpSpPr/>
        <p:nvPr/>
      </p:nvGrpSpPr>
      <p:grpSpPr>
        <a:xfrm>
          <a:off x="0" y="0"/>
          <a:ext cx="0" cy="0"/>
          <a:chOff x="0" y="0"/>
          <a:chExt cx="0" cy="0"/>
        </a:xfrm>
      </p:grpSpPr>
      <p:sp>
        <p:nvSpPr>
          <p:cNvPr id="16024" name="Google Shape;16024;p136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25" name="Google Shape;16025;p136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26" name="Google Shape;16026;p136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027" name="Google Shape;16027;p1365"/>
          <p:cNvGrpSpPr/>
          <p:nvPr/>
        </p:nvGrpSpPr>
        <p:grpSpPr>
          <a:xfrm>
            <a:off x="0" y="5020350"/>
            <a:ext cx="12191996" cy="1837651"/>
            <a:chOff x="0" y="5020348"/>
            <a:chExt cx="12191996" cy="1837651"/>
          </a:xfrm>
        </p:grpSpPr>
        <p:sp>
          <p:nvSpPr>
            <p:cNvPr id="16028" name="Google Shape;16028;p136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29" name="Google Shape;16029;p136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030" name="Google Shape;16030;p136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955525458"/>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matchingName="Divider 4">
  <p:cSld name="Divider 4">
    <p:spTree>
      <p:nvGrpSpPr>
        <p:cNvPr id="1" name="Shape 16031"/>
        <p:cNvGrpSpPr/>
        <p:nvPr/>
      </p:nvGrpSpPr>
      <p:grpSpPr>
        <a:xfrm>
          <a:off x="0" y="0"/>
          <a:ext cx="0" cy="0"/>
          <a:chOff x="0" y="0"/>
          <a:chExt cx="0" cy="0"/>
        </a:xfrm>
      </p:grpSpPr>
      <p:grpSp>
        <p:nvGrpSpPr>
          <p:cNvPr id="16032" name="Google Shape;16032;p1366"/>
          <p:cNvGrpSpPr/>
          <p:nvPr/>
        </p:nvGrpSpPr>
        <p:grpSpPr>
          <a:xfrm>
            <a:off x="0" y="5020350"/>
            <a:ext cx="12191996" cy="1837651"/>
            <a:chOff x="0" y="5020348"/>
            <a:chExt cx="12191996" cy="1837651"/>
          </a:xfrm>
        </p:grpSpPr>
        <p:sp>
          <p:nvSpPr>
            <p:cNvPr id="16033" name="Google Shape;16033;p136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34" name="Google Shape;16034;p136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35" name="Google Shape;16035;p136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036" name="Google Shape;16036;p136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037" name="Google Shape;16037;p136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38" name="Google Shape;16038;p136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00435780"/>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matchingName="Photo Slide 3">
  <p:cSld name="Photo Slide 3">
    <p:spTree>
      <p:nvGrpSpPr>
        <p:cNvPr id="1" name="Shape 16039"/>
        <p:cNvGrpSpPr/>
        <p:nvPr/>
      </p:nvGrpSpPr>
      <p:grpSpPr>
        <a:xfrm>
          <a:off x="0" y="0"/>
          <a:ext cx="0" cy="0"/>
          <a:chOff x="0" y="0"/>
          <a:chExt cx="0" cy="0"/>
        </a:xfrm>
      </p:grpSpPr>
      <p:sp>
        <p:nvSpPr>
          <p:cNvPr id="16040" name="Google Shape;16040;p13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041" name="Google Shape;16041;p136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042" name="Google Shape;16042;p1367"/>
          <p:cNvGrpSpPr/>
          <p:nvPr/>
        </p:nvGrpSpPr>
        <p:grpSpPr>
          <a:xfrm>
            <a:off x="2" y="5379426"/>
            <a:ext cx="2807363" cy="753895"/>
            <a:chOff x="0" y="5379424"/>
            <a:chExt cx="2807363" cy="753895"/>
          </a:xfrm>
        </p:grpSpPr>
        <p:sp>
          <p:nvSpPr>
            <p:cNvPr id="16043" name="Google Shape;16043;p13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4" name="Google Shape;16044;p13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045" name="Google Shape;16045;p136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280291158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matchingName="Quotation 3">
  <p:cSld name="Quotation 3">
    <p:spTree>
      <p:nvGrpSpPr>
        <p:cNvPr id="1" name="Shape 16046"/>
        <p:cNvGrpSpPr/>
        <p:nvPr/>
      </p:nvGrpSpPr>
      <p:grpSpPr>
        <a:xfrm>
          <a:off x="0" y="0"/>
          <a:ext cx="0" cy="0"/>
          <a:chOff x="0" y="0"/>
          <a:chExt cx="0" cy="0"/>
        </a:xfrm>
      </p:grpSpPr>
      <p:sp>
        <p:nvSpPr>
          <p:cNvPr id="16047" name="Google Shape;16047;p13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8" name="Google Shape;16048;p13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9" name="Google Shape;16049;p136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50" name="Google Shape;16050;p136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51" name="Google Shape;16051;p13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52" name="Google Shape;16052;p136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53" name="Google Shape;16053;p1368"/>
          <p:cNvGrpSpPr/>
          <p:nvPr/>
        </p:nvGrpSpPr>
        <p:grpSpPr>
          <a:xfrm>
            <a:off x="7191545" y="0"/>
            <a:ext cx="5000460" cy="1425988"/>
            <a:chOff x="7191545" y="0"/>
            <a:chExt cx="5000460" cy="1425988"/>
          </a:xfrm>
        </p:grpSpPr>
        <p:pic>
          <p:nvPicPr>
            <p:cNvPr id="16054" name="Google Shape;16054;p13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55" name="Google Shape;16055;p1368"/>
            <p:cNvGrpSpPr/>
            <p:nvPr/>
          </p:nvGrpSpPr>
          <p:grpSpPr>
            <a:xfrm>
              <a:off x="7191545" y="0"/>
              <a:ext cx="5000460" cy="1425988"/>
              <a:chOff x="7191545" y="0"/>
              <a:chExt cx="5000460" cy="1425988"/>
            </a:xfrm>
          </p:grpSpPr>
          <p:sp>
            <p:nvSpPr>
              <p:cNvPr id="16056" name="Google Shape;16056;p13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57" name="Google Shape;16057;p13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58" name="Google Shape;16058;p136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002343714"/>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matchingName="1_Quotation 3">
  <p:cSld name="1_Quotation 3">
    <p:spTree>
      <p:nvGrpSpPr>
        <p:cNvPr id="1" name="Shape 16059"/>
        <p:cNvGrpSpPr/>
        <p:nvPr/>
      </p:nvGrpSpPr>
      <p:grpSpPr>
        <a:xfrm>
          <a:off x="0" y="0"/>
          <a:ext cx="0" cy="0"/>
          <a:chOff x="0" y="0"/>
          <a:chExt cx="0" cy="0"/>
        </a:xfrm>
      </p:grpSpPr>
      <p:sp>
        <p:nvSpPr>
          <p:cNvPr id="16060" name="Google Shape;16060;p136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61" name="Google Shape;16061;p136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62" name="Google Shape;16062;p136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63" name="Google Shape;16063;p136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64" name="Google Shape;16064;p13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65" name="Google Shape;16065;p136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66" name="Google Shape;16066;p1369"/>
          <p:cNvGrpSpPr/>
          <p:nvPr/>
        </p:nvGrpSpPr>
        <p:grpSpPr>
          <a:xfrm>
            <a:off x="7191545" y="0"/>
            <a:ext cx="5000460" cy="1425988"/>
            <a:chOff x="7191545" y="0"/>
            <a:chExt cx="5000460" cy="1425988"/>
          </a:xfrm>
        </p:grpSpPr>
        <p:pic>
          <p:nvPicPr>
            <p:cNvPr id="16067" name="Google Shape;16067;p13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68" name="Google Shape;16068;p1369"/>
            <p:cNvGrpSpPr/>
            <p:nvPr/>
          </p:nvGrpSpPr>
          <p:grpSpPr>
            <a:xfrm>
              <a:off x="7191545" y="0"/>
              <a:ext cx="5000460" cy="1425988"/>
              <a:chOff x="7191545" y="0"/>
              <a:chExt cx="5000460" cy="1425988"/>
            </a:xfrm>
          </p:grpSpPr>
          <p:sp>
            <p:nvSpPr>
              <p:cNvPr id="16069" name="Google Shape;16069;p13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0" name="Google Shape;16070;p13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71" name="Google Shape;16071;p136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5784734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91"/>
        <p:cNvGrpSpPr/>
        <p:nvPr/>
      </p:nvGrpSpPr>
      <p:grpSpPr>
        <a:xfrm>
          <a:off x="0" y="0"/>
          <a:ext cx="0" cy="0"/>
          <a:chOff x="0" y="0"/>
          <a:chExt cx="0" cy="0"/>
        </a:xfrm>
      </p:grpSpPr>
      <p:grpSp>
        <p:nvGrpSpPr>
          <p:cNvPr id="992" name="Google Shape;992;p100"/>
          <p:cNvGrpSpPr/>
          <p:nvPr/>
        </p:nvGrpSpPr>
        <p:grpSpPr>
          <a:xfrm>
            <a:off x="7191542" y="1"/>
            <a:ext cx="5000459" cy="1425992"/>
            <a:chOff x="7191542" y="1"/>
            <a:chExt cx="5000459" cy="1425992"/>
          </a:xfrm>
        </p:grpSpPr>
        <p:pic>
          <p:nvPicPr>
            <p:cNvPr id="993" name="Google Shape;993;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 name="Google Shape;994;p100"/>
            <p:cNvGrpSpPr/>
            <p:nvPr/>
          </p:nvGrpSpPr>
          <p:grpSpPr>
            <a:xfrm>
              <a:off x="7191542" y="1"/>
              <a:ext cx="5000459" cy="1425992"/>
              <a:chOff x="7186272" y="0"/>
              <a:chExt cx="5005729" cy="1427495"/>
            </a:xfrm>
          </p:grpSpPr>
          <p:sp>
            <p:nvSpPr>
              <p:cNvPr id="995" name="Google Shape;99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7" name="Google Shape;997;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99" name="Google Shape;999;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 name="Google Shape;1000;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matchingName="Two Content 3">
  <p:cSld name="Two Content 3">
    <p:spTree>
      <p:nvGrpSpPr>
        <p:cNvPr id="1" name="Shape 16072"/>
        <p:cNvGrpSpPr/>
        <p:nvPr/>
      </p:nvGrpSpPr>
      <p:grpSpPr>
        <a:xfrm>
          <a:off x="0" y="0"/>
          <a:ext cx="0" cy="0"/>
          <a:chOff x="0" y="0"/>
          <a:chExt cx="0" cy="0"/>
        </a:xfrm>
      </p:grpSpPr>
      <p:sp>
        <p:nvSpPr>
          <p:cNvPr id="16073" name="Google Shape;16073;p137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74" name="Google Shape;16074;p137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075" name="Google Shape;16075;p1370"/>
          <p:cNvGrpSpPr/>
          <p:nvPr/>
        </p:nvGrpSpPr>
        <p:grpSpPr>
          <a:xfrm>
            <a:off x="7191545" y="0"/>
            <a:ext cx="5000460" cy="1425988"/>
            <a:chOff x="7191545" y="0"/>
            <a:chExt cx="5000460" cy="1425988"/>
          </a:xfrm>
        </p:grpSpPr>
        <p:pic>
          <p:nvPicPr>
            <p:cNvPr id="16076" name="Google Shape;16076;p13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77" name="Google Shape;16077;p1370"/>
            <p:cNvGrpSpPr/>
            <p:nvPr/>
          </p:nvGrpSpPr>
          <p:grpSpPr>
            <a:xfrm>
              <a:off x="7191545" y="0"/>
              <a:ext cx="5000460" cy="1425988"/>
              <a:chOff x="7191545" y="0"/>
              <a:chExt cx="5000460" cy="1425988"/>
            </a:xfrm>
          </p:grpSpPr>
          <p:sp>
            <p:nvSpPr>
              <p:cNvPr id="16078" name="Google Shape;16078;p13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9" name="Google Shape;16079;p13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80" name="Google Shape;16080;p137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81" name="Google Shape;16081;p137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82" name="Google Shape;16082;p13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83" name="Google Shape;16083;p137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39408781"/>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6084"/>
        <p:cNvGrpSpPr/>
        <p:nvPr/>
      </p:nvGrpSpPr>
      <p:grpSpPr>
        <a:xfrm>
          <a:off x="0" y="0"/>
          <a:ext cx="0" cy="0"/>
          <a:chOff x="0" y="0"/>
          <a:chExt cx="0" cy="0"/>
        </a:xfrm>
      </p:grpSpPr>
      <p:grpSp>
        <p:nvGrpSpPr>
          <p:cNvPr id="16085" name="Google Shape;16085;p1371"/>
          <p:cNvGrpSpPr/>
          <p:nvPr/>
        </p:nvGrpSpPr>
        <p:grpSpPr>
          <a:xfrm>
            <a:off x="7191545" y="0"/>
            <a:ext cx="5000460" cy="1425988"/>
            <a:chOff x="7191545" y="0"/>
            <a:chExt cx="5000460" cy="1425988"/>
          </a:xfrm>
        </p:grpSpPr>
        <p:pic>
          <p:nvPicPr>
            <p:cNvPr id="16086" name="Google Shape;16086;p13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87" name="Google Shape;16087;p1371"/>
            <p:cNvGrpSpPr/>
            <p:nvPr/>
          </p:nvGrpSpPr>
          <p:grpSpPr>
            <a:xfrm>
              <a:off x="7191545" y="0"/>
              <a:ext cx="5000460" cy="1425988"/>
              <a:chOff x="7191545" y="0"/>
              <a:chExt cx="5000460" cy="1425988"/>
            </a:xfrm>
          </p:grpSpPr>
          <p:sp>
            <p:nvSpPr>
              <p:cNvPr id="16088" name="Google Shape;16088;p13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89" name="Google Shape;16089;p13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90" name="Google Shape;16090;p137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91" name="Google Shape;16091;p13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2" name="Google Shape;16092;p137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3" name="Google Shape;16093;p137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4" name="Google Shape;16094;p137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095" name="Google Shape;16095;p137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96" name="Google Shape;16096;p13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97" name="Google Shape;16097;p137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53795933"/>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098"/>
        <p:cNvGrpSpPr/>
        <p:nvPr/>
      </p:nvGrpSpPr>
      <p:grpSpPr>
        <a:xfrm>
          <a:off x="0" y="0"/>
          <a:ext cx="0" cy="0"/>
          <a:chOff x="0" y="0"/>
          <a:chExt cx="0" cy="0"/>
        </a:xfrm>
      </p:grpSpPr>
      <p:grpSp>
        <p:nvGrpSpPr>
          <p:cNvPr id="16099" name="Google Shape;16099;p1372"/>
          <p:cNvGrpSpPr/>
          <p:nvPr/>
        </p:nvGrpSpPr>
        <p:grpSpPr>
          <a:xfrm>
            <a:off x="7191545" y="0"/>
            <a:ext cx="5000460" cy="1425988"/>
            <a:chOff x="7191545" y="0"/>
            <a:chExt cx="5000460" cy="1425988"/>
          </a:xfrm>
        </p:grpSpPr>
        <p:pic>
          <p:nvPicPr>
            <p:cNvPr id="16100" name="Google Shape;16100;p13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01" name="Google Shape;16101;p1372"/>
            <p:cNvGrpSpPr/>
            <p:nvPr/>
          </p:nvGrpSpPr>
          <p:grpSpPr>
            <a:xfrm>
              <a:off x="7191545" y="0"/>
              <a:ext cx="5000460" cy="1425988"/>
              <a:chOff x="7191545" y="0"/>
              <a:chExt cx="5000460" cy="1425988"/>
            </a:xfrm>
          </p:grpSpPr>
          <p:sp>
            <p:nvSpPr>
              <p:cNvPr id="16102" name="Google Shape;16102;p13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03" name="Google Shape;16103;p13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104" name="Google Shape;16104;p137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05" name="Google Shape;16105;p137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06" name="Google Shape;16106;p13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07" name="Google Shape;16107;p137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69534916"/>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matchingName="End 2">
  <p:cSld name="End 2">
    <p:spTree>
      <p:nvGrpSpPr>
        <p:cNvPr id="1" name="Shape 16108"/>
        <p:cNvGrpSpPr/>
        <p:nvPr/>
      </p:nvGrpSpPr>
      <p:grpSpPr>
        <a:xfrm>
          <a:off x="0" y="0"/>
          <a:ext cx="0" cy="0"/>
          <a:chOff x="0" y="0"/>
          <a:chExt cx="0" cy="0"/>
        </a:xfrm>
      </p:grpSpPr>
      <p:grpSp>
        <p:nvGrpSpPr>
          <p:cNvPr id="16109" name="Google Shape;16109;p1373"/>
          <p:cNvGrpSpPr/>
          <p:nvPr/>
        </p:nvGrpSpPr>
        <p:grpSpPr>
          <a:xfrm>
            <a:off x="0" y="0"/>
            <a:ext cx="12191996" cy="2148830"/>
            <a:chOff x="0" y="0"/>
            <a:chExt cx="12191996" cy="2148830"/>
          </a:xfrm>
        </p:grpSpPr>
        <p:sp>
          <p:nvSpPr>
            <p:cNvPr id="16110" name="Google Shape;16110;p13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11" name="Google Shape;16111;p13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112" name="Google Shape;16112;p137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3" name="Google Shape;16113;p137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14" name="Google Shape;16114;p13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115" name="Google Shape;16115;p13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778687676"/>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6116"/>
        <p:cNvGrpSpPr/>
        <p:nvPr/>
      </p:nvGrpSpPr>
      <p:grpSpPr>
        <a:xfrm>
          <a:off x="0" y="0"/>
          <a:ext cx="0" cy="0"/>
          <a:chOff x="0" y="0"/>
          <a:chExt cx="0" cy="0"/>
        </a:xfrm>
      </p:grpSpPr>
      <p:sp>
        <p:nvSpPr>
          <p:cNvPr id="16117" name="Google Shape;16117;p137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8" name="Google Shape;16118;p137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19" name="Google Shape;16119;p1374"/>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20" name="Google Shape;16120;p137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21" name="Google Shape;16121;p13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22" name="Google Shape;16122;p137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23" name="Google Shape;16123;p1374"/>
          <p:cNvGrpSpPr/>
          <p:nvPr/>
        </p:nvGrpSpPr>
        <p:grpSpPr>
          <a:xfrm>
            <a:off x="7191545" y="0"/>
            <a:ext cx="5000460" cy="1425988"/>
            <a:chOff x="7191545" y="0"/>
            <a:chExt cx="5000460" cy="1425988"/>
          </a:xfrm>
        </p:grpSpPr>
        <p:pic>
          <p:nvPicPr>
            <p:cNvPr id="16124" name="Google Shape;16124;p13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25" name="Google Shape;16125;p1374"/>
            <p:cNvGrpSpPr/>
            <p:nvPr/>
          </p:nvGrpSpPr>
          <p:grpSpPr>
            <a:xfrm>
              <a:off x="7191545" y="0"/>
              <a:ext cx="5000460" cy="1425988"/>
              <a:chOff x="7191545" y="0"/>
              <a:chExt cx="5000460" cy="1425988"/>
            </a:xfrm>
          </p:grpSpPr>
          <p:sp>
            <p:nvSpPr>
              <p:cNvPr id="16126" name="Google Shape;16126;p13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27" name="Google Shape;16127;p13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28" name="Google Shape;16128;p1374"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62179513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6129"/>
        <p:cNvGrpSpPr/>
        <p:nvPr/>
      </p:nvGrpSpPr>
      <p:grpSpPr>
        <a:xfrm>
          <a:off x="0" y="0"/>
          <a:ext cx="0" cy="0"/>
          <a:chOff x="0" y="0"/>
          <a:chExt cx="0" cy="0"/>
        </a:xfrm>
      </p:grpSpPr>
      <p:sp>
        <p:nvSpPr>
          <p:cNvPr id="16130" name="Google Shape;16130;p13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31" name="Google Shape;16131;p13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32" name="Google Shape;16132;p137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33" name="Google Shape;16133;p137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34" name="Google Shape;16134;p13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35" name="Google Shape;16135;p137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36" name="Google Shape;16136;p1375"/>
          <p:cNvGrpSpPr/>
          <p:nvPr/>
        </p:nvGrpSpPr>
        <p:grpSpPr>
          <a:xfrm>
            <a:off x="7191545" y="0"/>
            <a:ext cx="5000460" cy="1425988"/>
            <a:chOff x="7191545" y="0"/>
            <a:chExt cx="5000460" cy="1425988"/>
          </a:xfrm>
        </p:grpSpPr>
        <p:pic>
          <p:nvPicPr>
            <p:cNvPr id="16137" name="Google Shape;16137;p13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38" name="Google Shape;16138;p1375"/>
            <p:cNvGrpSpPr/>
            <p:nvPr/>
          </p:nvGrpSpPr>
          <p:grpSpPr>
            <a:xfrm>
              <a:off x="7191545" y="0"/>
              <a:ext cx="5000460" cy="1425988"/>
              <a:chOff x="7191545" y="0"/>
              <a:chExt cx="5000460" cy="1425988"/>
            </a:xfrm>
          </p:grpSpPr>
          <p:sp>
            <p:nvSpPr>
              <p:cNvPr id="16139" name="Google Shape;16139;p13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40" name="Google Shape;16140;p13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41" name="Google Shape;16141;p137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462572927"/>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142"/>
        <p:cNvGrpSpPr/>
        <p:nvPr/>
      </p:nvGrpSpPr>
      <p:grpSpPr>
        <a:xfrm>
          <a:off x="0" y="0"/>
          <a:ext cx="0" cy="0"/>
          <a:chOff x="0" y="0"/>
          <a:chExt cx="0" cy="0"/>
        </a:xfrm>
      </p:grpSpPr>
      <p:sp>
        <p:nvSpPr>
          <p:cNvPr id="16143" name="Google Shape;16143;p137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44" name="Google Shape;16144;p13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5" name="Google Shape;16145;p137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46" name="Google Shape;16146;p137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47" name="Google Shape;16147;p13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48" name="Google Shape;16148;p137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49" name="Google Shape;16149;p1376"/>
          <p:cNvGrpSpPr/>
          <p:nvPr/>
        </p:nvGrpSpPr>
        <p:grpSpPr>
          <a:xfrm>
            <a:off x="7191545" y="0"/>
            <a:ext cx="5000460" cy="1425988"/>
            <a:chOff x="7191545" y="0"/>
            <a:chExt cx="5000460" cy="1425988"/>
          </a:xfrm>
        </p:grpSpPr>
        <p:pic>
          <p:nvPicPr>
            <p:cNvPr id="16150" name="Google Shape;16150;p13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51" name="Google Shape;16151;p1376"/>
            <p:cNvGrpSpPr/>
            <p:nvPr/>
          </p:nvGrpSpPr>
          <p:grpSpPr>
            <a:xfrm>
              <a:off x="7191545" y="0"/>
              <a:ext cx="5000460" cy="1425988"/>
              <a:chOff x="7191545" y="0"/>
              <a:chExt cx="5000460" cy="1425988"/>
            </a:xfrm>
          </p:grpSpPr>
          <p:sp>
            <p:nvSpPr>
              <p:cNvPr id="16152" name="Google Shape;16152;p13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53" name="Google Shape;16153;p13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54" name="Google Shape;16154;p137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980557411"/>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16155"/>
        <p:cNvGrpSpPr/>
        <p:nvPr/>
      </p:nvGrpSpPr>
      <p:grpSpPr>
        <a:xfrm>
          <a:off x="0" y="0"/>
          <a:ext cx="0" cy="0"/>
          <a:chOff x="0" y="0"/>
          <a:chExt cx="0" cy="0"/>
        </a:xfrm>
      </p:grpSpPr>
      <p:sp>
        <p:nvSpPr>
          <p:cNvPr id="16156" name="Google Shape;16156;p13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57" name="Google Shape;16157;p13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58" name="Google Shape;16158;p137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59" name="Google Shape;16159;p137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60" name="Google Shape;16160;p13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61" name="Google Shape;16161;p137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62" name="Google Shape;16162;p1377"/>
          <p:cNvGrpSpPr/>
          <p:nvPr/>
        </p:nvGrpSpPr>
        <p:grpSpPr>
          <a:xfrm>
            <a:off x="7191545" y="0"/>
            <a:ext cx="5000460" cy="1425988"/>
            <a:chOff x="7191545" y="0"/>
            <a:chExt cx="5000460" cy="1425988"/>
          </a:xfrm>
        </p:grpSpPr>
        <p:pic>
          <p:nvPicPr>
            <p:cNvPr id="16163" name="Google Shape;16163;p13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64" name="Google Shape;16164;p1377"/>
            <p:cNvGrpSpPr/>
            <p:nvPr/>
          </p:nvGrpSpPr>
          <p:grpSpPr>
            <a:xfrm>
              <a:off x="7191545" y="0"/>
              <a:ext cx="5000460" cy="1425988"/>
              <a:chOff x="7191545" y="0"/>
              <a:chExt cx="5000460" cy="1425988"/>
            </a:xfrm>
          </p:grpSpPr>
          <p:sp>
            <p:nvSpPr>
              <p:cNvPr id="16165" name="Google Shape;16165;p13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66" name="Google Shape;16166;p13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67" name="Google Shape;16167;p137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287184721"/>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matchingName="Cover 4">
  <p:cSld name="Cover 4">
    <p:spTree>
      <p:nvGrpSpPr>
        <p:cNvPr id="1" name="Shape 16168"/>
        <p:cNvGrpSpPr/>
        <p:nvPr/>
      </p:nvGrpSpPr>
      <p:grpSpPr>
        <a:xfrm>
          <a:off x="0" y="0"/>
          <a:ext cx="0" cy="0"/>
          <a:chOff x="0" y="0"/>
          <a:chExt cx="0" cy="0"/>
        </a:xfrm>
      </p:grpSpPr>
      <p:sp>
        <p:nvSpPr>
          <p:cNvPr id="16169" name="Google Shape;16169;p1378"/>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70" name="Google Shape;16170;p137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71" name="Google Shape;16171;p137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172" name="Google Shape;16172;p1378"/>
          <p:cNvGrpSpPr/>
          <p:nvPr/>
        </p:nvGrpSpPr>
        <p:grpSpPr>
          <a:xfrm>
            <a:off x="0" y="5020350"/>
            <a:ext cx="12191996" cy="1837651"/>
            <a:chOff x="0" y="5020348"/>
            <a:chExt cx="12191996" cy="1837651"/>
          </a:xfrm>
        </p:grpSpPr>
        <p:sp>
          <p:nvSpPr>
            <p:cNvPr id="16173" name="Google Shape;16173;p137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74" name="Google Shape;16174;p137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175" name="Google Shape;16175;p137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62918814"/>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matchingName="Divider 5">
  <p:cSld name="Divider 5">
    <p:spTree>
      <p:nvGrpSpPr>
        <p:cNvPr id="1" name="Shape 16176"/>
        <p:cNvGrpSpPr/>
        <p:nvPr/>
      </p:nvGrpSpPr>
      <p:grpSpPr>
        <a:xfrm>
          <a:off x="0" y="0"/>
          <a:ext cx="0" cy="0"/>
          <a:chOff x="0" y="0"/>
          <a:chExt cx="0" cy="0"/>
        </a:xfrm>
      </p:grpSpPr>
      <p:grpSp>
        <p:nvGrpSpPr>
          <p:cNvPr id="16177" name="Google Shape;16177;p1379"/>
          <p:cNvGrpSpPr/>
          <p:nvPr/>
        </p:nvGrpSpPr>
        <p:grpSpPr>
          <a:xfrm>
            <a:off x="0" y="5020350"/>
            <a:ext cx="12191996" cy="1837651"/>
            <a:chOff x="0" y="5020348"/>
            <a:chExt cx="12191996" cy="1837651"/>
          </a:xfrm>
        </p:grpSpPr>
        <p:sp>
          <p:nvSpPr>
            <p:cNvPr id="16178" name="Google Shape;16178;p137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79" name="Google Shape;16179;p137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80" name="Google Shape;16180;p137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181" name="Google Shape;16181;p137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182" name="Google Shape;16182;p1379"/>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83" name="Google Shape;16183;p137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677604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01"/>
        <p:cNvGrpSpPr/>
        <p:nvPr/>
      </p:nvGrpSpPr>
      <p:grpSpPr>
        <a:xfrm>
          <a:off x="0" y="0"/>
          <a:ext cx="0" cy="0"/>
          <a:chOff x="0" y="0"/>
          <a:chExt cx="0" cy="0"/>
        </a:xfrm>
      </p:grpSpPr>
      <p:grpSp>
        <p:nvGrpSpPr>
          <p:cNvPr id="1002" name="Google Shape;1002;p101"/>
          <p:cNvGrpSpPr/>
          <p:nvPr/>
        </p:nvGrpSpPr>
        <p:grpSpPr>
          <a:xfrm>
            <a:off x="0" y="0"/>
            <a:ext cx="12192000" cy="2148830"/>
            <a:chOff x="0" y="0"/>
            <a:chExt cx="12192000" cy="2148830"/>
          </a:xfrm>
        </p:grpSpPr>
        <p:sp>
          <p:nvSpPr>
            <p:cNvPr id="1003" name="Google Shape;1003;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4" name="Google Shape;1004;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05" name="Google Shape;1005;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8" name="Google Shape;1008;p10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09" name="Google Shape;1009;p10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matchingName="Photo Slide 4">
  <p:cSld name="Photo Slide 4">
    <p:spTree>
      <p:nvGrpSpPr>
        <p:cNvPr id="1" name="Shape 16184"/>
        <p:cNvGrpSpPr/>
        <p:nvPr/>
      </p:nvGrpSpPr>
      <p:grpSpPr>
        <a:xfrm>
          <a:off x="0" y="0"/>
          <a:ext cx="0" cy="0"/>
          <a:chOff x="0" y="0"/>
          <a:chExt cx="0" cy="0"/>
        </a:xfrm>
      </p:grpSpPr>
      <p:sp>
        <p:nvSpPr>
          <p:cNvPr id="16185" name="Google Shape;16185;p138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186" name="Google Shape;16186;p1380"/>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187" name="Google Shape;16187;p1380"/>
          <p:cNvGrpSpPr/>
          <p:nvPr/>
        </p:nvGrpSpPr>
        <p:grpSpPr>
          <a:xfrm>
            <a:off x="2" y="5379426"/>
            <a:ext cx="2807363" cy="753895"/>
            <a:chOff x="0" y="5379424"/>
            <a:chExt cx="2807363" cy="753895"/>
          </a:xfrm>
        </p:grpSpPr>
        <p:sp>
          <p:nvSpPr>
            <p:cNvPr id="16188" name="Google Shape;16188;p138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89" name="Google Shape;16189;p138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190" name="Google Shape;16190;p1380"/>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561163209"/>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matchingName="Quotation 4">
  <p:cSld name="Quotation 4">
    <p:spTree>
      <p:nvGrpSpPr>
        <p:cNvPr id="1" name="Shape 16191"/>
        <p:cNvGrpSpPr/>
        <p:nvPr/>
      </p:nvGrpSpPr>
      <p:grpSpPr>
        <a:xfrm>
          <a:off x="0" y="0"/>
          <a:ext cx="0" cy="0"/>
          <a:chOff x="0" y="0"/>
          <a:chExt cx="0" cy="0"/>
        </a:xfrm>
      </p:grpSpPr>
      <p:sp>
        <p:nvSpPr>
          <p:cNvPr id="16192" name="Google Shape;16192;p138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93" name="Google Shape;16193;p138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94" name="Google Shape;16194;p1381"/>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195" name="Google Shape;16195;p138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96" name="Google Shape;16196;p1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97" name="Google Shape;16197;p138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98" name="Google Shape;16198;p1381"/>
          <p:cNvGrpSpPr/>
          <p:nvPr/>
        </p:nvGrpSpPr>
        <p:grpSpPr>
          <a:xfrm>
            <a:off x="7191545" y="0"/>
            <a:ext cx="5000460" cy="1425988"/>
            <a:chOff x="7191545" y="0"/>
            <a:chExt cx="5000460" cy="1425988"/>
          </a:xfrm>
        </p:grpSpPr>
        <p:pic>
          <p:nvPicPr>
            <p:cNvPr id="16199" name="Google Shape;16199;p1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00" name="Google Shape;16200;p1381"/>
            <p:cNvGrpSpPr/>
            <p:nvPr/>
          </p:nvGrpSpPr>
          <p:grpSpPr>
            <a:xfrm>
              <a:off x="7191545" y="0"/>
              <a:ext cx="5000460" cy="1425988"/>
              <a:chOff x="7191545" y="0"/>
              <a:chExt cx="5000460" cy="1425988"/>
            </a:xfrm>
          </p:grpSpPr>
          <p:sp>
            <p:nvSpPr>
              <p:cNvPr id="16201" name="Google Shape;16201;p1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02" name="Google Shape;16202;p1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03" name="Google Shape;16203;p1381"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662050525"/>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1_Quotation 4">
  <p:cSld name="1_Quotation 4">
    <p:spTree>
      <p:nvGrpSpPr>
        <p:cNvPr id="1" name="Shape 16204"/>
        <p:cNvGrpSpPr/>
        <p:nvPr/>
      </p:nvGrpSpPr>
      <p:grpSpPr>
        <a:xfrm>
          <a:off x="0" y="0"/>
          <a:ext cx="0" cy="0"/>
          <a:chOff x="0" y="0"/>
          <a:chExt cx="0" cy="0"/>
        </a:xfrm>
      </p:grpSpPr>
      <p:sp>
        <p:nvSpPr>
          <p:cNvPr id="16205" name="Google Shape;16205;p13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06" name="Google Shape;16206;p13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7" name="Google Shape;16207;p138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08" name="Google Shape;16208;p138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09" name="Google Shape;16209;p13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10" name="Google Shape;16210;p138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11" name="Google Shape;16211;p1382"/>
          <p:cNvGrpSpPr/>
          <p:nvPr/>
        </p:nvGrpSpPr>
        <p:grpSpPr>
          <a:xfrm>
            <a:off x="7191545" y="0"/>
            <a:ext cx="5000460" cy="1425988"/>
            <a:chOff x="7191545" y="0"/>
            <a:chExt cx="5000460" cy="1425988"/>
          </a:xfrm>
        </p:grpSpPr>
        <p:pic>
          <p:nvPicPr>
            <p:cNvPr id="16212" name="Google Shape;16212;p13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13" name="Google Shape;16213;p1382"/>
            <p:cNvGrpSpPr/>
            <p:nvPr/>
          </p:nvGrpSpPr>
          <p:grpSpPr>
            <a:xfrm>
              <a:off x="7191545" y="0"/>
              <a:ext cx="5000460" cy="1425988"/>
              <a:chOff x="7191545" y="0"/>
              <a:chExt cx="5000460" cy="1425988"/>
            </a:xfrm>
          </p:grpSpPr>
          <p:sp>
            <p:nvSpPr>
              <p:cNvPr id="16214" name="Google Shape;16214;p13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15" name="Google Shape;16215;p13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16" name="Google Shape;16216;p138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73060810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Comparison 2">
  <p:cSld name="Comparison 2">
    <p:spTree>
      <p:nvGrpSpPr>
        <p:cNvPr id="1" name="Shape 16217"/>
        <p:cNvGrpSpPr/>
        <p:nvPr/>
      </p:nvGrpSpPr>
      <p:grpSpPr>
        <a:xfrm>
          <a:off x="0" y="0"/>
          <a:ext cx="0" cy="0"/>
          <a:chOff x="0" y="0"/>
          <a:chExt cx="0" cy="0"/>
        </a:xfrm>
      </p:grpSpPr>
      <p:grpSp>
        <p:nvGrpSpPr>
          <p:cNvPr id="16218" name="Google Shape;16218;p1383"/>
          <p:cNvGrpSpPr/>
          <p:nvPr/>
        </p:nvGrpSpPr>
        <p:grpSpPr>
          <a:xfrm>
            <a:off x="7191545" y="0"/>
            <a:ext cx="5000460" cy="1425988"/>
            <a:chOff x="7191545" y="0"/>
            <a:chExt cx="5000460" cy="1425988"/>
          </a:xfrm>
        </p:grpSpPr>
        <p:pic>
          <p:nvPicPr>
            <p:cNvPr id="16219" name="Google Shape;16219;p1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20" name="Google Shape;16220;p1383"/>
            <p:cNvGrpSpPr/>
            <p:nvPr/>
          </p:nvGrpSpPr>
          <p:grpSpPr>
            <a:xfrm>
              <a:off x="7191545" y="0"/>
              <a:ext cx="5000460" cy="1425988"/>
              <a:chOff x="7191545" y="0"/>
              <a:chExt cx="5000460" cy="1425988"/>
            </a:xfrm>
          </p:grpSpPr>
          <p:sp>
            <p:nvSpPr>
              <p:cNvPr id="16221" name="Google Shape;16221;p1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22" name="Google Shape;16222;p1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23" name="Google Shape;16223;p138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24" name="Google Shape;16224;p138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5" name="Google Shape;16225;p1383"/>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6" name="Google Shape;16226;p1383"/>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7" name="Google Shape;16227;p1383"/>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28" name="Google Shape;16228;p138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29" name="Google Shape;16229;p1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30" name="Google Shape;16230;p138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52864011"/>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16231"/>
        <p:cNvGrpSpPr/>
        <p:nvPr/>
      </p:nvGrpSpPr>
      <p:grpSpPr>
        <a:xfrm>
          <a:off x="0" y="0"/>
          <a:ext cx="0" cy="0"/>
          <a:chOff x="0" y="0"/>
          <a:chExt cx="0" cy="0"/>
        </a:xfrm>
      </p:grpSpPr>
      <p:grpSp>
        <p:nvGrpSpPr>
          <p:cNvPr id="16232" name="Google Shape;16232;p1384"/>
          <p:cNvGrpSpPr/>
          <p:nvPr/>
        </p:nvGrpSpPr>
        <p:grpSpPr>
          <a:xfrm>
            <a:off x="7191545" y="0"/>
            <a:ext cx="5000460" cy="1425988"/>
            <a:chOff x="7191545" y="0"/>
            <a:chExt cx="5000460" cy="1425988"/>
          </a:xfrm>
        </p:grpSpPr>
        <p:pic>
          <p:nvPicPr>
            <p:cNvPr id="16233" name="Google Shape;16233;p13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34" name="Google Shape;16234;p1384"/>
            <p:cNvGrpSpPr/>
            <p:nvPr/>
          </p:nvGrpSpPr>
          <p:grpSpPr>
            <a:xfrm>
              <a:off x="7191545" y="0"/>
              <a:ext cx="5000460" cy="1425988"/>
              <a:chOff x="7191545" y="0"/>
              <a:chExt cx="5000460" cy="1425988"/>
            </a:xfrm>
          </p:grpSpPr>
          <p:sp>
            <p:nvSpPr>
              <p:cNvPr id="16235" name="Google Shape;16235;p13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36" name="Google Shape;16236;p13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37" name="Google Shape;16237;p138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38" name="Google Shape;16238;p138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39" name="Google Shape;16239;p13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40" name="Google Shape;16240;p138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70819157"/>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matchingName="Cover 5">
  <p:cSld name="Cover 5">
    <p:spTree>
      <p:nvGrpSpPr>
        <p:cNvPr id="1" name="Shape 16241"/>
        <p:cNvGrpSpPr/>
        <p:nvPr/>
      </p:nvGrpSpPr>
      <p:grpSpPr>
        <a:xfrm>
          <a:off x="0" y="0"/>
          <a:ext cx="0" cy="0"/>
          <a:chOff x="0" y="0"/>
          <a:chExt cx="0" cy="0"/>
        </a:xfrm>
      </p:grpSpPr>
      <p:sp>
        <p:nvSpPr>
          <p:cNvPr id="16242" name="Google Shape;16242;p138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43" name="Google Shape;16243;p138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44" name="Google Shape;16244;p138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245" name="Google Shape;16245;p1385"/>
          <p:cNvGrpSpPr/>
          <p:nvPr/>
        </p:nvGrpSpPr>
        <p:grpSpPr>
          <a:xfrm>
            <a:off x="0" y="5020350"/>
            <a:ext cx="12191996" cy="1837651"/>
            <a:chOff x="0" y="5020348"/>
            <a:chExt cx="12191996" cy="1837651"/>
          </a:xfrm>
        </p:grpSpPr>
        <p:sp>
          <p:nvSpPr>
            <p:cNvPr id="16246" name="Google Shape;16246;p13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47" name="Google Shape;16247;p13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248" name="Google Shape;16248;p13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376116579"/>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matchingName="Divider 6">
  <p:cSld name="Divider 6">
    <p:spTree>
      <p:nvGrpSpPr>
        <p:cNvPr id="1" name="Shape 16249"/>
        <p:cNvGrpSpPr/>
        <p:nvPr/>
      </p:nvGrpSpPr>
      <p:grpSpPr>
        <a:xfrm>
          <a:off x="0" y="0"/>
          <a:ext cx="0" cy="0"/>
          <a:chOff x="0" y="0"/>
          <a:chExt cx="0" cy="0"/>
        </a:xfrm>
      </p:grpSpPr>
      <p:grpSp>
        <p:nvGrpSpPr>
          <p:cNvPr id="16250" name="Google Shape;16250;p1386"/>
          <p:cNvGrpSpPr/>
          <p:nvPr/>
        </p:nvGrpSpPr>
        <p:grpSpPr>
          <a:xfrm>
            <a:off x="0" y="5020350"/>
            <a:ext cx="12191996" cy="1837651"/>
            <a:chOff x="0" y="5020348"/>
            <a:chExt cx="12191996" cy="1837651"/>
          </a:xfrm>
        </p:grpSpPr>
        <p:sp>
          <p:nvSpPr>
            <p:cNvPr id="16251" name="Google Shape;16251;p138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52" name="Google Shape;16252;p138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53" name="Google Shape;16253;p138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254" name="Google Shape;16254;p138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255" name="Google Shape;16255;p138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56" name="Google Shape;16256;p138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26426531"/>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matchingName="Photo Slide 5">
  <p:cSld name="Photo Slide 5">
    <p:spTree>
      <p:nvGrpSpPr>
        <p:cNvPr id="1" name="Shape 16257"/>
        <p:cNvGrpSpPr/>
        <p:nvPr/>
      </p:nvGrpSpPr>
      <p:grpSpPr>
        <a:xfrm>
          <a:off x="0" y="0"/>
          <a:ext cx="0" cy="0"/>
          <a:chOff x="0" y="0"/>
          <a:chExt cx="0" cy="0"/>
        </a:xfrm>
      </p:grpSpPr>
      <p:sp>
        <p:nvSpPr>
          <p:cNvPr id="16258" name="Google Shape;16258;p138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259" name="Google Shape;16259;p138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260" name="Google Shape;16260;p1387"/>
          <p:cNvGrpSpPr/>
          <p:nvPr/>
        </p:nvGrpSpPr>
        <p:grpSpPr>
          <a:xfrm>
            <a:off x="2" y="5379426"/>
            <a:ext cx="2807363" cy="753895"/>
            <a:chOff x="0" y="5379424"/>
            <a:chExt cx="2807363" cy="753895"/>
          </a:xfrm>
        </p:grpSpPr>
        <p:sp>
          <p:nvSpPr>
            <p:cNvPr id="16261" name="Google Shape;16261;p138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2" name="Google Shape;16262;p138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263" name="Google Shape;16263;p138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716751661"/>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Quotation 5">
  <p:cSld name="Quotation 5">
    <p:spTree>
      <p:nvGrpSpPr>
        <p:cNvPr id="1" name="Shape 16264"/>
        <p:cNvGrpSpPr/>
        <p:nvPr/>
      </p:nvGrpSpPr>
      <p:grpSpPr>
        <a:xfrm>
          <a:off x="0" y="0"/>
          <a:ext cx="0" cy="0"/>
          <a:chOff x="0" y="0"/>
          <a:chExt cx="0" cy="0"/>
        </a:xfrm>
      </p:grpSpPr>
      <p:sp>
        <p:nvSpPr>
          <p:cNvPr id="16265" name="Google Shape;16265;p138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6" name="Google Shape;16266;p13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67" name="Google Shape;16267;p138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68" name="Google Shape;16268;p138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69" name="Google Shape;16269;p13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70" name="Google Shape;16270;p138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71" name="Google Shape;16271;p1388"/>
          <p:cNvGrpSpPr/>
          <p:nvPr/>
        </p:nvGrpSpPr>
        <p:grpSpPr>
          <a:xfrm>
            <a:off x="7191545" y="0"/>
            <a:ext cx="5000460" cy="1425988"/>
            <a:chOff x="7191545" y="0"/>
            <a:chExt cx="5000460" cy="1425988"/>
          </a:xfrm>
        </p:grpSpPr>
        <p:pic>
          <p:nvPicPr>
            <p:cNvPr id="16272" name="Google Shape;16272;p13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73" name="Google Shape;16273;p1388"/>
            <p:cNvGrpSpPr/>
            <p:nvPr/>
          </p:nvGrpSpPr>
          <p:grpSpPr>
            <a:xfrm>
              <a:off x="7191545" y="0"/>
              <a:ext cx="5000460" cy="1425988"/>
              <a:chOff x="7191545" y="0"/>
              <a:chExt cx="5000460" cy="1425988"/>
            </a:xfrm>
          </p:grpSpPr>
          <p:sp>
            <p:nvSpPr>
              <p:cNvPr id="16274" name="Google Shape;16274;p13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75" name="Google Shape;16275;p13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76" name="Google Shape;16276;p138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115361838"/>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matchingName="Quotation 6">
  <p:cSld name="Quotation 6">
    <p:spTree>
      <p:nvGrpSpPr>
        <p:cNvPr id="1" name="Shape 16277"/>
        <p:cNvGrpSpPr/>
        <p:nvPr/>
      </p:nvGrpSpPr>
      <p:grpSpPr>
        <a:xfrm>
          <a:off x="0" y="0"/>
          <a:ext cx="0" cy="0"/>
          <a:chOff x="0" y="0"/>
          <a:chExt cx="0" cy="0"/>
        </a:xfrm>
      </p:grpSpPr>
      <p:sp>
        <p:nvSpPr>
          <p:cNvPr id="16278" name="Google Shape;16278;p138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79" name="Google Shape;16279;p138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80" name="Google Shape;16280;p138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81" name="Google Shape;16281;p138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82" name="Google Shape;16282;p13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83" name="Google Shape;16283;p138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84" name="Google Shape;16284;p1389"/>
          <p:cNvGrpSpPr/>
          <p:nvPr/>
        </p:nvGrpSpPr>
        <p:grpSpPr>
          <a:xfrm>
            <a:off x="7191545" y="0"/>
            <a:ext cx="5000460" cy="1425988"/>
            <a:chOff x="7191545" y="0"/>
            <a:chExt cx="5000460" cy="1425988"/>
          </a:xfrm>
        </p:grpSpPr>
        <p:pic>
          <p:nvPicPr>
            <p:cNvPr id="16285" name="Google Shape;16285;p13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86" name="Google Shape;16286;p1389"/>
            <p:cNvGrpSpPr/>
            <p:nvPr/>
          </p:nvGrpSpPr>
          <p:grpSpPr>
            <a:xfrm>
              <a:off x="7191545" y="0"/>
              <a:ext cx="5000460" cy="1425988"/>
              <a:chOff x="7191545" y="0"/>
              <a:chExt cx="5000460" cy="1425988"/>
            </a:xfrm>
          </p:grpSpPr>
          <p:sp>
            <p:nvSpPr>
              <p:cNvPr id="16287" name="Google Shape;16287;p13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88" name="Google Shape;16288;p13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89" name="Google Shape;16289;p138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107323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10"/>
        <p:cNvGrpSpPr/>
        <p:nvPr/>
      </p:nvGrpSpPr>
      <p:grpSpPr>
        <a:xfrm>
          <a:off x="0" y="0"/>
          <a:ext cx="0" cy="0"/>
          <a:chOff x="0" y="0"/>
          <a:chExt cx="0" cy="0"/>
        </a:xfrm>
      </p:grpSpPr>
      <p:sp>
        <p:nvSpPr>
          <p:cNvPr id="1011" name="Google Shape;1011;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102"/>
          <p:cNvGrpSpPr/>
          <p:nvPr/>
        </p:nvGrpSpPr>
        <p:grpSpPr>
          <a:xfrm>
            <a:off x="7191542" y="1"/>
            <a:ext cx="5000459" cy="1425992"/>
            <a:chOff x="7191542" y="1"/>
            <a:chExt cx="5000459" cy="1425992"/>
          </a:xfrm>
        </p:grpSpPr>
        <p:pic>
          <p:nvPicPr>
            <p:cNvPr id="1015" name="Google Shape;101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02"/>
            <p:cNvGrpSpPr/>
            <p:nvPr/>
          </p:nvGrpSpPr>
          <p:grpSpPr>
            <a:xfrm>
              <a:off x="7191542" y="1"/>
              <a:ext cx="5000459" cy="1425992"/>
              <a:chOff x="7186272" y="0"/>
              <a:chExt cx="5005729" cy="1427495"/>
            </a:xfrm>
          </p:grpSpPr>
          <p:sp>
            <p:nvSpPr>
              <p:cNvPr id="1017" name="Google Shape;101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matchingName="Two Content 4">
  <p:cSld name="Two Content 4">
    <p:spTree>
      <p:nvGrpSpPr>
        <p:cNvPr id="1" name="Shape 16290"/>
        <p:cNvGrpSpPr/>
        <p:nvPr/>
      </p:nvGrpSpPr>
      <p:grpSpPr>
        <a:xfrm>
          <a:off x="0" y="0"/>
          <a:ext cx="0" cy="0"/>
          <a:chOff x="0" y="0"/>
          <a:chExt cx="0" cy="0"/>
        </a:xfrm>
      </p:grpSpPr>
      <p:sp>
        <p:nvSpPr>
          <p:cNvPr id="16291" name="Google Shape;16291;p139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92" name="Google Shape;16292;p139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293" name="Google Shape;16293;p1390"/>
          <p:cNvGrpSpPr/>
          <p:nvPr/>
        </p:nvGrpSpPr>
        <p:grpSpPr>
          <a:xfrm>
            <a:off x="7191545" y="0"/>
            <a:ext cx="5000460" cy="1425988"/>
            <a:chOff x="7191545" y="0"/>
            <a:chExt cx="5000460" cy="1425988"/>
          </a:xfrm>
        </p:grpSpPr>
        <p:pic>
          <p:nvPicPr>
            <p:cNvPr id="16294" name="Google Shape;16294;p1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95" name="Google Shape;16295;p1390"/>
            <p:cNvGrpSpPr/>
            <p:nvPr/>
          </p:nvGrpSpPr>
          <p:grpSpPr>
            <a:xfrm>
              <a:off x="7191545" y="0"/>
              <a:ext cx="5000460" cy="1425988"/>
              <a:chOff x="7191545" y="0"/>
              <a:chExt cx="5000460" cy="1425988"/>
            </a:xfrm>
          </p:grpSpPr>
          <p:sp>
            <p:nvSpPr>
              <p:cNvPr id="16296" name="Google Shape;16296;p1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97" name="Google Shape;16297;p1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98" name="Google Shape;16298;p139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299" name="Google Shape;16299;p139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00" name="Google Shape;16300;p1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01" name="Google Shape;16301;p139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66617981"/>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matchingName="Comparison 3">
  <p:cSld name="Comparison 3">
    <p:spTree>
      <p:nvGrpSpPr>
        <p:cNvPr id="1" name="Shape 16302"/>
        <p:cNvGrpSpPr/>
        <p:nvPr/>
      </p:nvGrpSpPr>
      <p:grpSpPr>
        <a:xfrm>
          <a:off x="0" y="0"/>
          <a:ext cx="0" cy="0"/>
          <a:chOff x="0" y="0"/>
          <a:chExt cx="0" cy="0"/>
        </a:xfrm>
      </p:grpSpPr>
      <p:grpSp>
        <p:nvGrpSpPr>
          <p:cNvPr id="16303" name="Google Shape;16303;p1391"/>
          <p:cNvGrpSpPr/>
          <p:nvPr/>
        </p:nvGrpSpPr>
        <p:grpSpPr>
          <a:xfrm>
            <a:off x="7191545" y="0"/>
            <a:ext cx="5000460" cy="1425988"/>
            <a:chOff x="7191545" y="0"/>
            <a:chExt cx="5000460" cy="1425988"/>
          </a:xfrm>
        </p:grpSpPr>
        <p:pic>
          <p:nvPicPr>
            <p:cNvPr id="16304" name="Google Shape;16304;p1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05" name="Google Shape;16305;p1391"/>
            <p:cNvGrpSpPr/>
            <p:nvPr/>
          </p:nvGrpSpPr>
          <p:grpSpPr>
            <a:xfrm>
              <a:off x="7191545" y="0"/>
              <a:ext cx="5000460" cy="1425988"/>
              <a:chOff x="7191545" y="0"/>
              <a:chExt cx="5000460" cy="1425988"/>
            </a:xfrm>
          </p:grpSpPr>
          <p:sp>
            <p:nvSpPr>
              <p:cNvPr id="16306" name="Google Shape;16306;p1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07" name="Google Shape;16307;p1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308" name="Google Shape;16308;p139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09" name="Google Shape;16309;p139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0" name="Google Shape;16310;p139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1" name="Google Shape;16311;p139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2" name="Google Shape;16312;p139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13" name="Google Shape;16313;p139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14" name="Google Shape;16314;p1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15" name="Google Shape;16315;p139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82692058"/>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16316"/>
        <p:cNvGrpSpPr/>
        <p:nvPr/>
      </p:nvGrpSpPr>
      <p:grpSpPr>
        <a:xfrm>
          <a:off x="0" y="0"/>
          <a:ext cx="0" cy="0"/>
          <a:chOff x="0" y="0"/>
          <a:chExt cx="0" cy="0"/>
        </a:xfrm>
      </p:grpSpPr>
      <p:grpSp>
        <p:nvGrpSpPr>
          <p:cNvPr id="16317" name="Google Shape;16317;p1392"/>
          <p:cNvGrpSpPr/>
          <p:nvPr/>
        </p:nvGrpSpPr>
        <p:grpSpPr>
          <a:xfrm>
            <a:off x="7191545" y="0"/>
            <a:ext cx="5000460" cy="1425988"/>
            <a:chOff x="7191545" y="0"/>
            <a:chExt cx="5000460" cy="1425988"/>
          </a:xfrm>
        </p:grpSpPr>
        <p:pic>
          <p:nvPicPr>
            <p:cNvPr id="16318" name="Google Shape;16318;p13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19" name="Google Shape;16319;p1392"/>
            <p:cNvGrpSpPr/>
            <p:nvPr/>
          </p:nvGrpSpPr>
          <p:grpSpPr>
            <a:xfrm>
              <a:off x="7191545" y="0"/>
              <a:ext cx="5000460" cy="1425988"/>
              <a:chOff x="7191545" y="0"/>
              <a:chExt cx="5000460" cy="1425988"/>
            </a:xfrm>
          </p:grpSpPr>
          <p:sp>
            <p:nvSpPr>
              <p:cNvPr id="16320" name="Google Shape;16320;p13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21" name="Google Shape;16321;p13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322" name="Google Shape;16322;p139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23" name="Google Shape;16323;p139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24" name="Google Shape;16324;p13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25" name="Google Shape;16325;p139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01435779"/>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matchingName="End 3">
  <p:cSld name="End 3">
    <p:spTree>
      <p:nvGrpSpPr>
        <p:cNvPr id="1" name="Shape 16326"/>
        <p:cNvGrpSpPr/>
        <p:nvPr/>
      </p:nvGrpSpPr>
      <p:grpSpPr>
        <a:xfrm>
          <a:off x="0" y="0"/>
          <a:ext cx="0" cy="0"/>
          <a:chOff x="0" y="0"/>
          <a:chExt cx="0" cy="0"/>
        </a:xfrm>
      </p:grpSpPr>
      <p:grpSp>
        <p:nvGrpSpPr>
          <p:cNvPr id="16327" name="Google Shape;16327;p1393"/>
          <p:cNvGrpSpPr/>
          <p:nvPr/>
        </p:nvGrpSpPr>
        <p:grpSpPr>
          <a:xfrm>
            <a:off x="0" y="0"/>
            <a:ext cx="12191996" cy="2148830"/>
            <a:chOff x="0" y="0"/>
            <a:chExt cx="12191996" cy="2148830"/>
          </a:xfrm>
        </p:grpSpPr>
        <p:sp>
          <p:nvSpPr>
            <p:cNvPr id="16328" name="Google Shape;16328;p13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29" name="Google Shape;16329;p13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330" name="Google Shape;16330;p139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31" name="Google Shape;16331;p139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32" name="Google Shape;16332;p139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333" name="Google Shape;16333;p13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99660900"/>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matchingName="Blank 2">
  <p:cSld name="Blank 2">
    <p:spTree>
      <p:nvGrpSpPr>
        <p:cNvPr id="1" name="Shape 16334"/>
        <p:cNvGrpSpPr/>
        <p:nvPr/>
      </p:nvGrpSpPr>
      <p:grpSpPr>
        <a:xfrm>
          <a:off x="0" y="0"/>
          <a:ext cx="0" cy="0"/>
          <a:chOff x="0" y="0"/>
          <a:chExt cx="0" cy="0"/>
        </a:xfrm>
      </p:grpSpPr>
      <p:sp>
        <p:nvSpPr>
          <p:cNvPr id="16335" name="Google Shape;16335;p139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36" name="Google Shape;16336;p13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37" name="Google Shape;16337;p139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38" name="Google Shape;16338;p1394"/>
          <p:cNvGrpSpPr/>
          <p:nvPr/>
        </p:nvGrpSpPr>
        <p:grpSpPr>
          <a:xfrm>
            <a:off x="7191545" y="0"/>
            <a:ext cx="5000460" cy="1425988"/>
            <a:chOff x="7191545" y="0"/>
            <a:chExt cx="5000460" cy="1425988"/>
          </a:xfrm>
        </p:grpSpPr>
        <p:pic>
          <p:nvPicPr>
            <p:cNvPr id="16339" name="Google Shape;16339;p13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40" name="Google Shape;16340;p1394"/>
            <p:cNvGrpSpPr/>
            <p:nvPr/>
          </p:nvGrpSpPr>
          <p:grpSpPr>
            <a:xfrm>
              <a:off x="7191545" y="0"/>
              <a:ext cx="5000460" cy="1425988"/>
              <a:chOff x="7191545" y="0"/>
              <a:chExt cx="5000460" cy="1425988"/>
            </a:xfrm>
          </p:grpSpPr>
          <p:sp>
            <p:nvSpPr>
              <p:cNvPr id="16341" name="Google Shape;16341;p13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42" name="Google Shape;16342;p13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794667833"/>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6343"/>
        <p:cNvGrpSpPr/>
        <p:nvPr/>
      </p:nvGrpSpPr>
      <p:grpSpPr>
        <a:xfrm>
          <a:off x="0" y="0"/>
          <a:ext cx="0" cy="0"/>
          <a:chOff x="0" y="0"/>
          <a:chExt cx="0" cy="0"/>
        </a:xfrm>
      </p:grpSpPr>
      <p:sp>
        <p:nvSpPr>
          <p:cNvPr id="16344" name="Google Shape;16344;p1395"/>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45" name="Google Shape;16345;p1395"/>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346" name="Google Shape;16346;p1395"/>
          <p:cNvGrpSpPr/>
          <p:nvPr/>
        </p:nvGrpSpPr>
        <p:grpSpPr>
          <a:xfrm>
            <a:off x="0" y="0"/>
            <a:ext cx="6418722" cy="1509820"/>
            <a:chOff x="0" y="0"/>
            <a:chExt cx="6418722" cy="1509820"/>
          </a:xfrm>
        </p:grpSpPr>
        <p:sp>
          <p:nvSpPr>
            <p:cNvPr id="16347" name="Google Shape;16347;p1395"/>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48" name="Google Shape;16348;p1395"/>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6349" name="Google Shape;16349;p13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6" y="136529"/>
            <a:ext cx="1945203" cy="879972"/>
          </a:xfrm>
          <a:prstGeom prst="rect">
            <a:avLst/>
          </a:prstGeom>
          <a:noFill/>
          <a:ln>
            <a:noFill/>
          </a:ln>
        </p:spPr>
      </p:pic>
    </p:spTree>
    <p:extLst>
      <p:ext uri="{BB962C8B-B14F-4D97-AF65-F5344CB8AC3E}">
        <p14:creationId xmlns:p14="http://schemas.microsoft.com/office/powerpoint/2010/main" val="3270435414"/>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matchingName="1_Cover 5">
  <p:cSld name="1_Cover 5">
    <p:spTree>
      <p:nvGrpSpPr>
        <p:cNvPr id="1" name="Shape 16350"/>
        <p:cNvGrpSpPr/>
        <p:nvPr/>
      </p:nvGrpSpPr>
      <p:grpSpPr>
        <a:xfrm>
          <a:off x="0" y="0"/>
          <a:ext cx="0" cy="0"/>
          <a:chOff x="0" y="0"/>
          <a:chExt cx="0" cy="0"/>
        </a:xfrm>
      </p:grpSpPr>
      <p:sp>
        <p:nvSpPr>
          <p:cNvPr id="16351" name="Google Shape;16351;p1396"/>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52" name="Google Shape;16352;p139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53" name="Google Shape;16353;p139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354" name="Google Shape;16354;p1396"/>
          <p:cNvGrpSpPr/>
          <p:nvPr/>
        </p:nvGrpSpPr>
        <p:grpSpPr>
          <a:xfrm>
            <a:off x="0" y="5020350"/>
            <a:ext cx="12191996" cy="1837651"/>
            <a:chOff x="0" y="5020348"/>
            <a:chExt cx="12191996" cy="1837651"/>
          </a:xfrm>
        </p:grpSpPr>
        <p:sp>
          <p:nvSpPr>
            <p:cNvPr id="16355" name="Google Shape;16355;p139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56" name="Google Shape;16356;p139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357" name="Google Shape;16357;p139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917296551"/>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1_Divider 6">
  <p:cSld name="1_Divider 6">
    <p:spTree>
      <p:nvGrpSpPr>
        <p:cNvPr id="1" name="Shape 16358"/>
        <p:cNvGrpSpPr/>
        <p:nvPr/>
      </p:nvGrpSpPr>
      <p:grpSpPr>
        <a:xfrm>
          <a:off x="0" y="0"/>
          <a:ext cx="0" cy="0"/>
          <a:chOff x="0" y="0"/>
          <a:chExt cx="0" cy="0"/>
        </a:xfrm>
      </p:grpSpPr>
      <p:grpSp>
        <p:nvGrpSpPr>
          <p:cNvPr id="16359" name="Google Shape;16359;p1397"/>
          <p:cNvGrpSpPr/>
          <p:nvPr/>
        </p:nvGrpSpPr>
        <p:grpSpPr>
          <a:xfrm>
            <a:off x="0" y="5020350"/>
            <a:ext cx="12191996" cy="1837651"/>
            <a:chOff x="0" y="5020348"/>
            <a:chExt cx="12191996" cy="1837651"/>
          </a:xfrm>
        </p:grpSpPr>
        <p:sp>
          <p:nvSpPr>
            <p:cNvPr id="16360" name="Google Shape;16360;p139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61" name="Google Shape;16361;p139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62" name="Google Shape;16362;p139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363" name="Google Shape;16363;p139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364" name="Google Shape;16364;p1397"/>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65" name="Google Shape;16365;p139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4757292"/>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matchingName="1_Photo Slide 5">
  <p:cSld name="1_Photo Slide 5">
    <p:spTree>
      <p:nvGrpSpPr>
        <p:cNvPr id="1" name="Shape 16366"/>
        <p:cNvGrpSpPr/>
        <p:nvPr/>
      </p:nvGrpSpPr>
      <p:grpSpPr>
        <a:xfrm>
          <a:off x="0" y="0"/>
          <a:ext cx="0" cy="0"/>
          <a:chOff x="0" y="0"/>
          <a:chExt cx="0" cy="0"/>
        </a:xfrm>
      </p:grpSpPr>
      <p:sp>
        <p:nvSpPr>
          <p:cNvPr id="16367" name="Google Shape;16367;p139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368" name="Google Shape;16368;p1398"/>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369" name="Google Shape;16369;p1398"/>
          <p:cNvGrpSpPr/>
          <p:nvPr/>
        </p:nvGrpSpPr>
        <p:grpSpPr>
          <a:xfrm>
            <a:off x="2" y="5379426"/>
            <a:ext cx="2807363" cy="753895"/>
            <a:chOff x="0" y="5379424"/>
            <a:chExt cx="2807363" cy="753895"/>
          </a:xfrm>
        </p:grpSpPr>
        <p:sp>
          <p:nvSpPr>
            <p:cNvPr id="16370" name="Google Shape;16370;p139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1" name="Google Shape;16371;p139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372" name="Google Shape;16372;p1398"/>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060467144"/>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matchingName="1_Quotation 5">
  <p:cSld name="1_Quotation 5">
    <p:spTree>
      <p:nvGrpSpPr>
        <p:cNvPr id="1" name="Shape 16373"/>
        <p:cNvGrpSpPr/>
        <p:nvPr/>
      </p:nvGrpSpPr>
      <p:grpSpPr>
        <a:xfrm>
          <a:off x="0" y="0"/>
          <a:ext cx="0" cy="0"/>
          <a:chOff x="0" y="0"/>
          <a:chExt cx="0" cy="0"/>
        </a:xfrm>
      </p:grpSpPr>
      <p:sp>
        <p:nvSpPr>
          <p:cNvPr id="16374" name="Google Shape;16374;p139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5" name="Google Shape;16375;p13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6" name="Google Shape;16376;p139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77" name="Google Shape;16377;p139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78" name="Google Shape;16378;p1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79" name="Google Shape;16379;p139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80" name="Google Shape;16380;p1399"/>
          <p:cNvGrpSpPr/>
          <p:nvPr/>
        </p:nvGrpSpPr>
        <p:grpSpPr>
          <a:xfrm>
            <a:off x="7191545" y="0"/>
            <a:ext cx="5000460" cy="1425988"/>
            <a:chOff x="7191545" y="0"/>
            <a:chExt cx="5000460" cy="1425988"/>
          </a:xfrm>
        </p:grpSpPr>
        <p:pic>
          <p:nvPicPr>
            <p:cNvPr id="16381" name="Google Shape;16381;p1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82" name="Google Shape;16382;p1399"/>
            <p:cNvGrpSpPr/>
            <p:nvPr/>
          </p:nvGrpSpPr>
          <p:grpSpPr>
            <a:xfrm>
              <a:off x="7191545" y="0"/>
              <a:ext cx="5000460" cy="1425988"/>
              <a:chOff x="7191545" y="0"/>
              <a:chExt cx="5000460" cy="1425988"/>
            </a:xfrm>
          </p:grpSpPr>
          <p:sp>
            <p:nvSpPr>
              <p:cNvPr id="16383" name="Google Shape;16383;p1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84" name="Google Shape;16384;p1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85" name="Google Shape;16385;p139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9516987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19"/>
        <p:cNvGrpSpPr/>
        <p:nvPr/>
      </p:nvGrpSpPr>
      <p:grpSpPr>
        <a:xfrm>
          <a:off x="0" y="0"/>
          <a:ext cx="0" cy="0"/>
          <a:chOff x="0" y="0"/>
          <a:chExt cx="0" cy="0"/>
        </a:xfrm>
      </p:grpSpPr>
      <p:sp>
        <p:nvSpPr>
          <p:cNvPr id="1020" name="Google Shape;1020;p10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21" name="Google Shape;102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022" name="Google Shape;1022;p103"/>
          <p:cNvGrpSpPr/>
          <p:nvPr/>
        </p:nvGrpSpPr>
        <p:grpSpPr>
          <a:xfrm>
            <a:off x="0" y="0"/>
            <a:ext cx="1862667" cy="6629400"/>
            <a:chOff x="-15876" y="0"/>
            <a:chExt cx="1927803" cy="6858000"/>
          </a:xfrm>
        </p:grpSpPr>
        <p:sp>
          <p:nvSpPr>
            <p:cNvPr id="1023" name="Google Shape;1023;p10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24" name="Google Shape;1024;p10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025" name="Google Shape;1025;p10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26" name="Google Shape;1026;p10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10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0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1_Quotation 6">
  <p:cSld name="1_Quotation 6">
    <p:spTree>
      <p:nvGrpSpPr>
        <p:cNvPr id="1" name="Shape 16386"/>
        <p:cNvGrpSpPr/>
        <p:nvPr/>
      </p:nvGrpSpPr>
      <p:grpSpPr>
        <a:xfrm>
          <a:off x="0" y="0"/>
          <a:ext cx="0" cy="0"/>
          <a:chOff x="0" y="0"/>
          <a:chExt cx="0" cy="0"/>
        </a:xfrm>
      </p:grpSpPr>
      <p:sp>
        <p:nvSpPr>
          <p:cNvPr id="16387" name="Google Shape;16387;p14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88" name="Google Shape;16388;p14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89" name="Google Shape;16389;p140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390" name="Google Shape;16390;p140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91" name="Google Shape;16391;p1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92" name="Google Shape;16392;p140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93" name="Google Shape;16393;p1400"/>
          <p:cNvGrpSpPr/>
          <p:nvPr/>
        </p:nvGrpSpPr>
        <p:grpSpPr>
          <a:xfrm>
            <a:off x="7191545" y="0"/>
            <a:ext cx="5000460" cy="1425988"/>
            <a:chOff x="7191545" y="0"/>
            <a:chExt cx="5000460" cy="1425988"/>
          </a:xfrm>
        </p:grpSpPr>
        <p:pic>
          <p:nvPicPr>
            <p:cNvPr id="16394" name="Google Shape;16394;p1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95" name="Google Shape;16395;p1400"/>
            <p:cNvGrpSpPr/>
            <p:nvPr/>
          </p:nvGrpSpPr>
          <p:grpSpPr>
            <a:xfrm>
              <a:off x="7191545" y="0"/>
              <a:ext cx="5000460" cy="1425988"/>
              <a:chOff x="7191545" y="0"/>
              <a:chExt cx="5000460" cy="1425988"/>
            </a:xfrm>
          </p:grpSpPr>
          <p:sp>
            <p:nvSpPr>
              <p:cNvPr id="16396" name="Google Shape;16396;p1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97" name="Google Shape;16397;p1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98" name="Google Shape;16398;p140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587171817"/>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1_Two Content 4">
  <p:cSld name="1_Two Content 4">
    <p:spTree>
      <p:nvGrpSpPr>
        <p:cNvPr id="1" name="Shape 16399"/>
        <p:cNvGrpSpPr/>
        <p:nvPr/>
      </p:nvGrpSpPr>
      <p:grpSpPr>
        <a:xfrm>
          <a:off x="0" y="0"/>
          <a:ext cx="0" cy="0"/>
          <a:chOff x="0" y="0"/>
          <a:chExt cx="0" cy="0"/>
        </a:xfrm>
      </p:grpSpPr>
      <p:sp>
        <p:nvSpPr>
          <p:cNvPr id="16400" name="Google Shape;16400;p140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01" name="Google Shape;16401;p1401"/>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402" name="Google Shape;16402;p1401"/>
          <p:cNvGrpSpPr/>
          <p:nvPr/>
        </p:nvGrpSpPr>
        <p:grpSpPr>
          <a:xfrm>
            <a:off x="7191545" y="0"/>
            <a:ext cx="5000460" cy="1425988"/>
            <a:chOff x="7191545" y="0"/>
            <a:chExt cx="5000460" cy="1425988"/>
          </a:xfrm>
        </p:grpSpPr>
        <p:pic>
          <p:nvPicPr>
            <p:cNvPr id="16403" name="Google Shape;16403;p1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04" name="Google Shape;16404;p1401"/>
            <p:cNvGrpSpPr/>
            <p:nvPr/>
          </p:nvGrpSpPr>
          <p:grpSpPr>
            <a:xfrm>
              <a:off x="7191545" y="0"/>
              <a:ext cx="5000460" cy="1425988"/>
              <a:chOff x="7191545" y="0"/>
              <a:chExt cx="5000460" cy="1425988"/>
            </a:xfrm>
          </p:grpSpPr>
          <p:sp>
            <p:nvSpPr>
              <p:cNvPr id="16405" name="Google Shape;16405;p1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06" name="Google Shape;16406;p1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07" name="Google Shape;16407;p1401"/>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08" name="Google Shape;16408;p1401"/>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09" name="Google Shape;16409;p1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10" name="Google Shape;16410;p140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22102378"/>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matchingName="1_Comparison 3">
  <p:cSld name="1_Comparison 3">
    <p:spTree>
      <p:nvGrpSpPr>
        <p:cNvPr id="1" name="Shape 16411"/>
        <p:cNvGrpSpPr/>
        <p:nvPr/>
      </p:nvGrpSpPr>
      <p:grpSpPr>
        <a:xfrm>
          <a:off x="0" y="0"/>
          <a:ext cx="0" cy="0"/>
          <a:chOff x="0" y="0"/>
          <a:chExt cx="0" cy="0"/>
        </a:xfrm>
      </p:grpSpPr>
      <p:grpSp>
        <p:nvGrpSpPr>
          <p:cNvPr id="16412" name="Google Shape;16412;p1402"/>
          <p:cNvGrpSpPr/>
          <p:nvPr/>
        </p:nvGrpSpPr>
        <p:grpSpPr>
          <a:xfrm>
            <a:off x="7191545" y="0"/>
            <a:ext cx="5000460" cy="1425988"/>
            <a:chOff x="7191545" y="0"/>
            <a:chExt cx="5000460" cy="1425988"/>
          </a:xfrm>
        </p:grpSpPr>
        <p:pic>
          <p:nvPicPr>
            <p:cNvPr id="16413" name="Google Shape;16413;p1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14" name="Google Shape;16414;p1402"/>
            <p:cNvGrpSpPr/>
            <p:nvPr/>
          </p:nvGrpSpPr>
          <p:grpSpPr>
            <a:xfrm>
              <a:off x="7191545" y="0"/>
              <a:ext cx="5000460" cy="1425988"/>
              <a:chOff x="7191545" y="0"/>
              <a:chExt cx="5000460" cy="1425988"/>
            </a:xfrm>
          </p:grpSpPr>
          <p:sp>
            <p:nvSpPr>
              <p:cNvPr id="16415" name="Google Shape;16415;p1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16" name="Google Shape;16416;p1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17" name="Google Shape;16417;p140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18" name="Google Shape;16418;p140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19" name="Google Shape;16419;p1402"/>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20" name="Google Shape;16420;p1402"/>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21" name="Google Shape;16421;p1402"/>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22" name="Google Shape;16422;p140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23" name="Google Shape;16423;p1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24" name="Google Shape;16424;p140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82309478"/>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matchingName="1_Title Only 3">
  <p:cSld name="1_Title Only 3">
    <p:spTree>
      <p:nvGrpSpPr>
        <p:cNvPr id="1" name="Shape 16425"/>
        <p:cNvGrpSpPr/>
        <p:nvPr/>
      </p:nvGrpSpPr>
      <p:grpSpPr>
        <a:xfrm>
          <a:off x="0" y="0"/>
          <a:ext cx="0" cy="0"/>
          <a:chOff x="0" y="0"/>
          <a:chExt cx="0" cy="0"/>
        </a:xfrm>
      </p:grpSpPr>
      <p:grpSp>
        <p:nvGrpSpPr>
          <p:cNvPr id="16426" name="Google Shape;16426;p1403"/>
          <p:cNvGrpSpPr/>
          <p:nvPr/>
        </p:nvGrpSpPr>
        <p:grpSpPr>
          <a:xfrm>
            <a:off x="7191545" y="0"/>
            <a:ext cx="5000460" cy="1425988"/>
            <a:chOff x="7191545" y="0"/>
            <a:chExt cx="5000460" cy="1425988"/>
          </a:xfrm>
        </p:grpSpPr>
        <p:pic>
          <p:nvPicPr>
            <p:cNvPr id="16427" name="Google Shape;16427;p14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28" name="Google Shape;16428;p1403"/>
            <p:cNvGrpSpPr/>
            <p:nvPr/>
          </p:nvGrpSpPr>
          <p:grpSpPr>
            <a:xfrm>
              <a:off x="7191545" y="0"/>
              <a:ext cx="5000460" cy="1425988"/>
              <a:chOff x="7191545" y="0"/>
              <a:chExt cx="5000460" cy="1425988"/>
            </a:xfrm>
          </p:grpSpPr>
          <p:sp>
            <p:nvSpPr>
              <p:cNvPr id="16429" name="Google Shape;16429;p14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30" name="Google Shape;16430;p14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31" name="Google Shape;16431;p140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32" name="Google Shape;16432;p140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33" name="Google Shape;16433;p14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34" name="Google Shape;16434;p140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16435101"/>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matchingName="1_End 3">
  <p:cSld name="1_End 3">
    <p:spTree>
      <p:nvGrpSpPr>
        <p:cNvPr id="1" name="Shape 16435"/>
        <p:cNvGrpSpPr/>
        <p:nvPr/>
      </p:nvGrpSpPr>
      <p:grpSpPr>
        <a:xfrm>
          <a:off x="0" y="0"/>
          <a:ext cx="0" cy="0"/>
          <a:chOff x="0" y="0"/>
          <a:chExt cx="0" cy="0"/>
        </a:xfrm>
      </p:grpSpPr>
      <p:grpSp>
        <p:nvGrpSpPr>
          <p:cNvPr id="16436" name="Google Shape;16436;p1404"/>
          <p:cNvGrpSpPr/>
          <p:nvPr/>
        </p:nvGrpSpPr>
        <p:grpSpPr>
          <a:xfrm>
            <a:off x="0" y="0"/>
            <a:ext cx="12191996" cy="2148830"/>
            <a:chOff x="0" y="0"/>
            <a:chExt cx="12191996" cy="2148830"/>
          </a:xfrm>
        </p:grpSpPr>
        <p:sp>
          <p:nvSpPr>
            <p:cNvPr id="16437" name="Google Shape;16437;p140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38" name="Google Shape;16438;p140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439" name="Google Shape;16439;p140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40" name="Google Shape;16440;p140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41" name="Google Shape;16441;p140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442" name="Google Shape;16442;p140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018079028"/>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matchingName="1_Blank 2">
  <p:cSld name="1_Blank 2">
    <p:spTree>
      <p:nvGrpSpPr>
        <p:cNvPr id="1" name="Shape 16443"/>
        <p:cNvGrpSpPr/>
        <p:nvPr/>
      </p:nvGrpSpPr>
      <p:grpSpPr>
        <a:xfrm>
          <a:off x="0" y="0"/>
          <a:ext cx="0" cy="0"/>
          <a:chOff x="0" y="0"/>
          <a:chExt cx="0" cy="0"/>
        </a:xfrm>
      </p:grpSpPr>
      <p:sp>
        <p:nvSpPr>
          <p:cNvPr id="16444" name="Google Shape;16444;p140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45" name="Google Shape;16445;p14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46" name="Google Shape;16446;p140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447" name="Google Shape;16447;p1405"/>
          <p:cNvGrpSpPr/>
          <p:nvPr/>
        </p:nvGrpSpPr>
        <p:grpSpPr>
          <a:xfrm>
            <a:off x="7191545" y="0"/>
            <a:ext cx="5000460" cy="1425988"/>
            <a:chOff x="7191545" y="0"/>
            <a:chExt cx="5000460" cy="1425988"/>
          </a:xfrm>
        </p:grpSpPr>
        <p:pic>
          <p:nvPicPr>
            <p:cNvPr id="16448" name="Google Shape;16448;p14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49" name="Google Shape;16449;p1405"/>
            <p:cNvGrpSpPr/>
            <p:nvPr/>
          </p:nvGrpSpPr>
          <p:grpSpPr>
            <a:xfrm>
              <a:off x="7191545" y="0"/>
              <a:ext cx="5000460" cy="1425988"/>
              <a:chOff x="7191545" y="0"/>
              <a:chExt cx="5000460" cy="1425988"/>
            </a:xfrm>
          </p:grpSpPr>
          <p:sp>
            <p:nvSpPr>
              <p:cNvPr id="16450" name="Google Shape;16450;p14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51" name="Google Shape;16451;p14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392297523"/>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matchingName="Divider 7">
  <p:cSld name="Divider 7">
    <p:spTree>
      <p:nvGrpSpPr>
        <p:cNvPr id="1" name="Shape 16452"/>
        <p:cNvGrpSpPr/>
        <p:nvPr/>
      </p:nvGrpSpPr>
      <p:grpSpPr>
        <a:xfrm>
          <a:off x="0" y="0"/>
          <a:ext cx="0" cy="0"/>
          <a:chOff x="0" y="0"/>
          <a:chExt cx="0" cy="0"/>
        </a:xfrm>
      </p:grpSpPr>
      <p:grpSp>
        <p:nvGrpSpPr>
          <p:cNvPr id="16453" name="Google Shape;16453;p1406"/>
          <p:cNvGrpSpPr/>
          <p:nvPr/>
        </p:nvGrpSpPr>
        <p:grpSpPr>
          <a:xfrm>
            <a:off x="0" y="5020350"/>
            <a:ext cx="12191996" cy="1837651"/>
            <a:chOff x="0" y="5020348"/>
            <a:chExt cx="12191996" cy="1837651"/>
          </a:xfrm>
        </p:grpSpPr>
        <p:sp>
          <p:nvSpPr>
            <p:cNvPr id="16454" name="Google Shape;16454;p140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55" name="Google Shape;16455;p14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56" name="Google Shape;16456;p14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457" name="Google Shape;16457;p14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458" name="Google Shape;16458;p140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59" name="Google Shape;16459;p140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8251921"/>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matchingName="Photo Slide 6">
  <p:cSld name="Photo Slide 6">
    <p:spTree>
      <p:nvGrpSpPr>
        <p:cNvPr id="1" name="Shape 16460"/>
        <p:cNvGrpSpPr/>
        <p:nvPr/>
      </p:nvGrpSpPr>
      <p:grpSpPr>
        <a:xfrm>
          <a:off x="0" y="0"/>
          <a:ext cx="0" cy="0"/>
          <a:chOff x="0" y="0"/>
          <a:chExt cx="0" cy="0"/>
        </a:xfrm>
      </p:grpSpPr>
      <p:sp>
        <p:nvSpPr>
          <p:cNvPr id="16461" name="Google Shape;16461;p140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462" name="Google Shape;16462;p140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463" name="Google Shape;16463;p1407"/>
          <p:cNvGrpSpPr/>
          <p:nvPr/>
        </p:nvGrpSpPr>
        <p:grpSpPr>
          <a:xfrm>
            <a:off x="2" y="5379426"/>
            <a:ext cx="2807363" cy="753895"/>
            <a:chOff x="0" y="5379424"/>
            <a:chExt cx="2807363" cy="753895"/>
          </a:xfrm>
        </p:grpSpPr>
        <p:sp>
          <p:nvSpPr>
            <p:cNvPr id="16464" name="Google Shape;16464;p140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65" name="Google Shape;16465;p140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466" name="Google Shape;16466;p140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98276272"/>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matchingName="Cover 6">
  <p:cSld name="Cover 6">
    <p:spTree>
      <p:nvGrpSpPr>
        <p:cNvPr id="1" name="Shape 16467"/>
        <p:cNvGrpSpPr/>
        <p:nvPr/>
      </p:nvGrpSpPr>
      <p:grpSpPr>
        <a:xfrm>
          <a:off x="0" y="0"/>
          <a:ext cx="0" cy="0"/>
          <a:chOff x="0" y="0"/>
          <a:chExt cx="0" cy="0"/>
        </a:xfrm>
      </p:grpSpPr>
      <p:sp>
        <p:nvSpPr>
          <p:cNvPr id="16468" name="Google Shape;16468;p1408"/>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69" name="Google Shape;16469;p140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70" name="Google Shape;16470;p140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471" name="Google Shape;16471;p1408"/>
          <p:cNvGrpSpPr/>
          <p:nvPr/>
        </p:nvGrpSpPr>
        <p:grpSpPr>
          <a:xfrm>
            <a:off x="0" y="5020350"/>
            <a:ext cx="12191996" cy="1837651"/>
            <a:chOff x="0" y="5020348"/>
            <a:chExt cx="12191996" cy="1837651"/>
          </a:xfrm>
        </p:grpSpPr>
        <p:sp>
          <p:nvSpPr>
            <p:cNvPr id="16472" name="Google Shape;16472;p140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73" name="Google Shape;16473;p140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474" name="Google Shape;16474;p140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95008856"/>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matchingName="Title and Content 9">
  <p:cSld name="Title and Content 9">
    <p:spTree>
      <p:nvGrpSpPr>
        <p:cNvPr id="1" name="Shape 16475"/>
        <p:cNvGrpSpPr/>
        <p:nvPr/>
      </p:nvGrpSpPr>
      <p:grpSpPr>
        <a:xfrm>
          <a:off x="0" y="0"/>
          <a:ext cx="0" cy="0"/>
          <a:chOff x="0" y="0"/>
          <a:chExt cx="0" cy="0"/>
        </a:xfrm>
      </p:grpSpPr>
      <p:grpSp>
        <p:nvGrpSpPr>
          <p:cNvPr id="16476" name="Google Shape;16476;p1409"/>
          <p:cNvGrpSpPr/>
          <p:nvPr/>
        </p:nvGrpSpPr>
        <p:grpSpPr>
          <a:xfrm>
            <a:off x="7191545" y="0"/>
            <a:ext cx="5000460" cy="1425988"/>
            <a:chOff x="7191545" y="0"/>
            <a:chExt cx="5000460" cy="1425988"/>
          </a:xfrm>
        </p:grpSpPr>
        <p:pic>
          <p:nvPicPr>
            <p:cNvPr id="16477" name="Google Shape;16477;p1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78" name="Google Shape;16478;p1409"/>
            <p:cNvGrpSpPr/>
            <p:nvPr/>
          </p:nvGrpSpPr>
          <p:grpSpPr>
            <a:xfrm>
              <a:off x="7191545" y="0"/>
              <a:ext cx="5000460" cy="1425988"/>
              <a:chOff x="7191545" y="0"/>
              <a:chExt cx="5000460" cy="1425988"/>
            </a:xfrm>
          </p:grpSpPr>
          <p:sp>
            <p:nvSpPr>
              <p:cNvPr id="16479" name="Google Shape;16479;p1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80" name="Google Shape;16480;p1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81" name="Google Shape;16481;p140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2" name="Google Shape;16482;p140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83" name="Google Shape;16483;p140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84" name="Google Shape;16484;p1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85" name="Google Shape;16485;p140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171480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029"/>
        <p:cNvGrpSpPr/>
        <p:nvPr/>
      </p:nvGrpSpPr>
      <p:grpSpPr>
        <a:xfrm>
          <a:off x="0" y="0"/>
          <a:ext cx="0" cy="0"/>
          <a:chOff x="0" y="0"/>
          <a:chExt cx="0" cy="0"/>
        </a:xfrm>
      </p:grpSpPr>
      <p:sp>
        <p:nvSpPr>
          <p:cNvPr id="1030" name="Google Shape;1030;p10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31" name="Google Shape;1031;p10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 name="Google Shape;1032;p10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0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35" name="Google Shape;1035;p10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matchingName="Two Content 5">
  <p:cSld name="Two Content 5">
    <p:spTree>
      <p:nvGrpSpPr>
        <p:cNvPr id="1" name="Shape 16486"/>
        <p:cNvGrpSpPr/>
        <p:nvPr/>
      </p:nvGrpSpPr>
      <p:grpSpPr>
        <a:xfrm>
          <a:off x="0" y="0"/>
          <a:ext cx="0" cy="0"/>
          <a:chOff x="0" y="0"/>
          <a:chExt cx="0" cy="0"/>
        </a:xfrm>
      </p:grpSpPr>
      <p:sp>
        <p:nvSpPr>
          <p:cNvPr id="16487" name="Google Shape;16487;p141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8" name="Google Shape;16488;p141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489" name="Google Shape;16489;p1410"/>
          <p:cNvGrpSpPr/>
          <p:nvPr/>
        </p:nvGrpSpPr>
        <p:grpSpPr>
          <a:xfrm>
            <a:off x="7191545" y="0"/>
            <a:ext cx="5000460" cy="1425988"/>
            <a:chOff x="7191545" y="0"/>
            <a:chExt cx="5000460" cy="1425988"/>
          </a:xfrm>
        </p:grpSpPr>
        <p:pic>
          <p:nvPicPr>
            <p:cNvPr id="16490" name="Google Shape;16490;p1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91" name="Google Shape;16491;p1410"/>
            <p:cNvGrpSpPr/>
            <p:nvPr/>
          </p:nvGrpSpPr>
          <p:grpSpPr>
            <a:xfrm>
              <a:off x="7191545" y="0"/>
              <a:ext cx="5000460" cy="1425988"/>
              <a:chOff x="7191545" y="0"/>
              <a:chExt cx="5000460" cy="1425988"/>
            </a:xfrm>
          </p:grpSpPr>
          <p:sp>
            <p:nvSpPr>
              <p:cNvPr id="16492" name="Google Shape;16492;p1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93" name="Google Shape;16493;p1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94" name="Google Shape;16494;p141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495" name="Google Shape;16495;p141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96" name="Google Shape;16496;p1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97" name="Google Shape;16497;p141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5004591"/>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matchingName="Comparison 4">
  <p:cSld name="Comparison 4">
    <p:spTree>
      <p:nvGrpSpPr>
        <p:cNvPr id="1" name="Shape 16498"/>
        <p:cNvGrpSpPr/>
        <p:nvPr/>
      </p:nvGrpSpPr>
      <p:grpSpPr>
        <a:xfrm>
          <a:off x="0" y="0"/>
          <a:ext cx="0" cy="0"/>
          <a:chOff x="0" y="0"/>
          <a:chExt cx="0" cy="0"/>
        </a:xfrm>
      </p:grpSpPr>
      <p:grpSp>
        <p:nvGrpSpPr>
          <p:cNvPr id="16499" name="Google Shape;16499;p1411"/>
          <p:cNvGrpSpPr/>
          <p:nvPr/>
        </p:nvGrpSpPr>
        <p:grpSpPr>
          <a:xfrm>
            <a:off x="7191545" y="0"/>
            <a:ext cx="5000460" cy="1425988"/>
            <a:chOff x="7191545" y="0"/>
            <a:chExt cx="5000460" cy="1425988"/>
          </a:xfrm>
        </p:grpSpPr>
        <p:pic>
          <p:nvPicPr>
            <p:cNvPr id="16500" name="Google Shape;16500;p1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01" name="Google Shape;16501;p1411"/>
            <p:cNvGrpSpPr/>
            <p:nvPr/>
          </p:nvGrpSpPr>
          <p:grpSpPr>
            <a:xfrm>
              <a:off x="7191545" y="0"/>
              <a:ext cx="5000460" cy="1425988"/>
              <a:chOff x="7191545" y="0"/>
              <a:chExt cx="5000460" cy="1425988"/>
            </a:xfrm>
          </p:grpSpPr>
          <p:sp>
            <p:nvSpPr>
              <p:cNvPr id="16502" name="Google Shape;16502;p1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03" name="Google Shape;16503;p1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504" name="Google Shape;16504;p141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05" name="Google Shape;16505;p141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6" name="Google Shape;16506;p141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7" name="Google Shape;16507;p141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8" name="Google Shape;16508;p141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09" name="Google Shape;16509;p141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0" name="Google Shape;16510;p1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1" name="Google Shape;16511;p141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4903127"/>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Quotation 7">
  <p:cSld name="Quotation 7">
    <p:spTree>
      <p:nvGrpSpPr>
        <p:cNvPr id="1" name="Shape 16512"/>
        <p:cNvGrpSpPr/>
        <p:nvPr/>
      </p:nvGrpSpPr>
      <p:grpSpPr>
        <a:xfrm>
          <a:off x="0" y="0"/>
          <a:ext cx="0" cy="0"/>
          <a:chOff x="0" y="0"/>
          <a:chExt cx="0" cy="0"/>
        </a:xfrm>
      </p:grpSpPr>
      <p:sp>
        <p:nvSpPr>
          <p:cNvPr id="16513" name="Google Shape;16513;p141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14" name="Google Shape;16514;p14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5" name="Google Shape;16515;p141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16" name="Google Shape;16516;p141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7" name="Google Shape;16517;p1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8" name="Google Shape;16518;p141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19" name="Google Shape;16519;p1412"/>
          <p:cNvGrpSpPr/>
          <p:nvPr/>
        </p:nvGrpSpPr>
        <p:grpSpPr>
          <a:xfrm>
            <a:off x="7191545" y="0"/>
            <a:ext cx="5000460" cy="1425988"/>
            <a:chOff x="7191545" y="0"/>
            <a:chExt cx="5000460" cy="1425988"/>
          </a:xfrm>
        </p:grpSpPr>
        <p:pic>
          <p:nvPicPr>
            <p:cNvPr id="16520" name="Google Shape;16520;p1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21" name="Google Shape;16521;p1412"/>
            <p:cNvGrpSpPr/>
            <p:nvPr/>
          </p:nvGrpSpPr>
          <p:grpSpPr>
            <a:xfrm>
              <a:off x="7191545" y="0"/>
              <a:ext cx="5000460" cy="1425988"/>
              <a:chOff x="7191545" y="0"/>
              <a:chExt cx="5000460" cy="1425988"/>
            </a:xfrm>
          </p:grpSpPr>
          <p:sp>
            <p:nvSpPr>
              <p:cNvPr id="16522" name="Google Shape;16522;p1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23" name="Google Shape;16523;p1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24" name="Google Shape;16524;p141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174977778"/>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1_Quotation 7">
  <p:cSld name="1_Quotation 7">
    <p:spTree>
      <p:nvGrpSpPr>
        <p:cNvPr id="1" name="Shape 16525"/>
        <p:cNvGrpSpPr/>
        <p:nvPr/>
      </p:nvGrpSpPr>
      <p:grpSpPr>
        <a:xfrm>
          <a:off x="0" y="0"/>
          <a:ext cx="0" cy="0"/>
          <a:chOff x="0" y="0"/>
          <a:chExt cx="0" cy="0"/>
        </a:xfrm>
      </p:grpSpPr>
      <p:sp>
        <p:nvSpPr>
          <p:cNvPr id="16526" name="Google Shape;16526;p141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27" name="Google Shape;16527;p141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28" name="Google Shape;16528;p141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29" name="Google Shape;16529;p141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30" name="Google Shape;16530;p1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31" name="Google Shape;16531;p141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32" name="Google Shape;16532;p1413"/>
          <p:cNvGrpSpPr/>
          <p:nvPr/>
        </p:nvGrpSpPr>
        <p:grpSpPr>
          <a:xfrm>
            <a:off x="7191545" y="0"/>
            <a:ext cx="5000460" cy="1425988"/>
            <a:chOff x="7191545" y="0"/>
            <a:chExt cx="5000460" cy="1425988"/>
          </a:xfrm>
        </p:grpSpPr>
        <p:pic>
          <p:nvPicPr>
            <p:cNvPr id="16533" name="Google Shape;16533;p1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34" name="Google Shape;16534;p1413"/>
            <p:cNvGrpSpPr/>
            <p:nvPr/>
          </p:nvGrpSpPr>
          <p:grpSpPr>
            <a:xfrm>
              <a:off x="7191545" y="0"/>
              <a:ext cx="5000460" cy="1425988"/>
              <a:chOff x="7191545" y="0"/>
              <a:chExt cx="5000460" cy="1425988"/>
            </a:xfrm>
          </p:grpSpPr>
          <p:sp>
            <p:nvSpPr>
              <p:cNvPr id="16535" name="Google Shape;16535;p1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36" name="Google Shape;16536;p1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37" name="Google Shape;16537;p141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166501539"/>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End 4">
  <p:cSld name="End 4">
    <p:spTree>
      <p:nvGrpSpPr>
        <p:cNvPr id="1" name="Shape 16538"/>
        <p:cNvGrpSpPr/>
        <p:nvPr/>
      </p:nvGrpSpPr>
      <p:grpSpPr>
        <a:xfrm>
          <a:off x="0" y="0"/>
          <a:ext cx="0" cy="0"/>
          <a:chOff x="0" y="0"/>
          <a:chExt cx="0" cy="0"/>
        </a:xfrm>
      </p:grpSpPr>
      <p:grpSp>
        <p:nvGrpSpPr>
          <p:cNvPr id="16539" name="Google Shape;16539;p1414"/>
          <p:cNvGrpSpPr/>
          <p:nvPr/>
        </p:nvGrpSpPr>
        <p:grpSpPr>
          <a:xfrm>
            <a:off x="0" y="0"/>
            <a:ext cx="12191996" cy="2148830"/>
            <a:chOff x="0" y="0"/>
            <a:chExt cx="12191996" cy="2148830"/>
          </a:xfrm>
        </p:grpSpPr>
        <p:sp>
          <p:nvSpPr>
            <p:cNvPr id="16540" name="Google Shape;16540;p1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41" name="Google Shape;16541;p1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42" name="Google Shape;16542;p141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43" name="Google Shape;16543;p141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44" name="Google Shape;16544;p141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45" name="Google Shape;16545;p1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274671043"/>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16546"/>
        <p:cNvGrpSpPr/>
        <p:nvPr/>
      </p:nvGrpSpPr>
      <p:grpSpPr>
        <a:xfrm>
          <a:off x="0" y="0"/>
          <a:ext cx="0" cy="0"/>
          <a:chOff x="0" y="0"/>
          <a:chExt cx="0" cy="0"/>
        </a:xfrm>
      </p:grpSpPr>
      <p:grpSp>
        <p:nvGrpSpPr>
          <p:cNvPr id="16547" name="Google Shape;16547;p1415"/>
          <p:cNvGrpSpPr/>
          <p:nvPr/>
        </p:nvGrpSpPr>
        <p:grpSpPr>
          <a:xfrm>
            <a:off x="7191545" y="0"/>
            <a:ext cx="5000460" cy="1425988"/>
            <a:chOff x="7191545" y="0"/>
            <a:chExt cx="5000460" cy="1425988"/>
          </a:xfrm>
        </p:grpSpPr>
        <p:pic>
          <p:nvPicPr>
            <p:cNvPr id="16548" name="Google Shape;16548;p141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49" name="Google Shape;16549;p1415"/>
            <p:cNvGrpSpPr/>
            <p:nvPr/>
          </p:nvGrpSpPr>
          <p:grpSpPr>
            <a:xfrm>
              <a:off x="7191545" y="0"/>
              <a:ext cx="5000460" cy="1425988"/>
              <a:chOff x="7191545" y="0"/>
              <a:chExt cx="5000460" cy="1425988"/>
            </a:xfrm>
          </p:grpSpPr>
          <p:sp>
            <p:nvSpPr>
              <p:cNvPr id="16550" name="Google Shape;16550;p141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51" name="Google Shape;16551;p141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552" name="Google Shape;16552;p141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53" name="Google Shape;16553;p141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54" name="Google Shape;16554;p141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55" name="Google Shape;16555;p141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28963553"/>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End 5">
  <p:cSld name="End 5">
    <p:spTree>
      <p:nvGrpSpPr>
        <p:cNvPr id="1" name="Shape 16556"/>
        <p:cNvGrpSpPr/>
        <p:nvPr/>
      </p:nvGrpSpPr>
      <p:grpSpPr>
        <a:xfrm>
          <a:off x="0" y="0"/>
          <a:ext cx="0" cy="0"/>
          <a:chOff x="0" y="0"/>
          <a:chExt cx="0" cy="0"/>
        </a:xfrm>
      </p:grpSpPr>
      <p:grpSp>
        <p:nvGrpSpPr>
          <p:cNvPr id="16557" name="Google Shape;16557;p1416"/>
          <p:cNvGrpSpPr/>
          <p:nvPr/>
        </p:nvGrpSpPr>
        <p:grpSpPr>
          <a:xfrm>
            <a:off x="0" y="0"/>
            <a:ext cx="12191996" cy="2148830"/>
            <a:chOff x="0" y="0"/>
            <a:chExt cx="12191996" cy="2148830"/>
          </a:xfrm>
        </p:grpSpPr>
        <p:sp>
          <p:nvSpPr>
            <p:cNvPr id="16558" name="Google Shape;16558;p141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59" name="Google Shape;16559;p141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60" name="Google Shape;16560;p1416"/>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61" name="Google Shape;16561;p1416"/>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62" name="Google Shape;16562;p141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63" name="Google Shape;16563;p141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32359636"/>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16564"/>
        <p:cNvGrpSpPr/>
        <p:nvPr/>
      </p:nvGrpSpPr>
      <p:grpSpPr>
        <a:xfrm>
          <a:off x="0" y="0"/>
          <a:ext cx="0" cy="0"/>
          <a:chOff x="0" y="0"/>
          <a:chExt cx="0" cy="0"/>
        </a:xfrm>
      </p:grpSpPr>
      <p:sp>
        <p:nvSpPr>
          <p:cNvPr id="16565" name="Google Shape;16565;p141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66" name="Google Shape;16566;p141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67" name="Google Shape;16567;p141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68" name="Google Shape;16568;p1417"/>
          <p:cNvGrpSpPr/>
          <p:nvPr/>
        </p:nvGrpSpPr>
        <p:grpSpPr>
          <a:xfrm>
            <a:off x="7191545" y="0"/>
            <a:ext cx="5000460" cy="1425988"/>
            <a:chOff x="7191545" y="0"/>
            <a:chExt cx="5000460" cy="1425988"/>
          </a:xfrm>
        </p:grpSpPr>
        <p:pic>
          <p:nvPicPr>
            <p:cNvPr id="16569" name="Google Shape;16569;p141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70" name="Google Shape;16570;p1417"/>
            <p:cNvGrpSpPr/>
            <p:nvPr/>
          </p:nvGrpSpPr>
          <p:grpSpPr>
            <a:xfrm>
              <a:off x="7191545" y="0"/>
              <a:ext cx="5000460" cy="1425988"/>
              <a:chOff x="7191545" y="0"/>
              <a:chExt cx="5000460" cy="1425988"/>
            </a:xfrm>
          </p:grpSpPr>
          <p:sp>
            <p:nvSpPr>
              <p:cNvPr id="16571" name="Google Shape;16571;p141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72" name="Google Shape;16572;p141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806314898"/>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Quotation 8">
  <p:cSld name="Quotation 8">
    <p:spTree>
      <p:nvGrpSpPr>
        <p:cNvPr id="1" name="Shape 16573"/>
        <p:cNvGrpSpPr/>
        <p:nvPr/>
      </p:nvGrpSpPr>
      <p:grpSpPr>
        <a:xfrm>
          <a:off x="0" y="0"/>
          <a:ext cx="0" cy="0"/>
          <a:chOff x="0" y="0"/>
          <a:chExt cx="0" cy="0"/>
        </a:xfrm>
      </p:grpSpPr>
      <p:sp>
        <p:nvSpPr>
          <p:cNvPr id="16574" name="Google Shape;16574;p141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75" name="Google Shape;16575;p141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76" name="Google Shape;16576;p141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77" name="Google Shape;16577;p141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78" name="Google Shape;16578;p141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79" name="Google Shape;16579;p141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80" name="Google Shape;16580;p1418"/>
          <p:cNvGrpSpPr/>
          <p:nvPr/>
        </p:nvGrpSpPr>
        <p:grpSpPr>
          <a:xfrm>
            <a:off x="7191545" y="0"/>
            <a:ext cx="5000460" cy="1425988"/>
            <a:chOff x="7191545" y="0"/>
            <a:chExt cx="5000460" cy="1425988"/>
          </a:xfrm>
        </p:grpSpPr>
        <p:pic>
          <p:nvPicPr>
            <p:cNvPr id="16581" name="Google Shape;16581;p141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82" name="Google Shape;16582;p1418"/>
            <p:cNvGrpSpPr/>
            <p:nvPr/>
          </p:nvGrpSpPr>
          <p:grpSpPr>
            <a:xfrm>
              <a:off x="7191545" y="0"/>
              <a:ext cx="5000460" cy="1425988"/>
              <a:chOff x="7191545" y="0"/>
              <a:chExt cx="5000460" cy="1425988"/>
            </a:xfrm>
          </p:grpSpPr>
          <p:sp>
            <p:nvSpPr>
              <p:cNvPr id="16583" name="Google Shape;16583;p141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84" name="Google Shape;16584;p141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85" name="Google Shape;16585;p141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598008768"/>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matchingName="1_Quotation 8">
  <p:cSld name="1_Quotation 8">
    <p:spTree>
      <p:nvGrpSpPr>
        <p:cNvPr id="1" name="Shape 16586"/>
        <p:cNvGrpSpPr/>
        <p:nvPr/>
      </p:nvGrpSpPr>
      <p:grpSpPr>
        <a:xfrm>
          <a:off x="0" y="0"/>
          <a:ext cx="0" cy="0"/>
          <a:chOff x="0" y="0"/>
          <a:chExt cx="0" cy="0"/>
        </a:xfrm>
      </p:grpSpPr>
      <p:sp>
        <p:nvSpPr>
          <p:cNvPr id="16587" name="Google Shape;16587;p141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88" name="Google Shape;16588;p141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89" name="Google Shape;16589;p141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590" name="Google Shape;16590;p141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91" name="Google Shape;16591;p141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92" name="Google Shape;16592;p141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93" name="Google Shape;16593;p1419"/>
          <p:cNvGrpSpPr/>
          <p:nvPr/>
        </p:nvGrpSpPr>
        <p:grpSpPr>
          <a:xfrm>
            <a:off x="7191545" y="0"/>
            <a:ext cx="5000460" cy="1425988"/>
            <a:chOff x="7191545" y="0"/>
            <a:chExt cx="5000460" cy="1425988"/>
          </a:xfrm>
        </p:grpSpPr>
        <p:pic>
          <p:nvPicPr>
            <p:cNvPr id="16594" name="Google Shape;16594;p141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95" name="Google Shape;16595;p1419"/>
            <p:cNvGrpSpPr/>
            <p:nvPr/>
          </p:nvGrpSpPr>
          <p:grpSpPr>
            <a:xfrm>
              <a:off x="7191545" y="0"/>
              <a:ext cx="5000460" cy="1425988"/>
              <a:chOff x="7191545" y="0"/>
              <a:chExt cx="5000460" cy="1425988"/>
            </a:xfrm>
          </p:grpSpPr>
          <p:sp>
            <p:nvSpPr>
              <p:cNvPr id="16596" name="Google Shape;16596;p141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97" name="Google Shape;16597;p141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98" name="Google Shape;16598;p141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1973169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36"/>
        <p:cNvGrpSpPr/>
        <p:nvPr/>
      </p:nvGrpSpPr>
      <p:grpSpPr>
        <a:xfrm>
          <a:off x="0" y="0"/>
          <a:ext cx="0" cy="0"/>
          <a:chOff x="0" y="0"/>
          <a:chExt cx="0" cy="0"/>
        </a:xfrm>
      </p:grpSpPr>
      <p:sp>
        <p:nvSpPr>
          <p:cNvPr id="1037" name="Google Shape;1037;p10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8" name="Google Shape;1038;p10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 name="Google Shape;1039;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40" name="Google Shape;1040;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1" name="Google Shape;104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42" name="Google Shape;1042;p10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3" name="Google Shape;1043;p10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4" name="Google Shape;1044;p10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45" name="Google Shape;1045;p10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matchingName="Cover 7">
  <p:cSld name="Cover 7">
    <p:spTree>
      <p:nvGrpSpPr>
        <p:cNvPr id="1" name="Shape 16599"/>
        <p:cNvGrpSpPr/>
        <p:nvPr/>
      </p:nvGrpSpPr>
      <p:grpSpPr>
        <a:xfrm>
          <a:off x="0" y="0"/>
          <a:ext cx="0" cy="0"/>
          <a:chOff x="0" y="0"/>
          <a:chExt cx="0" cy="0"/>
        </a:xfrm>
      </p:grpSpPr>
      <p:sp>
        <p:nvSpPr>
          <p:cNvPr id="16600" name="Google Shape;16600;p1420"/>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01" name="Google Shape;16601;p142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02" name="Google Shape;16602;p142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603" name="Google Shape;16603;p1420"/>
          <p:cNvGrpSpPr/>
          <p:nvPr/>
        </p:nvGrpSpPr>
        <p:grpSpPr>
          <a:xfrm>
            <a:off x="0" y="5020350"/>
            <a:ext cx="12191996" cy="1837651"/>
            <a:chOff x="0" y="5020348"/>
            <a:chExt cx="12191996" cy="1837651"/>
          </a:xfrm>
        </p:grpSpPr>
        <p:sp>
          <p:nvSpPr>
            <p:cNvPr id="16604" name="Google Shape;16604;p142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05" name="Google Shape;16605;p142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606" name="Google Shape;16606;p142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352120301"/>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Divider 8">
  <p:cSld name="Divider 8">
    <p:spTree>
      <p:nvGrpSpPr>
        <p:cNvPr id="1" name="Shape 16607"/>
        <p:cNvGrpSpPr/>
        <p:nvPr/>
      </p:nvGrpSpPr>
      <p:grpSpPr>
        <a:xfrm>
          <a:off x="0" y="0"/>
          <a:ext cx="0" cy="0"/>
          <a:chOff x="0" y="0"/>
          <a:chExt cx="0" cy="0"/>
        </a:xfrm>
      </p:grpSpPr>
      <p:grpSp>
        <p:nvGrpSpPr>
          <p:cNvPr id="16608" name="Google Shape;16608;p1421"/>
          <p:cNvGrpSpPr/>
          <p:nvPr/>
        </p:nvGrpSpPr>
        <p:grpSpPr>
          <a:xfrm>
            <a:off x="0" y="5020350"/>
            <a:ext cx="12191996" cy="1837651"/>
            <a:chOff x="0" y="5020348"/>
            <a:chExt cx="12191996" cy="1837651"/>
          </a:xfrm>
        </p:grpSpPr>
        <p:sp>
          <p:nvSpPr>
            <p:cNvPr id="16609" name="Google Shape;16609;p142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10" name="Google Shape;16610;p142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11" name="Google Shape;16611;p142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612" name="Google Shape;16612;p142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613" name="Google Shape;16613;p1421"/>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14" name="Google Shape;16614;p142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32047239"/>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matchingName="Photo Slide 7">
  <p:cSld name="Photo Slide 7">
    <p:spTree>
      <p:nvGrpSpPr>
        <p:cNvPr id="1" name="Shape 16615"/>
        <p:cNvGrpSpPr/>
        <p:nvPr/>
      </p:nvGrpSpPr>
      <p:grpSpPr>
        <a:xfrm>
          <a:off x="0" y="0"/>
          <a:ext cx="0" cy="0"/>
          <a:chOff x="0" y="0"/>
          <a:chExt cx="0" cy="0"/>
        </a:xfrm>
      </p:grpSpPr>
      <p:sp>
        <p:nvSpPr>
          <p:cNvPr id="16616" name="Google Shape;16616;p142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617" name="Google Shape;16617;p1422"/>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618" name="Google Shape;16618;p1422"/>
          <p:cNvGrpSpPr/>
          <p:nvPr/>
        </p:nvGrpSpPr>
        <p:grpSpPr>
          <a:xfrm>
            <a:off x="2" y="5379426"/>
            <a:ext cx="2807363" cy="753895"/>
            <a:chOff x="0" y="5379424"/>
            <a:chExt cx="2807363" cy="753895"/>
          </a:xfrm>
        </p:grpSpPr>
        <p:sp>
          <p:nvSpPr>
            <p:cNvPr id="16619" name="Google Shape;16619;p142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0" name="Google Shape;16620;p142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621" name="Google Shape;16621;p1422"/>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993328701"/>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matchingName="Quotation 9">
  <p:cSld name="Quotation 9">
    <p:spTree>
      <p:nvGrpSpPr>
        <p:cNvPr id="1" name="Shape 16622"/>
        <p:cNvGrpSpPr/>
        <p:nvPr/>
      </p:nvGrpSpPr>
      <p:grpSpPr>
        <a:xfrm>
          <a:off x="0" y="0"/>
          <a:ext cx="0" cy="0"/>
          <a:chOff x="0" y="0"/>
          <a:chExt cx="0" cy="0"/>
        </a:xfrm>
      </p:grpSpPr>
      <p:sp>
        <p:nvSpPr>
          <p:cNvPr id="16623" name="Google Shape;16623;p142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4" name="Google Shape;16624;p14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25" name="Google Shape;16625;p142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26" name="Google Shape;16626;p142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27" name="Google Shape;16627;p1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28" name="Google Shape;16628;p142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29" name="Google Shape;16629;p1423"/>
          <p:cNvGrpSpPr/>
          <p:nvPr/>
        </p:nvGrpSpPr>
        <p:grpSpPr>
          <a:xfrm>
            <a:off x="7191545" y="0"/>
            <a:ext cx="5000460" cy="1425988"/>
            <a:chOff x="7191545" y="0"/>
            <a:chExt cx="5000460" cy="1425988"/>
          </a:xfrm>
        </p:grpSpPr>
        <p:pic>
          <p:nvPicPr>
            <p:cNvPr id="16630" name="Google Shape;16630;p1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31" name="Google Shape;16631;p1423"/>
            <p:cNvGrpSpPr/>
            <p:nvPr/>
          </p:nvGrpSpPr>
          <p:grpSpPr>
            <a:xfrm>
              <a:off x="7191545" y="0"/>
              <a:ext cx="5000460" cy="1425988"/>
              <a:chOff x="7191545" y="0"/>
              <a:chExt cx="5000460" cy="1425988"/>
            </a:xfrm>
          </p:grpSpPr>
          <p:sp>
            <p:nvSpPr>
              <p:cNvPr id="16632" name="Google Shape;16632;p1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33" name="Google Shape;16633;p1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34" name="Google Shape;16634;p142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647892732"/>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matchingName="Quotation 10">
  <p:cSld name="Quotation 10">
    <p:spTree>
      <p:nvGrpSpPr>
        <p:cNvPr id="1" name="Shape 16635"/>
        <p:cNvGrpSpPr/>
        <p:nvPr/>
      </p:nvGrpSpPr>
      <p:grpSpPr>
        <a:xfrm>
          <a:off x="0" y="0"/>
          <a:ext cx="0" cy="0"/>
          <a:chOff x="0" y="0"/>
          <a:chExt cx="0" cy="0"/>
        </a:xfrm>
      </p:grpSpPr>
      <p:sp>
        <p:nvSpPr>
          <p:cNvPr id="16636" name="Google Shape;16636;p142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37" name="Google Shape;16637;p142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38" name="Google Shape;16638;p1424"/>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39" name="Google Shape;16639;p142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40" name="Google Shape;16640;p1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41" name="Google Shape;16641;p142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42" name="Google Shape;16642;p1424"/>
          <p:cNvGrpSpPr/>
          <p:nvPr/>
        </p:nvGrpSpPr>
        <p:grpSpPr>
          <a:xfrm>
            <a:off x="7191545" y="0"/>
            <a:ext cx="5000460" cy="1425988"/>
            <a:chOff x="7191545" y="0"/>
            <a:chExt cx="5000460" cy="1425988"/>
          </a:xfrm>
        </p:grpSpPr>
        <p:pic>
          <p:nvPicPr>
            <p:cNvPr id="16643" name="Google Shape;16643;p1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44" name="Google Shape;16644;p1424"/>
            <p:cNvGrpSpPr/>
            <p:nvPr/>
          </p:nvGrpSpPr>
          <p:grpSpPr>
            <a:xfrm>
              <a:off x="7191545" y="0"/>
              <a:ext cx="5000460" cy="1425988"/>
              <a:chOff x="7191545" y="0"/>
              <a:chExt cx="5000460" cy="1425988"/>
            </a:xfrm>
          </p:grpSpPr>
          <p:sp>
            <p:nvSpPr>
              <p:cNvPr id="16645" name="Google Shape;16645;p1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46" name="Google Shape;16646;p1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47" name="Google Shape;16647;p1424"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370053159"/>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matchingName="1_Quotation 9">
  <p:cSld name="1_Quotation 9">
    <p:spTree>
      <p:nvGrpSpPr>
        <p:cNvPr id="1" name="Shape 16648"/>
        <p:cNvGrpSpPr/>
        <p:nvPr/>
      </p:nvGrpSpPr>
      <p:grpSpPr>
        <a:xfrm>
          <a:off x="0" y="0"/>
          <a:ext cx="0" cy="0"/>
          <a:chOff x="0" y="0"/>
          <a:chExt cx="0" cy="0"/>
        </a:xfrm>
      </p:grpSpPr>
      <p:sp>
        <p:nvSpPr>
          <p:cNvPr id="16649" name="Google Shape;16649;p14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50" name="Google Shape;16650;p14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51" name="Google Shape;16651;p142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52" name="Google Shape;16652;p142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53" name="Google Shape;16653;p14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54" name="Google Shape;16654;p142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55" name="Google Shape;16655;p1425"/>
          <p:cNvGrpSpPr/>
          <p:nvPr/>
        </p:nvGrpSpPr>
        <p:grpSpPr>
          <a:xfrm>
            <a:off x="7191545" y="0"/>
            <a:ext cx="5000460" cy="1425988"/>
            <a:chOff x="7191545" y="0"/>
            <a:chExt cx="5000460" cy="1425988"/>
          </a:xfrm>
        </p:grpSpPr>
        <p:pic>
          <p:nvPicPr>
            <p:cNvPr id="16656" name="Google Shape;16656;p14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57" name="Google Shape;16657;p1425"/>
            <p:cNvGrpSpPr/>
            <p:nvPr/>
          </p:nvGrpSpPr>
          <p:grpSpPr>
            <a:xfrm>
              <a:off x="7191545" y="0"/>
              <a:ext cx="5000460" cy="1425988"/>
              <a:chOff x="7191545" y="0"/>
              <a:chExt cx="5000460" cy="1425988"/>
            </a:xfrm>
          </p:grpSpPr>
          <p:sp>
            <p:nvSpPr>
              <p:cNvPr id="16658" name="Google Shape;16658;p14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59" name="Google Shape;16659;p14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60" name="Google Shape;16660;p142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142793923"/>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matchingName="1_Quotation 10">
  <p:cSld name="1_Quotation 10">
    <p:spTree>
      <p:nvGrpSpPr>
        <p:cNvPr id="1" name="Shape 16661"/>
        <p:cNvGrpSpPr/>
        <p:nvPr/>
      </p:nvGrpSpPr>
      <p:grpSpPr>
        <a:xfrm>
          <a:off x="0" y="0"/>
          <a:ext cx="0" cy="0"/>
          <a:chOff x="0" y="0"/>
          <a:chExt cx="0" cy="0"/>
        </a:xfrm>
      </p:grpSpPr>
      <p:sp>
        <p:nvSpPr>
          <p:cNvPr id="16662" name="Google Shape;16662;p14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63" name="Google Shape;16663;p1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64" name="Google Shape;16664;p142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65" name="Google Shape;16665;p142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66" name="Google Shape;16666;p1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67" name="Google Shape;16667;p142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68" name="Google Shape;16668;p1426"/>
          <p:cNvGrpSpPr/>
          <p:nvPr/>
        </p:nvGrpSpPr>
        <p:grpSpPr>
          <a:xfrm>
            <a:off x="7191545" y="0"/>
            <a:ext cx="5000460" cy="1425988"/>
            <a:chOff x="7191545" y="0"/>
            <a:chExt cx="5000460" cy="1425988"/>
          </a:xfrm>
        </p:grpSpPr>
        <p:pic>
          <p:nvPicPr>
            <p:cNvPr id="16669" name="Google Shape;16669;p1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0" name="Google Shape;16670;p1426"/>
            <p:cNvGrpSpPr/>
            <p:nvPr/>
          </p:nvGrpSpPr>
          <p:grpSpPr>
            <a:xfrm>
              <a:off x="7191545" y="0"/>
              <a:ext cx="5000460" cy="1425988"/>
              <a:chOff x="7191545" y="0"/>
              <a:chExt cx="5000460" cy="1425988"/>
            </a:xfrm>
          </p:grpSpPr>
          <p:sp>
            <p:nvSpPr>
              <p:cNvPr id="16671" name="Google Shape;16671;p1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2" name="Google Shape;16672;p1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73" name="Google Shape;16673;p142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132063724"/>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matchingName="Title and Content 10">
  <p:cSld name="Title and Content 10">
    <p:spTree>
      <p:nvGrpSpPr>
        <p:cNvPr id="1" name="Shape 16674"/>
        <p:cNvGrpSpPr/>
        <p:nvPr/>
      </p:nvGrpSpPr>
      <p:grpSpPr>
        <a:xfrm>
          <a:off x="0" y="0"/>
          <a:ext cx="0" cy="0"/>
          <a:chOff x="0" y="0"/>
          <a:chExt cx="0" cy="0"/>
        </a:xfrm>
      </p:grpSpPr>
      <p:grpSp>
        <p:nvGrpSpPr>
          <p:cNvPr id="16675" name="Google Shape;16675;p1427"/>
          <p:cNvGrpSpPr/>
          <p:nvPr/>
        </p:nvGrpSpPr>
        <p:grpSpPr>
          <a:xfrm>
            <a:off x="7191545" y="0"/>
            <a:ext cx="5000460" cy="1425988"/>
            <a:chOff x="7191545" y="0"/>
            <a:chExt cx="5000460" cy="1425988"/>
          </a:xfrm>
        </p:grpSpPr>
        <p:pic>
          <p:nvPicPr>
            <p:cNvPr id="16676" name="Google Shape;16676;p1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7" name="Google Shape;16677;p1427"/>
            <p:cNvGrpSpPr/>
            <p:nvPr/>
          </p:nvGrpSpPr>
          <p:grpSpPr>
            <a:xfrm>
              <a:off x="7191545" y="0"/>
              <a:ext cx="5000460" cy="1425988"/>
              <a:chOff x="7191545" y="0"/>
              <a:chExt cx="5000460" cy="1425988"/>
            </a:xfrm>
          </p:grpSpPr>
          <p:sp>
            <p:nvSpPr>
              <p:cNvPr id="16678" name="Google Shape;16678;p1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9" name="Google Shape;16679;p1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80" name="Google Shape;16680;p142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1" name="Google Shape;16681;p142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82" name="Google Shape;16682;p142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83" name="Google Shape;16683;p1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84" name="Google Shape;16684;p142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07038966"/>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matchingName="Two Content 6">
  <p:cSld name="Two Content 6">
    <p:spTree>
      <p:nvGrpSpPr>
        <p:cNvPr id="1" name="Shape 16685"/>
        <p:cNvGrpSpPr/>
        <p:nvPr/>
      </p:nvGrpSpPr>
      <p:grpSpPr>
        <a:xfrm>
          <a:off x="0" y="0"/>
          <a:ext cx="0" cy="0"/>
          <a:chOff x="0" y="0"/>
          <a:chExt cx="0" cy="0"/>
        </a:xfrm>
      </p:grpSpPr>
      <p:sp>
        <p:nvSpPr>
          <p:cNvPr id="16686" name="Google Shape;16686;p142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7" name="Google Shape;16687;p142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688" name="Google Shape;16688;p1428"/>
          <p:cNvGrpSpPr/>
          <p:nvPr/>
        </p:nvGrpSpPr>
        <p:grpSpPr>
          <a:xfrm>
            <a:off x="7191545" y="0"/>
            <a:ext cx="5000460" cy="1425988"/>
            <a:chOff x="7191545" y="0"/>
            <a:chExt cx="5000460" cy="1425988"/>
          </a:xfrm>
        </p:grpSpPr>
        <p:pic>
          <p:nvPicPr>
            <p:cNvPr id="16689" name="Google Shape;16689;p1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90" name="Google Shape;16690;p1428"/>
            <p:cNvGrpSpPr/>
            <p:nvPr/>
          </p:nvGrpSpPr>
          <p:grpSpPr>
            <a:xfrm>
              <a:off x="7191545" y="0"/>
              <a:ext cx="5000460" cy="1425988"/>
              <a:chOff x="7191545" y="0"/>
              <a:chExt cx="5000460" cy="1425988"/>
            </a:xfrm>
          </p:grpSpPr>
          <p:sp>
            <p:nvSpPr>
              <p:cNvPr id="16691" name="Google Shape;16691;p1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92" name="Google Shape;16692;p1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93" name="Google Shape;16693;p142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694" name="Google Shape;16694;p142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95" name="Google Shape;16695;p1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96" name="Google Shape;16696;p142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8993259"/>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matchingName="Comparison 5">
  <p:cSld name="Comparison 5">
    <p:spTree>
      <p:nvGrpSpPr>
        <p:cNvPr id="1" name="Shape 16697"/>
        <p:cNvGrpSpPr/>
        <p:nvPr/>
      </p:nvGrpSpPr>
      <p:grpSpPr>
        <a:xfrm>
          <a:off x="0" y="0"/>
          <a:ext cx="0" cy="0"/>
          <a:chOff x="0" y="0"/>
          <a:chExt cx="0" cy="0"/>
        </a:xfrm>
      </p:grpSpPr>
      <p:grpSp>
        <p:nvGrpSpPr>
          <p:cNvPr id="16698" name="Google Shape;16698;p1429"/>
          <p:cNvGrpSpPr/>
          <p:nvPr/>
        </p:nvGrpSpPr>
        <p:grpSpPr>
          <a:xfrm>
            <a:off x="7191545" y="0"/>
            <a:ext cx="5000460" cy="1425988"/>
            <a:chOff x="7191545" y="0"/>
            <a:chExt cx="5000460" cy="1425988"/>
          </a:xfrm>
        </p:grpSpPr>
        <p:pic>
          <p:nvPicPr>
            <p:cNvPr id="16699" name="Google Shape;16699;p1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00" name="Google Shape;16700;p1429"/>
            <p:cNvGrpSpPr/>
            <p:nvPr/>
          </p:nvGrpSpPr>
          <p:grpSpPr>
            <a:xfrm>
              <a:off x="7191545" y="0"/>
              <a:ext cx="5000460" cy="1425988"/>
              <a:chOff x="7191545" y="0"/>
              <a:chExt cx="5000460" cy="1425988"/>
            </a:xfrm>
          </p:grpSpPr>
          <p:sp>
            <p:nvSpPr>
              <p:cNvPr id="16701" name="Google Shape;16701;p1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02" name="Google Shape;16702;p1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03" name="Google Shape;16703;p142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04" name="Google Shape;16704;p142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5" name="Google Shape;16705;p1429"/>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6" name="Google Shape;16706;p1429"/>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7" name="Google Shape;16707;p1429"/>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08" name="Google Shape;16708;p142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09" name="Google Shape;16709;p1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10" name="Google Shape;16710;p142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235933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46"/>
        <p:cNvGrpSpPr/>
        <p:nvPr/>
      </p:nvGrpSpPr>
      <p:grpSpPr>
        <a:xfrm>
          <a:off x="0" y="0"/>
          <a:ext cx="0" cy="0"/>
          <a:chOff x="0" y="0"/>
          <a:chExt cx="0" cy="0"/>
        </a:xfrm>
      </p:grpSpPr>
      <p:sp>
        <p:nvSpPr>
          <p:cNvPr id="1047" name="Google Shape;1047;p10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8" name="Google Shape;1048;p10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049" name="Google Shape;1049;p1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0" name="Google Shape;1050;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1" name="Google Shape;1051;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Title Only 5">
  <p:cSld name="Title Only 5">
    <p:spTree>
      <p:nvGrpSpPr>
        <p:cNvPr id="1" name="Shape 16711"/>
        <p:cNvGrpSpPr/>
        <p:nvPr/>
      </p:nvGrpSpPr>
      <p:grpSpPr>
        <a:xfrm>
          <a:off x="0" y="0"/>
          <a:ext cx="0" cy="0"/>
          <a:chOff x="0" y="0"/>
          <a:chExt cx="0" cy="0"/>
        </a:xfrm>
      </p:grpSpPr>
      <p:grpSp>
        <p:nvGrpSpPr>
          <p:cNvPr id="16712" name="Google Shape;16712;p1430"/>
          <p:cNvGrpSpPr/>
          <p:nvPr/>
        </p:nvGrpSpPr>
        <p:grpSpPr>
          <a:xfrm>
            <a:off x="7191545" y="0"/>
            <a:ext cx="5000460" cy="1425988"/>
            <a:chOff x="7191545" y="0"/>
            <a:chExt cx="5000460" cy="1425988"/>
          </a:xfrm>
        </p:grpSpPr>
        <p:pic>
          <p:nvPicPr>
            <p:cNvPr id="16713" name="Google Shape;16713;p143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14" name="Google Shape;16714;p1430"/>
            <p:cNvGrpSpPr/>
            <p:nvPr/>
          </p:nvGrpSpPr>
          <p:grpSpPr>
            <a:xfrm>
              <a:off x="7191545" y="0"/>
              <a:ext cx="5000460" cy="1425988"/>
              <a:chOff x="7191545" y="0"/>
              <a:chExt cx="5000460" cy="1425988"/>
            </a:xfrm>
          </p:grpSpPr>
          <p:sp>
            <p:nvSpPr>
              <p:cNvPr id="16715" name="Google Shape;16715;p143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16" name="Google Shape;16716;p143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17" name="Google Shape;16717;p143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18" name="Google Shape;16718;p143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19" name="Google Shape;16719;p143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20" name="Google Shape;16720;p143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43767794"/>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End 6">
  <p:cSld name="End 6">
    <p:spTree>
      <p:nvGrpSpPr>
        <p:cNvPr id="1" name="Shape 16721"/>
        <p:cNvGrpSpPr/>
        <p:nvPr/>
      </p:nvGrpSpPr>
      <p:grpSpPr>
        <a:xfrm>
          <a:off x="0" y="0"/>
          <a:ext cx="0" cy="0"/>
          <a:chOff x="0" y="0"/>
          <a:chExt cx="0" cy="0"/>
        </a:xfrm>
      </p:grpSpPr>
      <p:grpSp>
        <p:nvGrpSpPr>
          <p:cNvPr id="16722" name="Google Shape;16722;p1431"/>
          <p:cNvGrpSpPr/>
          <p:nvPr/>
        </p:nvGrpSpPr>
        <p:grpSpPr>
          <a:xfrm>
            <a:off x="0" y="0"/>
            <a:ext cx="12191996" cy="2148830"/>
            <a:chOff x="0" y="0"/>
            <a:chExt cx="12191996" cy="2148830"/>
          </a:xfrm>
        </p:grpSpPr>
        <p:sp>
          <p:nvSpPr>
            <p:cNvPr id="16723" name="Google Shape;16723;p143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24" name="Google Shape;16724;p143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725" name="Google Shape;16725;p1431"/>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26" name="Google Shape;16726;p1431"/>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27" name="Google Shape;16727;p143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728" name="Google Shape;16728;p143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72783413"/>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matchingName="Blank 4">
  <p:cSld name="Blank 4">
    <p:spTree>
      <p:nvGrpSpPr>
        <p:cNvPr id="1" name="Shape 16729"/>
        <p:cNvGrpSpPr/>
        <p:nvPr/>
      </p:nvGrpSpPr>
      <p:grpSpPr>
        <a:xfrm>
          <a:off x="0" y="0"/>
          <a:ext cx="0" cy="0"/>
          <a:chOff x="0" y="0"/>
          <a:chExt cx="0" cy="0"/>
        </a:xfrm>
      </p:grpSpPr>
      <p:sp>
        <p:nvSpPr>
          <p:cNvPr id="16730" name="Google Shape;16730;p143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31" name="Google Shape;16731;p14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32" name="Google Shape;16732;p143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33" name="Google Shape;16733;p1432"/>
          <p:cNvGrpSpPr/>
          <p:nvPr/>
        </p:nvGrpSpPr>
        <p:grpSpPr>
          <a:xfrm>
            <a:off x="7191545" y="0"/>
            <a:ext cx="5000460" cy="1425988"/>
            <a:chOff x="7191545" y="0"/>
            <a:chExt cx="5000460" cy="1425988"/>
          </a:xfrm>
        </p:grpSpPr>
        <p:pic>
          <p:nvPicPr>
            <p:cNvPr id="16734" name="Google Shape;16734;p14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35" name="Google Shape;16735;p1432"/>
            <p:cNvGrpSpPr/>
            <p:nvPr/>
          </p:nvGrpSpPr>
          <p:grpSpPr>
            <a:xfrm>
              <a:off x="7191545" y="0"/>
              <a:ext cx="5000460" cy="1425988"/>
              <a:chOff x="7191545" y="0"/>
              <a:chExt cx="5000460" cy="1425988"/>
            </a:xfrm>
          </p:grpSpPr>
          <p:sp>
            <p:nvSpPr>
              <p:cNvPr id="16736" name="Google Shape;16736;p14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37" name="Google Shape;16737;p14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587382550"/>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Cover 8">
  <p:cSld name="Cover 8">
    <p:spTree>
      <p:nvGrpSpPr>
        <p:cNvPr id="1" name="Shape 16738"/>
        <p:cNvGrpSpPr/>
        <p:nvPr/>
      </p:nvGrpSpPr>
      <p:grpSpPr>
        <a:xfrm>
          <a:off x="0" y="0"/>
          <a:ext cx="0" cy="0"/>
          <a:chOff x="0" y="0"/>
          <a:chExt cx="0" cy="0"/>
        </a:xfrm>
      </p:grpSpPr>
      <p:sp>
        <p:nvSpPr>
          <p:cNvPr id="16739" name="Google Shape;16739;p1433"/>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40" name="Google Shape;16740;p1433"/>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41" name="Google Shape;16741;p1433"/>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742" name="Google Shape;16742;p1433"/>
          <p:cNvGrpSpPr/>
          <p:nvPr/>
        </p:nvGrpSpPr>
        <p:grpSpPr>
          <a:xfrm>
            <a:off x="0" y="5020350"/>
            <a:ext cx="12191996" cy="1837651"/>
            <a:chOff x="0" y="5020348"/>
            <a:chExt cx="12191996" cy="1837651"/>
          </a:xfrm>
        </p:grpSpPr>
        <p:sp>
          <p:nvSpPr>
            <p:cNvPr id="16743" name="Google Shape;16743;p143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44" name="Google Shape;16744;p143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745" name="Google Shape;16745;p143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627804755"/>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matchingName="Divider 9">
  <p:cSld name="Divider 9">
    <p:spTree>
      <p:nvGrpSpPr>
        <p:cNvPr id="1" name="Shape 16746"/>
        <p:cNvGrpSpPr/>
        <p:nvPr/>
      </p:nvGrpSpPr>
      <p:grpSpPr>
        <a:xfrm>
          <a:off x="0" y="0"/>
          <a:ext cx="0" cy="0"/>
          <a:chOff x="0" y="0"/>
          <a:chExt cx="0" cy="0"/>
        </a:xfrm>
      </p:grpSpPr>
      <p:grpSp>
        <p:nvGrpSpPr>
          <p:cNvPr id="16747" name="Google Shape;16747;p1434"/>
          <p:cNvGrpSpPr/>
          <p:nvPr/>
        </p:nvGrpSpPr>
        <p:grpSpPr>
          <a:xfrm>
            <a:off x="0" y="5020350"/>
            <a:ext cx="12191996" cy="1837651"/>
            <a:chOff x="0" y="5020348"/>
            <a:chExt cx="12191996" cy="1837651"/>
          </a:xfrm>
        </p:grpSpPr>
        <p:sp>
          <p:nvSpPr>
            <p:cNvPr id="16748" name="Google Shape;16748;p1434"/>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49" name="Google Shape;16749;p143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50" name="Google Shape;16750;p143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751" name="Google Shape;16751;p143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752" name="Google Shape;16752;p1434"/>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53" name="Google Shape;16753;p1434"/>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15610011"/>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matchingName="Quotation 11">
  <p:cSld name="Quotation 11">
    <p:spTree>
      <p:nvGrpSpPr>
        <p:cNvPr id="1" name="Shape 16754"/>
        <p:cNvGrpSpPr/>
        <p:nvPr/>
      </p:nvGrpSpPr>
      <p:grpSpPr>
        <a:xfrm>
          <a:off x="0" y="0"/>
          <a:ext cx="0" cy="0"/>
          <a:chOff x="0" y="0"/>
          <a:chExt cx="0" cy="0"/>
        </a:xfrm>
      </p:grpSpPr>
      <p:sp>
        <p:nvSpPr>
          <p:cNvPr id="16755" name="Google Shape;16755;p14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56" name="Google Shape;16756;p14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57" name="Google Shape;16757;p143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58" name="Google Shape;16758;p143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59" name="Google Shape;16759;p1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60" name="Google Shape;16760;p143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61" name="Google Shape;16761;p1435"/>
          <p:cNvGrpSpPr/>
          <p:nvPr/>
        </p:nvGrpSpPr>
        <p:grpSpPr>
          <a:xfrm>
            <a:off x="7191545" y="0"/>
            <a:ext cx="5000460" cy="1425988"/>
            <a:chOff x="7191545" y="0"/>
            <a:chExt cx="5000460" cy="1425988"/>
          </a:xfrm>
        </p:grpSpPr>
        <p:pic>
          <p:nvPicPr>
            <p:cNvPr id="16762" name="Google Shape;16762;p1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63" name="Google Shape;16763;p1435"/>
            <p:cNvGrpSpPr/>
            <p:nvPr/>
          </p:nvGrpSpPr>
          <p:grpSpPr>
            <a:xfrm>
              <a:off x="7191545" y="0"/>
              <a:ext cx="5000460" cy="1425988"/>
              <a:chOff x="7191545" y="0"/>
              <a:chExt cx="5000460" cy="1425988"/>
            </a:xfrm>
          </p:grpSpPr>
          <p:sp>
            <p:nvSpPr>
              <p:cNvPr id="16764" name="Google Shape;16764;p1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65" name="Google Shape;16765;p1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66" name="Google Shape;16766;p143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13825053"/>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matchingName="1_Quotation 11">
  <p:cSld name="1_Quotation 11">
    <p:spTree>
      <p:nvGrpSpPr>
        <p:cNvPr id="1" name="Shape 16767"/>
        <p:cNvGrpSpPr/>
        <p:nvPr/>
      </p:nvGrpSpPr>
      <p:grpSpPr>
        <a:xfrm>
          <a:off x="0" y="0"/>
          <a:ext cx="0" cy="0"/>
          <a:chOff x="0" y="0"/>
          <a:chExt cx="0" cy="0"/>
        </a:xfrm>
      </p:grpSpPr>
      <p:sp>
        <p:nvSpPr>
          <p:cNvPr id="16768" name="Google Shape;16768;p14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69" name="Google Shape;16769;p14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70" name="Google Shape;16770;p143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71" name="Google Shape;16771;p143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72" name="Google Shape;16772;p1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73" name="Google Shape;16773;p143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74" name="Google Shape;16774;p1436"/>
          <p:cNvGrpSpPr/>
          <p:nvPr/>
        </p:nvGrpSpPr>
        <p:grpSpPr>
          <a:xfrm>
            <a:off x="7191545" y="0"/>
            <a:ext cx="5000460" cy="1425988"/>
            <a:chOff x="7191545" y="0"/>
            <a:chExt cx="5000460" cy="1425988"/>
          </a:xfrm>
        </p:grpSpPr>
        <p:pic>
          <p:nvPicPr>
            <p:cNvPr id="16775" name="Google Shape;16775;p1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76" name="Google Shape;16776;p1436"/>
            <p:cNvGrpSpPr/>
            <p:nvPr/>
          </p:nvGrpSpPr>
          <p:grpSpPr>
            <a:xfrm>
              <a:off x="7191545" y="0"/>
              <a:ext cx="5000460" cy="1425988"/>
              <a:chOff x="7191545" y="0"/>
              <a:chExt cx="5000460" cy="1425988"/>
            </a:xfrm>
          </p:grpSpPr>
          <p:sp>
            <p:nvSpPr>
              <p:cNvPr id="16777" name="Google Shape;16777;p1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78" name="Google Shape;16778;p1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79" name="Google Shape;16779;p143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280453934"/>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matchingName="Title and Content 11">
  <p:cSld name="Title and Content 11">
    <p:spTree>
      <p:nvGrpSpPr>
        <p:cNvPr id="1" name="Shape 16780"/>
        <p:cNvGrpSpPr/>
        <p:nvPr/>
      </p:nvGrpSpPr>
      <p:grpSpPr>
        <a:xfrm>
          <a:off x="0" y="0"/>
          <a:ext cx="0" cy="0"/>
          <a:chOff x="0" y="0"/>
          <a:chExt cx="0" cy="0"/>
        </a:xfrm>
      </p:grpSpPr>
      <p:grpSp>
        <p:nvGrpSpPr>
          <p:cNvPr id="16781" name="Google Shape;16781;p1437"/>
          <p:cNvGrpSpPr/>
          <p:nvPr/>
        </p:nvGrpSpPr>
        <p:grpSpPr>
          <a:xfrm>
            <a:off x="7191545" y="0"/>
            <a:ext cx="5000460" cy="1425988"/>
            <a:chOff x="7191545" y="0"/>
            <a:chExt cx="5000460" cy="1425988"/>
          </a:xfrm>
        </p:grpSpPr>
        <p:pic>
          <p:nvPicPr>
            <p:cNvPr id="16782" name="Google Shape;16782;p14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83" name="Google Shape;16783;p1437"/>
            <p:cNvGrpSpPr/>
            <p:nvPr/>
          </p:nvGrpSpPr>
          <p:grpSpPr>
            <a:xfrm>
              <a:off x="7191545" y="0"/>
              <a:ext cx="5000460" cy="1425988"/>
              <a:chOff x="7191545" y="0"/>
              <a:chExt cx="5000460" cy="1425988"/>
            </a:xfrm>
          </p:grpSpPr>
          <p:sp>
            <p:nvSpPr>
              <p:cNvPr id="16784" name="Google Shape;16784;p14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85" name="Google Shape;16785;p14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86" name="Google Shape;16786;p143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87" name="Google Shape;16787;p14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788" name="Google Shape;16788;p143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89" name="Google Shape;16789;p14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90" name="Google Shape;16790;p143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71018777"/>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matchingName="Two Content 7">
  <p:cSld name="Two Content 7">
    <p:spTree>
      <p:nvGrpSpPr>
        <p:cNvPr id="1" name="Shape 16791"/>
        <p:cNvGrpSpPr/>
        <p:nvPr/>
      </p:nvGrpSpPr>
      <p:grpSpPr>
        <a:xfrm>
          <a:off x="0" y="0"/>
          <a:ext cx="0" cy="0"/>
          <a:chOff x="0" y="0"/>
          <a:chExt cx="0" cy="0"/>
        </a:xfrm>
      </p:grpSpPr>
      <p:sp>
        <p:nvSpPr>
          <p:cNvPr id="16792" name="Google Shape;16792;p143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93" name="Google Shape;16793;p143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6794" name="Google Shape;16794;p1438"/>
          <p:cNvGrpSpPr/>
          <p:nvPr/>
        </p:nvGrpSpPr>
        <p:grpSpPr>
          <a:xfrm>
            <a:off x="7191545" y="0"/>
            <a:ext cx="5000460" cy="1425988"/>
            <a:chOff x="7191545" y="0"/>
            <a:chExt cx="5000460" cy="1425988"/>
          </a:xfrm>
        </p:grpSpPr>
        <p:pic>
          <p:nvPicPr>
            <p:cNvPr id="16795" name="Google Shape;16795;p14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96" name="Google Shape;16796;p1438"/>
            <p:cNvGrpSpPr/>
            <p:nvPr/>
          </p:nvGrpSpPr>
          <p:grpSpPr>
            <a:xfrm>
              <a:off x="7191545" y="0"/>
              <a:ext cx="5000460" cy="1425988"/>
              <a:chOff x="7191545" y="0"/>
              <a:chExt cx="5000460" cy="1425988"/>
            </a:xfrm>
          </p:grpSpPr>
          <p:sp>
            <p:nvSpPr>
              <p:cNvPr id="16797" name="Google Shape;16797;p14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98" name="Google Shape;16798;p14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99" name="Google Shape;16799;p143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00" name="Google Shape;16800;p143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01" name="Google Shape;16801;p14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02" name="Google Shape;16802;p143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25037105"/>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matchingName="Comparison 6">
  <p:cSld name="Comparison 6">
    <p:spTree>
      <p:nvGrpSpPr>
        <p:cNvPr id="1" name="Shape 16803"/>
        <p:cNvGrpSpPr/>
        <p:nvPr/>
      </p:nvGrpSpPr>
      <p:grpSpPr>
        <a:xfrm>
          <a:off x="0" y="0"/>
          <a:ext cx="0" cy="0"/>
          <a:chOff x="0" y="0"/>
          <a:chExt cx="0" cy="0"/>
        </a:xfrm>
      </p:grpSpPr>
      <p:grpSp>
        <p:nvGrpSpPr>
          <p:cNvPr id="16804" name="Google Shape;16804;p1439"/>
          <p:cNvGrpSpPr/>
          <p:nvPr/>
        </p:nvGrpSpPr>
        <p:grpSpPr>
          <a:xfrm>
            <a:off x="7191545" y="0"/>
            <a:ext cx="5000460" cy="1425988"/>
            <a:chOff x="7191545" y="0"/>
            <a:chExt cx="5000460" cy="1425988"/>
          </a:xfrm>
        </p:grpSpPr>
        <p:pic>
          <p:nvPicPr>
            <p:cNvPr id="16805" name="Google Shape;16805;p14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06" name="Google Shape;16806;p1439"/>
            <p:cNvGrpSpPr/>
            <p:nvPr/>
          </p:nvGrpSpPr>
          <p:grpSpPr>
            <a:xfrm>
              <a:off x="7191545" y="0"/>
              <a:ext cx="5000460" cy="1425988"/>
              <a:chOff x="7191545" y="0"/>
              <a:chExt cx="5000460" cy="1425988"/>
            </a:xfrm>
          </p:grpSpPr>
          <p:sp>
            <p:nvSpPr>
              <p:cNvPr id="16807" name="Google Shape;16807;p14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08" name="Google Shape;16808;p14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809" name="Google Shape;16809;p143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10" name="Google Shape;16810;p14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1" name="Google Shape;16811;p1439"/>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2" name="Google Shape;16812;p1439"/>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3" name="Google Shape;16813;p1439"/>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14" name="Google Shape;16814;p143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15" name="Google Shape;16815;p14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16" name="Google Shape;16816;p143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223973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59"/>
        <p:cNvGrpSpPr/>
        <p:nvPr/>
      </p:nvGrpSpPr>
      <p:grpSpPr>
        <a:xfrm>
          <a:off x="0" y="0"/>
          <a:ext cx="0" cy="0"/>
          <a:chOff x="0" y="0"/>
          <a:chExt cx="0" cy="0"/>
        </a:xfrm>
      </p:grpSpPr>
      <p:sp>
        <p:nvSpPr>
          <p:cNvPr id="1060" name="Google Shape;1060;p10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1" name="Google Shape;1061;p10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2" name="Google Shape;1062;p10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 name="Google Shape;1063;p10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4" name="Google Shape;1064;p10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 name="Google Shape;1065;p10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6" name="Google Shape;1066;p10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67" name="Google Shape;1067;p10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68" name="Google Shape;1068;p10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matchingName="Photo Slide 8">
  <p:cSld name="Photo Slide 8">
    <p:spTree>
      <p:nvGrpSpPr>
        <p:cNvPr id="1" name="Shape 16817"/>
        <p:cNvGrpSpPr/>
        <p:nvPr/>
      </p:nvGrpSpPr>
      <p:grpSpPr>
        <a:xfrm>
          <a:off x="0" y="0"/>
          <a:ext cx="0" cy="0"/>
          <a:chOff x="0" y="0"/>
          <a:chExt cx="0" cy="0"/>
        </a:xfrm>
      </p:grpSpPr>
      <p:sp>
        <p:nvSpPr>
          <p:cNvPr id="16818" name="Google Shape;16818;p144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819" name="Google Shape;16819;p1440"/>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820" name="Google Shape;16820;p1440"/>
          <p:cNvGrpSpPr/>
          <p:nvPr/>
        </p:nvGrpSpPr>
        <p:grpSpPr>
          <a:xfrm>
            <a:off x="2" y="5379426"/>
            <a:ext cx="2807363" cy="753895"/>
            <a:chOff x="0" y="5379424"/>
            <a:chExt cx="2807363" cy="753895"/>
          </a:xfrm>
        </p:grpSpPr>
        <p:sp>
          <p:nvSpPr>
            <p:cNvPr id="16821" name="Google Shape;16821;p144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2" name="Google Shape;16822;p144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823" name="Google Shape;16823;p1440"/>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242163258"/>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matchingName="End 7">
  <p:cSld name="End 7">
    <p:spTree>
      <p:nvGrpSpPr>
        <p:cNvPr id="1" name="Shape 16824"/>
        <p:cNvGrpSpPr/>
        <p:nvPr/>
      </p:nvGrpSpPr>
      <p:grpSpPr>
        <a:xfrm>
          <a:off x="0" y="0"/>
          <a:ext cx="0" cy="0"/>
          <a:chOff x="0" y="0"/>
          <a:chExt cx="0" cy="0"/>
        </a:xfrm>
      </p:grpSpPr>
      <p:grpSp>
        <p:nvGrpSpPr>
          <p:cNvPr id="16825" name="Google Shape;16825;p1441"/>
          <p:cNvGrpSpPr/>
          <p:nvPr/>
        </p:nvGrpSpPr>
        <p:grpSpPr>
          <a:xfrm>
            <a:off x="0" y="0"/>
            <a:ext cx="12191996" cy="2148830"/>
            <a:chOff x="0" y="0"/>
            <a:chExt cx="12191996" cy="2148830"/>
          </a:xfrm>
        </p:grpSpPr>
        <p:sp>
          <p:nvSpPr>
            <p:cNvPr id="16826" name="Google Shape;16826;p14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27" name="Google Shape;16827;p14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828" name="Google Shape;16828;p1441"/>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9" name="Google Shape;16829;p1441"/>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30" name="Google Shape;16830;p14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831" name="Google Shape;16831;p14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154853713"/>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matchingName="Blank 5">
  <p:cSld name="Blank 5">
    <p:spTree>
      <p:nvGrpSpPr>
        <p:cNvPr id="1" name="Shape 16832"/>
        <p:cNvGrpSpPr/>
        <p:nvPr/>
      </p:nvGrpSpPr>
      <p:grpSpPr>
        <a:xfrm>
          <a:off x="0" y="0"/>
          <a:ext cx="0" cy="0"/>
          <a:chOff x="0" y="0"/>
          <a:chExt cx="0" cy="0"/>
        </a:xfrm>
      </p:grpSpPr>
      <p:sp>
        <p:nvSpPr>
          <p:cNvPr id="16833" name="Google Shape;16833;p144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34" name="Google Shape;16834;p14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35" name="Google Shape;16835;p144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36" name="Google Shape;16836;p1442"/>
          <p:cNvGrpSpPr/>
          <p:nvPr/>
        </p:nvGrpSpPr>
        <p:grpSpPr>
          <a:xfrm>
            <a:off x="7191545" y="0"/>
            <a:ext cx="5000460" cy="1425988"/>
            <a:chOff x="7191545" y="0"/>
            <a:chExt cx="5000460" cy="1425988"/>
          </a:xfrm>
        </p:grpSpPr>
        <p:pic>
          <p:nvPicPr>
            <p:cNvPr id="16837" name="Google Shape;16837;p14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38" name="Google Shape;16838;p1442"/>
            <p:cNvGrpSpPr/>
            <p:nvPr/>
          </p:nvGrpSpPr>
          <p:grpSpPr>
            <a:xfrm>
              <a:off x="7191545" y="0"/>
              <a:ext cx="5000460" cy="1425988"/>
              <a:chOff x="7191545" y="0"/>
              <a:chExt cx="5000460" cy="1425988"/>
            </a:xfrm>
          </p:grpSpPr>
          <p:sp>
            <p:nvSpPr>
              <p:cNvPr id="16839" name="Google Shape;16839;p14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40" name="Google Shape;16840;p14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360550024"/>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matchingName="Title Only 6">
  <p:cSld name="Title Only 6">
    <p:spTree>
      <p:nvGrpSpPr>
        <p:cNvPr id="1" name="Shape 16841"/>
        <p:cNvGrpSpPr/>
        <p:nvPr/>
      </p:nvGrpSpPr>
      <p:grpSpPr>
        <a:xfrm>
          <a:off x="0" y="0"/>
          <a:ext cx="0" cy="0"/>
          <a:chOff x="0" y="0"/>
          <a:chExt cx="0" cy="0"/>
        </a:xfrm>
      </p:grpSpPr>
      <p:grpSp>
        <p:nvGrpSpPr>
          <p:cNvPr id="16842" name="Google Shape;16842;p1443"/>
          <p:cNvGrpSpPr/>
          <p:nvPr/>
        </p:nvGrpSpPr>
        <p:grpSpPr>
          <a:xfrm>
            <a:off x="7191545" y="0"/>
            <a:ext cx="5000460" cy="1425988"/>
            <a:chOff x="7191545" y="0"/>
            <a:chExt cx="5000460" cy="1425988"/>
          </a:xfrm>
        </p:grpSpPr>
        <p:pic>
          <p:nvPicPr>
            <p:cNvPr id="16843" name="Google Shape;16843;p14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44" name="Google Shape;16844;p1443"/>
            <p:cNvGrpSpPr/>
            <p:nvPr/>
          </p:nvGrpSpPr>
          <p:grpSpPr>
            <a:xfrm>
              <a:off x="7191545" y="0"/>
              <a:ext cx="5000460" cy="1425988"/>
              <a:chOff x="7191545" y="0"/>
              <a:chExt cx="5000460" cy="1425988"/>
            </a:xfrm>
          </p:grpSpPr>
          <p:sp>
            <p:nvSpPr>
              <p:cNvPr id="16845" name="Google Shape;16845;p14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46" name="Google Shape;16846;p14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847" name="Google Shape;16847;p144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48" name="Google Shape;16848;p144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49" name="Google Shape;16849;p14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50" name="Google Shape;16850;p144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14949968"/>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matchingName="Cover B 2">
  <p:cSld name="Cover B 2">
    <p:spTree>
      <p:nvGrpSpPr>
        <p:cNvPr id="1" name="Shape 16851"/>
        <p:cNvGrpSpPr/>
        <p:nvPr/>
      </p:nvGrpSpPr>
      <p:grpSpPr>
        <a:xfrm>
          <a:off x="0" y="0"/>
          <a:ext cx="0" cy="0"/>
          <a:chOff x="0" y="0"/>
          <a:chExt cx="0" cy="0"/>
        </a:xfrm>
      </p:grpSpPr>
      <p:sp>
        <p:nvSpPr>
          <p:cNvPr id="16852" name="Google Shape;16852;p1444"/>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3" name="Google Shape;16853;p1444"/>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854" name="Google Shape;16854;p1444"/>
          <p:cNvGrpSpPr/>
          <p:nvPr/>
        </p:nvGrpSpPr>
        <p:grpSpPr>
          <a:xfrm>
            <a:off x="0" y="0"/>
            <a:ext cx="6418722" cy="1509820"/>
            <a:chOff x="0" y="0"/>
            <a:chExt cx="6418722" cy="1509820"/>
          </a:xfrm>
        </p:grpSpPr>
        <p:sp>
          <p:nvSpPr>
            <p:cNvPr id="16855" name="Google Shape;16855;p1444"/>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56" name="Google Shape;16856;p1444"/>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6857" name="Google Shape;16857;p14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6" y="136529"/>
            <a:ext cx="1945203" cy="879972"/>
          </a:xfrm>
          <a:prstGeom prst="rect">
            <a:avLst/>
          </a:prstGeom>
          <a:noFill/>
          <a:ln>
            <a:noFill/>
          </a:ln>
        </p:spPr>
      </p:pic>
    </p:spTree>
    <p:extLst>
      <p:ext uri="{BB962C8B-B14F-4D97-AF65-F5344CB8AC3E}">
        <p14:creationId xmlns:p14="http://schemas.microsoft.com/office/powerpoint/2010/main" val="2698395260"/>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matchingName="Quotation 12">
  <p:cSld name="Quotation 12">
    <p:spTree>
      <p:nvGrpSpPr>
        <p:cNvPr id="1" name="Shape 16858"/>
        <p:cNvGrpSpPr/>
        <p:nvPr/>
      </p:nvGrpSpPr>
      <p:grpSpPr>
        <a:xfrm>
          <a:off x="0" y="0"/>
          <a:ext cx="0" cy="0"/>
          <a:chOff x="0" y="0"/>
          <a:chExt cx="0" cy="0"/>
        </a:xfrm>
      </p:grpSpPr>
      <p:sp>
        <p:nvSpPr>
          <p:cNvPr id="16859" name="Google Shape;16859;p144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60" name="Google Shape;16860;p144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61" name="Google Shape;16861;p144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62" name="Google Shape;16862;p144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63" name="Google Shape;16863;p14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64" name="Google Shape;16864;p144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65" name="Google Shape;16865;p1445"/>
          <p:cNvGrpSpPr/>
          <p:nvPr/>
        </p:nvGrpSpPr>
        <p:grpSpPr>
          <a:xfrm>
            <a:off x="7191545" y="0"/>
            <a:ext cx="5000460" cy="1425988"/>
            <a:chOff x="7191545" y="0"/>
            <a:chExt cx="5000460" cy="1425988"/>
          </a:xfrm>
        </p:grpSpPr>
        <p:pic>
          <p:nvPicPr>
            <p:cNvPr id="16866" name="Google Shape;16866;p14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67" name="Google Shape;16867;p1445"/>
            <p:cNvGrpSpPr/>
            <p:nvPr/>
          </p:nvGrpSpPr>
          <p:grpSpPr>
            <a:xfrm>
              <a:off x="7191545" y="0"/>
              <a:ext cx="5000460" cy="1425988"/>
              <a:chOff x="7191545" y="0"/>
              <a:chExt cx="5000460" cy="1425988"/>
            </a:xfrm>
          </p:grpSpPr>
          <p:sp>
            <p:nvSpPr>
              <p:cNvPr id="16868" name="Google Shape;16868;p14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69" name="Google Shape;16869;p14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70" name="Google Shape;16870;p144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799422726"/>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matchingName="3_Quotation 2">
  <p:cSld name="3_Quotation 2">
    <p:spTree>
      <p:nvGrpSpPr>
        <p:cNvPr id="1" name="Shape 16871"/>
        <p:cNvGrpSpPr/>
        <p:nvPr/>
      </p:nvGrpSpPr>
      <p:grpSpPr>
        <a:xfrm>
          <a:off x="0" y="0"/>
          <a:ext cx="0" cy="0"/>
          <a:chOff x="0" y="0"/>
          <a:chExt cx="0" cy="0"/>
        </a:xfrm>
      </p:grpSpPr>
      <p:sp>
        <p:nvSpPr>
          <p:cNvPr id="16872" name="Google Shape;16872;p144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73" name="Google Shape;16873;p144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74" name="Google Shape;16874;p144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75" name="Google Shape;16875;p144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76" name="Google Shape;16876;p1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77" name="Google Shape;16877;p144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78" name="Google Shape;16878;p1446"/>
          <p:cNvGrpSpPr/>
          <p:nvPr/>
        </p:nvGrpSpPr>
        <p:grpSpPr>
          <a:xfrm>
            <a:off x="7191545" y="0"/>
            <a:ext cx="5000460" cy="1425988"/>
            <a:chOff x="7191545" y="0"/>
            <a:chExt cx="5000460" cy="1425988"/>
          </a:xfrm>
        </p:grpSpPr>
        <p:pic>
          <p:nvPicPr>
            <p:cNvPr id="16879" name="Google Shape;16879;p1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80" name="Google Shape;16880;p1446"/>
            <p:cNvGrpSpPr/>
            <p:nvPr/>
          </p:nvGrpSpPr>
          <p:grpSpPr>
            <a:xfrm>
              <a:off x="7191545" y="0"/>
              <a:ext cx="5000460" cy="1425988"/>
              <a:chOff x="7191545" y="0"/>
              <a:chExt cx="5000460" cy="1425988"/>
            </a:xfrm>
          </p:grpSpPr>
          <p:sp>
            <p:nvSpPr>
              <p:cNvPr id="16881" name="Google Shape;16881;p1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82" name="Google Shape;16882;p1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83" name="Google Shape;16883;p144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546791388"/>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matchingName="Quotation 13">
  <p:cSld name="Quotation 13">
    <p:spTree>
      <p:nvGrpSpPr>
        <p:cNvPr id="1" name="Shape 16884"/>
        <p:cNvGrpSpPr/>
        <p:nvPr/>
      </p:nvGrpSpPr>
      <p:grpSpPr>
        <a:xfrm>
          <a:off x="0" y="0"/>
          <a:ext cx="0" cy="0"/>
          <a:chOff x="0" y="0"/>
          <a:chExt cx="0" cy="0"/>
        </a:xfrm>
      </p:grpSpPr>
      <p:sp>
        <p:nvSpPr>
          <p:cNvPr id="16885" name="Google Shape;16885;p144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86" name="Google Shape;16886;p144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87" name="Google Shape;16887;p144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888" name="Google Shape;16888;p144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89" name="Google Shape;16889;p14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90" name="Google Shape;16890;p144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91" name="Google Shape;16891;p1447"/>
          <p:cNvGrpSpPr/>
          <p:nvPr/>
        </p:nvGrpSpPr>
        <p:grpSpPr>
          <a:xfrm>
            <a:off x="7191545" y="0"/>
            <a:ext cx="5000460" cy="1425988"/>
            <a:chOff x="7191545" y="0"/>
            <a:chExt cx="5000460" cy="1425988"/>
          </a:xfrm>
        </p:grpSpPr>
        <p:pic>
          <p:nvPicPr>
            <p:cNvPr id="16892" name="Google Shape;16892;p14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93" name="Google Shape;16893;p1447"/>
            <p:cNvGrpSpPr/>
            <p:nvPr/>
          </p:nvGrpSpPr>
          <p:grpSpPr>
            <a:xfrm>
              <a:off x="7191545" y="0"/>
              <a:ext cx="5000460" cy="1425988"/>
              <a:chOff x="7191545" y="0"/>
              <a:chExt cx="5000460" cy="1425988"/>
            </a:xfrm>
          </p:grpSpPr>
          <p:sp>
            <p:nvSpPr>
              <p:cNvPr id="16894" name="Google Shape;16894;p14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95" name="Google Shape;16895;p14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96" name="Google Shape;16896;p144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936739318"/>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matchingName="1_Quotation 12">
  <p:cSld name="1_Quotation 12">
    <p:spTree>
      <p:nvGrpSpPr>
        <p:cNvPr id="1" name="Shape 16897"/>
        <p:cNvGrpSpPr/>
        <p:nvPr/>
      </p:nvGrpSpPr>
      <p:grpSpPr>
        <a:xfrm>
          <a:off x="0" y="0"/>
          <a:ext cx="0" cy="0"/>
          <a:chOff x="0" y="0"/>
          <a:chExt cx="0" cy="0"/>
        </a:xfrm>
      </p:grpSpPr>
      <p:sp>
        <p:nvSpPr>
          <p:cNvPr id="16898" name="Google Shape;16898;p14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99" name="Google Shape;16899;p14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00" name="Google Shape;16900;p144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01" name="Google Shape;16901;p144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02" name="Google Shape;16902;p14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03" name="Google Shape;16903;p144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04" name="Google Shape;16904;p1448"/>
          <p:cNvGrpSpPr/>
          <p:nvPr/>
        </p:nvGrpSpPr>
        <p:grpSpPr>
          <a:xfrm>
            <a:off x="7191545" y="0"/>
            <a:ext cx="5000460" cy="1425988"/>
            <a:chOff x="7191545" y="0"/>
            <a:chExt cx="5000460" cy="1425988"/>
          </a:xfrm>
        </p:grpSpPr>
        <p:pic>
          <p:nvPicPr>
            <p:cNvPr id="16905" name="Google Shape;16905;p14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06" name="Google Shape;16906;p1448"/>
            <p:cNvGrpSpPr/>
            <p:nvPr/>
          </p:nvGrpSpPr>
          <p:grpSpPr>
            <a:xfrm>
              <a:off x="7191545" y="0"/>
              <a:ext cx="5000460" cy="1425988"/>
              <a:chOff x="7191545" y="0"/>
              <a:chExt cx="5000460" cy="1425988"/>
            </a:xfrm>
          </p:grpSpPr>
          <p:sp>
            <p:nvSpPr>
              <p:cNvPr id="16907" name="Google Shape;16907;p14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08" name="Google Shape;16908;p14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09" name="Google Shape;16909;p144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016413965"/>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matchingName="4_Quotation 2">
  <p:cSld name="4_Quotation 2">
    <p:spTree>
      <p:nvGrpSpPr>
        <p:cNvPr id="1" name="Shape 16910"/>
        <p:cNvGrpSpPr/>
        <p:nvPr/>
      </p:nvGrpSpPr>
      <p:grpSpPr>
        <a:xfrm>
          <a:off x="0" y="0"/>
          <a:ext cx="0" cy="0"/>
          <a:chOff x="0" y="0"/>
          <a:chExt cx="0" cy="0"/>
        </a:xfrm>
      </p:grpSpPr>
      <p:sp>
        <p:nvSpPr>
          <p:cNvPr id="16911" name="Google Shape;16911;p144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12" name="Google Shape;16912;p144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13" name="Google Shape;16913;p144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14" name="Google Shape;16914;p144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15" name="Google Shape;16915;p14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16" name="Google Shape;16916;p144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17" name="Google Shape;16917;p1449"/>
          <p:cNvGrpSpPr/>
          <p:nvPr/>
        </p:nvGrpSpPr>
        <p:grpSpPr>
          <a:xfrm>
            <a:off x="7191545" y="0"/>
            <a:ext cx="5000460" cy="1425988"/>
            <a:chOff x="7191545" y="0"/>
            <a:chExt cx="5000460" cy="1425988"/>
          </a:xfrm>
        </p:grpSpPr>
        <p:pic>
          <p:nvPicPr>
            <p:cNvPr id="16918" name="Google Shape;16918;p14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19" name="Google Shape;16919;p1449"/>
            <p:cNvGrpSpPr/>
            <p:nvPr/>
          </p:nvGrpSpPr>
          <p:grpSpPr>
            <a:xfrm>
              <a:off x="7191545" y="0"/>
              <a:ext cx="5000460" cy="1425988"/>
              <a:chOff x="7191545" y="0"/>
              <a:chExt cx="5000460" cy="1425988"/>
            </a:xfrm>
          </p:grpSpPr>
          <p:sp>
            <p:nvSpPr>
              <p:cNvPr id="16920" name="Google Shape;16920;p14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21" name="Google Shape;16921;p14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22" name="Google Shape;16922;p144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6135152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69"/>
        <p:cNvGrpSpPr/>
        <p:nvPr/>
      </p:nvGrpSpPr>
      <p:grpSpPr>
        <a:xfrm>
          <a:off x="0" y="0"/>
          <a:ext cx="0" cy="0"/>
          <a:chOff x="0" y="0"/>
          <a:chExt cx="0" cy="0"/>
        </a:xfrm>
      </p:grpSpPr>
      <p:sp>
        <p:nvSpPr>
          <p:cNvPr id="1070" name="Google Shape;1070;p1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 name="Google Shape;107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76" name="Google Shape;1076;p109"/>
          <p:cNvGrpSpPr/>
          <p:nvPr/>
        </p:nvGrpSpPr>
        <p:grpSpPr>
          <a:xfrm>
            <a:off x="7191542" y="1"/>
            <a:ext cx="5000459" cy="1425992"/>
            <a:chOff x="7191542" y="1"/>
            <a:chExt cx="5000459" cy="1425992"/>
          </a:xfrm>
        </p:grpSpPr>
        <p:pic>
          <p:nvPicPr>
            <p:cNvPr id="1077" name="Google Shape;1077;p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8" name="Google Shape;1078;p109"/>
            <p:cNvGrpSpPr/>
            <p:nvPr/>
          </p:nvGrpSpPr>
          <p:grpSpPr>
            <a:xfrm>
              <a:off x="7191542" y="1"/>
              <a:ext cx="5000459" cy="1425992"/>
              <a:chOff x="7186272" y="0"/>
              <a:chExt cx="5005729" cy="1427495"/>
            </a:xfrm>
          </p:grpSpPr>
          <p:sp>
            <p:nvSpPr>
              <p:cNvPr id="1079" name="Google Shape;1079;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1" name="Google Shape;1081;p10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matchingName="1_Quotation 13">
  <p:cSld name="1_Quotation 13">
    <p:spTree>
      <p:nvGrpSpPr>
        <p:cNvPr id="1" name="Shape 16923"/>
        <p:cNvGrpSpPr/>
        <p:nvPr/>
      </p:nvGrpSpPr>
      <p:grpSpPr>
        <a:xfrm>
          <a:off x="0" y="0"/>
          <a:ext cx="0" cy="0"/>
          <a:chOff x="0" y="0"/>
          <a:chExt cx="0" cy="0"/>
        </a:xfrm>
      </p:grpSpPr>
      <p:sp>
        <p:nvSpPr>
          <p:cNvPr id="16924" name="Google Shape;16924;p145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25" name="Google Shape;16925;p145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6" name="Google Shape;16926;p145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27" name="Google Shape;16927;p145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28" name="Google Shape;16928;p14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29" name="Google Shape;16929;p145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30" name="Google Shape;16930;p1450"/>
          <p:cNvGrpSpPr/>
          <p:nvPr/>
        </p:nvGrpSpPr>
        <p:grpSpPr>
          <a:xfrm>
            <a:off x="7191545" y="0"/>
            <a:ext cx="5000460" cy="1425988"/>
            <a:chOff x="7191545" y="0"/>
            <a:chExt cx="5000460" cy="1425988"/>
          </a:xfrm>
        </p:grpSpPr>
        <p:pic>
          <p:nvPicPr>
            <p:cNvPr id="16931" name="Google Shape;16931;p14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32" name="Google Shape;16932;p1450"/>
            <p:cNvGrpSpPr/>
            <p:nvPr/>
          </p:nvGrpSpPr>
          <p:grpSpPr>
            <a:xfrm>
              <a:off x="7191545" y="0"/>
              <a:ext cx="5000460" cy="1425988"/>
              <a:chOff x="7191545" y="0"/>
              <a:chExt cx="5000460" cy="1425988"/>
            </a:xfrm>
          </p:grpSpPr>
          <p:sp>
            <p:nvSpPr>
              <p:cNvPr id="16933" name="Google Shape;16933;p14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4" name="Google Shape;16934;p14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35" name="Google Shape;16935;p145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607467330"/>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6936"/>
        <p:cNvGrpSpPr/>
        <p:nvPr/>
      </p:nvGrpSpPr>
      <p:grpSpPr>
        <a:xfrm>
          <a:off x="0" y="0"/>
          <a:ext cx="0" cy="0"/>
          <a:chOff x="0" y="0"/>
          <a:chExt cx="0" cy="0"/>
        </a:xfrm>
      </p:grpSpPr>
      <p:sp>
        <p:nvSpPr>
          <p:cNvPr id="16937" name="Google Shape;16937;p1451"/>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8" name="Google Shape;16938;p1451"/>
          <p:cNvSpPr/>
          <p:nvPr/>
        </p:nvSpPr>
        <p:spPr>
          <a:xfrm>
            <a:off x="2" y="5100854"/>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39" name="Google Shape;16939;p1451"/>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6940" name="Google Shape;16940;p1451"/>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41" name="Google Shape;16941;p1451"/>
          <p:cNvPicPr preferRelativeResize="0"/>
          <p:nvPr/>
        </p:nvPicPr>
        <p:blipFill rotWithShape="1">
          <a:blip r:embed="rId3">
            <a:alphaModFix/>
          </a:blip>
          <a:srcRect/>
          <a:stretch/>
        </p:blipFill>
        <p:spPr>
          <a:xfrm>
            <a:off x="313960" y="5564126"/>
            <a:ext cx="2025386" cy="911355"/>
          </a:xfrm>
          <a:prstGeom prst="rect">
            <a:avLst/>
          </a:prstGeom>
          <a:noFill/>
          <a:ln>
            <a:noFill/>
          </a:ln>
        </p:spPr>
      </p:pic>
      <p:sp>
        <p:nvSpPr>
          <p:cNvPr id="16942" name="Google Shape;16942;p1451"/>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43" name="Google Shape;16943;p1451"/>
          <p:cNvSpPr txBox="1">
            <a:spLocks noGrp="1"/>
          </p:cNvSpPr>
          <p:nvPr>
            <p:ph type="title"/>
          </p:nvPr>
        </p:nvSpPr>
        <p:spPr>
          <a:xfrm>
            <a:off x="471695" y="365446"/>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4" name="Google Shape;16944;p1451"/>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945" name="Google Shape;16945;p1451"/>
          <p:cNvSpPr txBox="1">
            <a:spLocks noGrp="1"/>
          </p:cNvSpPr>
          <p:nvPr>
            <p:ph type="ftr" idx="11"/>
          </p:nvPr>
        </p:nvSpPr>
        <p:spPr>
          <a:xfrm>
            <a:off x="609603" y="6356353"/>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6" name="Google Shape;16946;p145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6947" name="Google Shape;16947;p1451"/>
          <p:cNvSpPr txBox="1">
            <a:spLocks noGrp="1"/>
          </p:cNvSpPr>
          <p:nvPr>
            <p:ph type="sldNum" idx="12"/>
          </p:nvPr>
        </p:nvSpPr>
        <p:spPr>
          <a:xfrm>
            <a:off x="8839203" y="6356353"/>
            <a:ext cx="2743200" cy="365129"/>
          </a:xfrm>
          <a:prstGeom prst="rect">
            <a:avLst/>
          </a:prstGeom>
          <a:noFill/>
          <a:ln>
            <a:noFill/>
          </a:ln>
        </p:spPr>
        <p:txBody>
          <a:bodyPr spcFirstLastPara="1" wrap="square" lIns="0" tIns="0" rIns="0" bIns="0" anchor="ctr" anchorCtr="0">
            <a:noAutofit/>
          </a:bodyPr>
          <a:lstStyle>
            <a:lvl1pPr marL="38107"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7"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7"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7"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7"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7"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7"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7"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7"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60410178"/>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matchingName="2_Quotation 2">
  <p:cSld name="2_Quotation 2">
    <p:spTree>
      <p:nvGrpSpPr>
        <p:cNvPr id="1" name="Shape 16948"/>
        <p:cNvGrpSpPr/>
        <p:nvPr/>
      </p:nvGrpSpPr>
      <p:grpSpPr>
        <a:xfrm>
          <a:off x="0" y="0"/>
          <a:ext cx="0" cy="0"/>
          <a:chOff x="0" y="0"/>
          <a:chExt cx="0" cy="0"/>
        </a:xfrm>
      </p:grpSpPr>
      <p:sp>
        <p:nvSpPr>
          <p:cNvPr id="16949" name="Google Shape;16949;p145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50" name="Google Shape;16950;p1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51" name="Google Shape;16951;p145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52" name="Google Shape;16952;p145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53" name="Google Shape;16953;p1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54" name="Google Shape;16954;p145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55" name="Google Shape;16955;p1452"/>
          <p:cNvGrpSpPr/>
          <p:nvPr/>
        </p:nvGrpSpPr>
        <p:grpSpPr>
          <a:xfrm>
            <a:off x="7191545" y="0"/>
            <a:ext cx="5000460" cy="1425988"/>
            <a:chOff x="7191545" y="0"/>
            <a:chExt cx="5000460" cy="1425988"/>
          </a:xfrm>
        </p:grpSpPr>
        <p:pic>
          <p:nvPicPr>
            <p:cNvPr id="16956" name="Google Shape;16956;p1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57" name="Google Shape;16957;p1452"/>
            <p:cNvGrpSpPr/>
            <p:nvPr/>
          </p:nvGrpSpPr>
          <p:grpSpPr>
            <a:xfrm>
              <a:off x="7191545" y="0"/>
              <a:ext cx="5000460" cy="1425988"/>
              <a:chOff x="7191545" y="0"/>
              <a:chExt cx="5000460" cy="1425988"/>
            </a:xfrm>
          </p:grpSpPr>
          <p:sp>
            <p:nvSpPr>
              <p:cNvPr id="16958" name="Google Shape;16958;p1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59" name="Google Shape;16959;p1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60" name="Google Shape;16960;p145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616064021"/>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matchingName="5_Quotation 2">
  <p:cSld name="5_Quotation 2">
    <p:spTree>
      <p:nvGrpSpPr>
        <p:cNvPr id="1" name="Shape 16961"/>
        <p:cNvGrpSpPr/>
        <p:nvPr/>
      </p:nvGrpSpPr>
      <p:grpSpPr>
        <a:xfrm>
          <a:off x="0" y="0"/>
          <a:ext cx="0" cy="0"/>
          <a:chOff x="0" y="0"/>
          <a:chExt cx="0" cy="0"/>
        </a:xfrm>
      </p:grpSpPr>
      <p:sp>
        <p:nvSpPr>
          <p:cNvPr id="16962" name="Google Shape;16962;p14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63" name="Google Shape;16963;p14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64" name="Google Shape;16964;p145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6965" name="Google Shape;16965;p145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66" name="Google Shape;16966;p1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67" name="Google Shape;16967;p145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68" name="Google Shape;16968;p1453"/>
          <p:cNvGrpSpPr/>
          <p:nvPr/>
        </p:nvGrpSpPr>
        <p:grpSpPr>
          <a:xfrm>
            <a:off x="7191545" y="0"/>
            <a:ext cx="5000460" cy="1425988"/>
            <a:chOff x="7191545" y="0"/>
            <a:chExt cx="5000460" cy="1425988"/>
          </a:xfrm>
        </p:grpSpPr>
        <p:pic>
          <p:nvPicPr>
            <p:cNvPr id="16969" name="Google Shape;16969;p1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70" name="Google Shape;16970;p1453"/>
            <p:cNvGrpSpPr/>
            <p:nvPr/>
          </p:nvGrpSpPr>
          <p:grpSpPr>
            <a:xfrm>
              <a:off x="7191545" y="0"/>
              <a:ext cx="5000460" cy="1425988"/>
              <a:chOff x="7191545" y="0"/>
              <a:chExt cx="5000460" cy="1425988"/>
            </a:xfrm>
          </p:grpSpPr>
          <p:sp>
            <p:nvSpPr>
              <p:cNvPr id="16971" name="Google Shape;16971;p1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72" name="Google Shape;16972;p1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73" name="Google Shape;16973;p145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746289304"/>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matchingName="Cover 9">
  <p:cSld name="Cover 9">
    <p:spTree>
      <p:nvGrpSpPr>
        <p:cNvPr id="1" name="Shape 16974"/>
        <p:cNvGrpSpPr/>
        <p:nvPr/>
      </p:nvGrpSpPr>
      <p:grpSpPr>
        <a:xfrm>
          <a:off x="0" y="0"/>
          <a:ext cx="0" cy="0"/>
          <a:chOff x="0" y="0"/>
          <a:chExt cx="0" cy="0"/>
        </a:xfrm>
      </p:grpSpPr>
      <p:sp>
        <p:nvSpPr>
          <p:cNvPr id="16975" name="Google Shape;16975;p1454"/>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76" name="Google Shape;16976;p145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77" name="Google Shape;16977;p145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978" name="Google Shape;16978;p1454"/>
          <p:cNvGrpSpPr/>
          <p:nvPr/>
        </p:nvGrpSpPr>
        <p:grpSpPr>
          <a:xfrm>
            <a:off x="0" y="5020350"/>
            <a:ext cx="12191996" cy="1837651"/>
            <a:chOff x="0" y="5020348"/>
            <a:chExt cx="12191996" cy="1837651"/>
          </a:xfrm>
        </p:grpSpPr>
        <p:sp>
          <p:nvSpPr>
            <p:cNvPr id="16979" name="Google Shape;16979;p145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80" name="Google Shape;16980;p145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981" name="Google Shape;16981;p145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69608100"/>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matchingName="Divider 10">
  <p:cSld name="Divider 10">
    <p:spTree>
      <p:nvGrpSpPr>
        <p:cNvPr id="1" name="Shape 16982"/>
        <p:cNvGrpSpPr/>
        <p:nvPr/>
      </p:nvGrpSpPr>
      <p:grpSpPr>
        <a:xfrm>
          <a:off x="0" y="0"/>
          <a:ext cx="0" cy="0"/>
          <a:chOff x="0" y="0"/>
          <a:chExt cx="0" cy="0"/>
        </a:xfrm>
      </p:grpSpPr>
      <p:grpSp>
        <p:nvGrpSpPr>
          <p:cNvPr id="16983" name="Google Shape;16983;p1455"/>
          <p:cNvGrpSpPr/>
          <p:nvPr/>
        </p:nvGrpSpPr>
        <p:grpSpPr>
          <a:xfrm>
            <a:off x="0" y="5020350"/>
            <a:ext cx="12191996" cy="1837651"/>
            <a:chOff x="0" y="5020348"/>
            <a:chExt cx="12191996" cy="1837651"/>
          </a:xfrm>
        </p:grpSpPr>
        <p:sp>
          <p:nvSpPr>
            <p:cNvPr id="16984" name="Google Shape;16984;p145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85" name="Google Shape;16985;p145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86" name="Google Shape;16986;p145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6987" name="Google Shape;16987;p145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6988" name="Google Shape;16988;p1455"/>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89" name="Google Shape;16989;p145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8138141"/>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matchingName="Photo Slide 9">
  <p:cSld name="Photo Slide 9">
    <p:spTree>
      <p:nvGrpSpPr>
        <p:cNvPr id="1" name="Shape 16990"/>
        <p:cNvGrpSpPr/>
        <p:nvPr/>
      </p:nvGrpSpPr>
      <p:grpSpPr>
        <a:xfrm>
          <a:off x="0" y="0"/>
          <a:ext cx="0" cy="0"/>
          <a:chOff x="0" y="0"/>
          <a:chExt cx="0" cy="0"/>
        </a:xfrm>
      </p:grpSpPr>
      <p:sp>
        <p:nvSpPr>
          <p:cNvPr id="16991" name="Google Shape;16991;p14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6992" name="Google Shape;16992;p1456"/>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993" name="Google Shape;16993;p1456"/>
          <p:cNvGrpSpPr/>
          <p:nvPr/>
        </p:nvGrpSpPr>
        <p:grpSpPr>
          <a:xfrm>
            <a:off x="2" y="5379426"/>
            <a:ext cx="2807363" cy="753895"/>
            <a:chOff x="0" y="5379424"/>
            <a:chExt cx="2807363" cy="753895"/>
          </a:xfrm>
        </p:grpSpPr>
        <p:sp>
          <p:nvSpPr>
            <p:cNvPr id="16994" name="Google Shape;16994;p14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5" name="Google Shape;16995;p14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996" name="Google Shape;16996;p1456"/>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140359950"/>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matchingName="Quotation 14">
  <p:cSld name="Quotation 14">
    <p:spTree>
      <p:nvGrpSpPr>
        <p:cNvPr id="1" name="Shape 16997"/>
        <p:cNvGrpSpPr/>
        <p:nvPr/>
      </p:nvGrpSpPr>
      <p:grpSpPr>
        <a:xfrm>
          <a:off x="0" y="0"/>
          <a:ext cx="0" cy="0"/>
          <a:chOff x="0" y="0"/>
          <a:chExt cx="0" cy="0"/>
        </a:xfrm>
      </p:grpSpPr>
      <p:sp>
        <p:nvSpPr>
          <p:cNvPr id="16998" name="Google Shape;16998;p14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9" name="Google Shape;16999;p14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00" name="Google Shape;17000;p145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01" name="Google Shape;17001;p145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02" name="Google Shape;17002;p1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03" name="Google Shape;17003;p145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04" name="Google Shape;17004;p1457"/>
          <p:cNvGrpSpPr/>
          <p:nvPr/>
        </p:nvGrpSpPr>
        <p:grpSpPr>
          <a:xfrm>
            <a:off x="7191545" y="0"/>
            <a:ext cx="5000460" cy="1425988"/>
            <a:chOff x="7191545" y="0"/>
            <a:chExt cx="5000460" cy="1425988"/>
          </a:xfrm>
        </p:grpSpPr>
        <p:pic>
          <p:nvPicPr>
            <p:cNvPr id="17005" name="Google Shape;17005;p1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06" name="Google Shape;17006;p1457"/>
            <p:cNvGrpSpPr/>
            <p:nvPr/>
          </p:nvGrpSpPr>
          <p:grpSpPr>
            <a:xfrm>
              <a:off x="7191545" y="0"/>
              <a:ext cx="5000460" cy="1425988"/>
              <a:chOff x="7191545" y="0"/>
              <a:chExt cx="5000460" cy="1425988"/>
            </a:xfrm>
          </p:grpSpPr>
          <p:sp>
            <p:nvSpPr>
              <p:cNvPr id="17007" name="Google Shape;17007;p1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08" name="Google Shape;17008;p1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09" name="Google Shape;17009;p145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554570560"/>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matchingName="1_Quotation 14">
  <p:cSld name="1_Quotation 14">
    <p:spTree>
      <p:nvGrpSpPr>
        <p:cNvPr id="1" name="Shape 17010"/>
        <p:cNvGrpSpPr/>
        <p:nvPr/>
      </p:nvGrpSpPr>
      <p:grpSpPr>
        <a:xfrm>
          <a:off x="0" y="0"/>
          <a:ext cx="0" cy="0"/>
          <a:chOff x="0" y="0"/>
          <a:chExt cx="0" cy="0"/>
        </a:xfrm>
      </p:grpSpPr>
      <p:sp>
        <p:nvSpPr>
          <p:cNvPr id="17011" name="Google Shape;17011;p145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12" name="Google Shape;17012;p145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13" name="Google Shape;17013;p145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14" name="Google Shape;17014;p145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15" name="Google Shape;17015;p14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16" name="Google Shape;17016;p145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17" name="Google Shape;17017;p1458"/>
          <p:cNvGrpSpPr/>
          <p:nvPr/>
        </p:nvGrpSpPr>
        <p:grpSpPr>
          <a:xfrm>
            <a:off x="7191545" y="0"/>
            <a:ext cx="5000460" cy="1425988"/>
            <a:chOff x="7191545" y="0"/>
            <a:chExt cx="5000460" cy="1425988"/>
          </a:xfrm>
        </p:grpSpPr>
        <p:pic>
          <p:nvPicPr>
            <p:cNvPr id="17018" name="Google Shape;17018;p14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19" name="Google Shape;17019;p1458"/>
            <p:cNvGrpSpPr/>
            <p:nvPr/>
          </p:nvGrpSpPr>
          <p:grpSpPr>
            <a:xfrm>
              <a:off x="7191545" y="0"/>
              <a:ext cx="5000460" cy="1425988"/>
              <a:chOff x="7191545" y="0"/>
              <a:chExt cx="5000460" cy="1425988"/>
            </a:xfrm>
          </p:grpSpPr>
          <p:sp>
            <p:nvSpPr>
              <p:cNvPr id="17020" name="Google Shape;17020;p14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1" name="Google Shape;17021;p14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22" name="Google Shape;17022;p145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76420457"/>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matchingName="Title and Content 12">
  <p:cSld name="Title and Content 12">
    <p:spTree>
      <p:nvGrpSpPr>
        <p:cNvPr id="1" name="Shape 17023"/>
        <p:cNvGrpSpPr/>
        <p:nvPr/>
      </p:nvGrpSpPr>
      <p:grpSpPr>
        <a:xfrm>
          <a:off x="0" y="0"/>
          <a:ext cx="0" cy="0"/>
          <a:chOff x="0" y="0"/>
          <a:chExt cx="0" cy="0"/>
        </a:xfrm>
      </p:grpSpPr>
      <p:grpSp>
        <p:nvGrpSpPr>
          <p:cNvPr id="17024" name="Google Shape;17024;p1459"/>
          <p:cNvGrpSpPr/>
          <p:nvPr/>
        </p:nvGrpSpPr>
        <p:grpSpPr>
          <a:xfrm>
            <a:off x="7191545" y="0"/>
            <a:ext cx="5000460" cy="1425988"/>
            <a:chOff x="7191545" y="0"/>
            <a:chExt cx="5000460" cy="1425988"/>
          </a:xfrm>
        </p:grpSpPr>
        <p:pic>
          <p:nvPicPr>
            <p:cNvPr id="17025" name="Google Shape;17025;p14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26" name="Google Shape;17026;p1459"/>
            <p:cNvGrpSpPr/>
            <p:nvPr/>
          </p:nvGrpSpPr>
          <p:grpSpPr>
            <a:xfrm>
              <a:off x="7191545" y="0"/>
              <a:ext cx="5000460" cy="1425988"/>
              <a:chOff x="7191545" y="0"/>
              <a:chExt cx="5000460" cy="1425988"/>
            </a:xfrm>
          </p:grpSpPr>
          <p:sp>
            <p:nvSpPr>
              <p:cNvPr id="17027" name="Google Shape;17027;p14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8" name="Google Shape;17028;p14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29" name="Google Shape;17029;p145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0" name="Google Shape;17030;p145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31" name="Google Shape;17031;p145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32" name="Google Shape;17032;p14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33" name="Google Shape;17033;p145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49702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082"/>
        <p:cNvGrpSpPr/>
        <p:nvPr/>
      </p:nvGrpSpPr>
      <p:grpSpPr>
        <a:xfrm>
          <a:off x="0" y="0"/>
          <a:ext cx="0" cy="0"/>
          <a:chOff x="0" y="0"/>
          <a:chExt cx="0" cy="0"/>
        </a:xfrm>
      </p:grpSpPr>
      <p:sp>
        <p:nvSpPr>
          <p:cNvPr id="1083" name="Google Shape;1083;p11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1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5" name="Google Shape;1085;p11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86" name="Google Shape;1086;p11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7" name="Google Shape;1087;p11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88" name="Google Shape;1088;p11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1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 name="Google Shape;1090;p11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1" name="Google Shape;1091;p11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2" name="Google Shape;1092;p11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93" name="Google Shape;1093;p11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matchingName="Two Content 8">
  <p:cSld name="Two Content 8">
    <p:spTree>
      <p:nvGrpSpPr>
        <p:cNvPr id="1" name="Shape 17034"/>
        <p:cNvGrpSpPr/>
        <p:nvPr/>
      </p:nvGrpSpPr>
      <p:grpSpPr>
        <a:xfrm>
          <a:off x="0" y="0"/>
          <a:ext cx="0" cy="0"/>
          <a:chOff x="0" y="0"/>
          <a:chExt cx="0" cy="0"/>
        </a:xfrm>
      </p:grpSpPr>
      <p:sp>
        <p:nvSpPr>
          <p:cNvPr id="17035" name="Google Shape;17035;p146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6" name="Google Shape;17036;p146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037" name="Google Shape;17037;p1460"/>
          <p:cNvGrpSpPr/>
          <p:nvPr/>
        </p:nvGrpSpPr>
        <p:grpSpPr>
          <a:xfrm>
            <a:off x="7191545" y="0"/>
            <a:ext cx="5000460" cy="1425988"/>
            <a:chOff x="7191545" y="0"/>
            <a:chExt cx="5000460" cy="1425988"/>
          </a:xfrm>
        </p:grpSpPr>
        <p:pic>
          <p:nvPicPr>
            <p:cNvPr id="17038" name="Google Shape;17038;p14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39" name="Google Shape;17039;p1460"/>
            <p:cNvGrpSpPr/>
            <p:nvPr/>
          </p:nvGrpSpPr>
          <p:grpSpPr>
            <a:xfrm>
              <a:off x="7191545" y="0"/>
              <a:ext cx="5000460" cy="1425988"/>
              <a:chOff x="7191545" y="0"/>
              <a:chExt cx="5000460" cy="1425988"/>
            </a:xfrm>
          </p:grpSpPr>
          <p:sp>
            <p:nvSpPr>
              <p:cNvPr id="17040" name="Google Shape;17040;p14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41" name="Google Shape;17041;p14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42" name="Google Shape;17042;p146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43" name="Google Shape;17043;p146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44" name="Google Shape;17044;p14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45" name="Google Shape;17045;p146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1247283"/>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matchingName="Comparison 7">
  <p:cSld name="Comparison 7">
    <p:spTree>
      <p:nvGrpSpPr>
        <p:cNvPr id="1" name="Shape 17046"/>
        <p:cNvGrpSpPr/>
        <p:nvPr/>
      </p:nvGrpSpPr>
      <p:grpSpPr>
        <a:xfrm>
          <a:off x="0" y="0"/>
          <a:ext cx="0" cy="0"/>
          <a:chOff x="0" y="0"/>
          <a:chExt cx="0" cy="0"/>
        </a:xfrm>
      </p:grpSpPr>
      <p:grpSp>
        <p:nvGrpSpPr>
          <p:cNvPr id="17047" name="Google Shape;17047;p1461"/>
          <p:cNvGrpSpPr/>
          <p:nvPr/>
        </p:nvGrpSpPr>
        <p:grpSpPr>
          <a:xfrm>
            <a:off x="7191545" y="0"/>
            <a:ext cx="5000460" cy="1425988"/>
            <a:chOff x="7191545" y="0"/>
            <a:chExt cx="5000460" cy="1425988"/>
          </a:xfrm>
        </p:grpSpPr>
        <p:pic>
          <p:nvPicPr>
            <p:cNvPr id="17048" name="Google Shape;17048;p1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49" name="Google Shape;17049;p1461"/>
            <p:cNvGrpSpPr/>
            <p:nvPr/>
          </p:nvGrpSpPr>
          <p:grpSpPr>
            <a:xfrm>
              <a:off x="7191545" y="0"/>
              <a:ext cx="5000460" cy="1425988"/>
              <a:chOff x="7191545" y="0"/>
              <a:chExt cx="5000460" cy="1425988"/>
            </a:xfrm>
          </p:grpSpPr>
          <p:sp>
            <p:nvSpPr>
              <p:cNvPr id="17050" name="Google Shape;17050;p1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51" name="Google Shape;17051;p1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52" name="Google Shape;17052;p146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53" name="Google Shape;17053;p146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4" name="Google Shape;17054;p146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5" name="Google Shape;17055;p146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6" name="Google Shape;17056;p146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57" name="Google Shape;17057;p146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58" name="Google Shape;17058;p1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59" name="Google Shape;17059;p146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65053375"/>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matchingName="Title Only 7">
  <p:cSld name="Title Only 7">
    <p:spTree>
      <p:nvGrpSpPr>
        <p:cNvPr id="1" name="Shape 17060"/>
        <p:cNvGrpSpPr/>
        <p:nvPr/>
      </p:nvGrpSpPr>
      <p:grpSpPr>
        <a:xfrm>
          <a:off x="0" y="0"/>
          <a:ext cx="0" cy="0"/>
          <a:chOff x="0" y="0"/>
          <a:chExt cx="0" cy="0"/>
        </a:xfrm>
      </p:grpSpPr>
      <p:grpSp>
        <p:nvGrpSpPr>
          <p:cNvPr id="17061" name="Google Shape;17061;p1462"/>
          <p:cNvGrpSpPr/>
          <p:nvPr/>
        </p:nvGrpSpPr>
        <p:grpSpPr>
          <a:xfrm>
            <a:off x="7191545" y="0"/>
            <a:ext cx="5000460" cy="1425988"/>
            <a:chOff x="7191545" y="0"/>
            <a:chExt cx="5000460" cy="1425988"/>
          </a:xfrm>
        </p:grpSpPr>
        <p:pic>
          <p:nvPicPr>
            <p:cNvPr id="17062" name="Google Shape;17062;p14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63" name="Google Shape;17063;p1462"/>
            <p:cNvGrpSpPr/>
            <p:nvPr/>
          </p:nvGrpSpPr>
          <p:grpSpPr>
            <a:xfrm>
              <a:off x="7191545" y="0"/>
              <a:ext cx="5000460" cy="1425988"/>
              <a:chOff x="7191545" y="0"/>
              <a:chExt cx="5000460" cy="1425988"/>
            </a:xfrm>
          </p:grpSpPr>
          <p:sp>
            <p:nvSpPr>
              <p:cNvPr id="17064" name="Google Shape;17064;p14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65" name="Google Shape;17065;p14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66" name="Google Shape;17066;p146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67" name="Google Shape;17067;p146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68" name="Google Shape;17068;p14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69" name="Google Shape;17069;p146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01363765"/>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matchingName="End 8">
  <p:cSld name="End 8">
    <p:spTree>
      <p:nvGrpSpPr>
        <p:cNvPr id="1" name="Shape 17070"/>
        <p:cNvGrpSpPr/>
        <p:nvPr/>
      </p:nvGrpSpPr>
      <p:grpSpPr>
        <a:xfrm>
          <a:off x="0" y="0"/>
          <a:ext cx="0" cy="0"/>
          <a:chOff x="0" y="0"/>
          <a:chExt cx="0" cy="0"/>
        </a:xfrm>
      </p:grpSpPr>
      <p:grpSp>
        <p:nvGrpSpPr>
          <p:cNvPr id="17071" name="Google Shape;17071;p1463"/>
          <p:cNvGrpSpPr/>
          <p:nvPr/>
        </p:nvGrpSpPr>
        <p:grpSpPr>
          <a:xfrm>
            <a:off x="0" y="0"/>
            <a:ext cx="12191996" cy="2148830"/>
            <a:chOff x="0" y="0"/>
            <a:chExt cx="12191996" cy="2148830"/>
          </a:xfrm>
        </p:grpSpPr>
        <p:sp>
          <p:nvSpPr>
            <p:cNvPr id="17072" name="Google Shape;17072;p146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73" name="Google Shape;17073;p146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074" name="Google Shape;17074;p146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75" name="Google Shape;17075;p146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076" name="Google Shape;17076;p146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077" name="Google Shape;17077;p146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106342825"/>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matchingName="Blank 6">
  <p:cSld name="Blank 6">
    <p:spTree>
      <p:nvGrpSpPr>
        <p:cNvPr id="1" name="Shape 17078"/>
        <p:cNvGrpSpPr/>
        <p:nvPr/>
      </p:nvGrpSpPr>
      <p:grpSpPr>
        <a:xfrm>
          <a:off x="0" y="0"/>
          <a:ext cx="0" cy="0"/>
          <a:chOff x="0" y="0"/>
          <a:chExt cx="0" cy="0"/>
        </a:xfrm>
      </p:grpSpPr>
      <p:sp>
        <p:nvSpPr>
          <p:cNvPr id="17079" name="Google Shape;17079;p146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80" name="Google Shape;17080;p14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81" name="Google Shape;17081;p146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82" name="Google Shape;17082;p1464"/>
          <p:cNvGrpSpPr/>
          <p:nvPr/>
        </p:nvGrpSpPr>
        <p:grpSpPr>
          <a:xfrm>
            <a:off x="7191545" y="0"/>
            <a:ext cx="5000460" cy="1425988"/>
            <a:chOff x="7191545" y="0"/>
            <a:chExt cx="5000460" cy="1425988"/>
          </a:xfrm>
        </p:grpSpPr>
        <p:pic>
          <p:nvPicPr>
            <p:cNvPr id="17083" name="Google Shape;17083;p14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84" name="Google Shape;17084;p1464"/>
            <p:cNvGrpSpPr/>
            <p:nvPr/>
          </p:nvGrpSpPr>
          <p:grpSpPr>
            <a:xfrm>
              <a:off x="7191545" y="0"/>
              <a:ext cx="5000460" cy="1425988"/>
              <a:chOff x="7191545" y="0"/>
              <a:chExt cx="5000460" cy="1425988"/>
            </a:xfrm>
          </p:grpSpPr>
          <p:sp>
            <p:nvSpPr>
              <p:cNvPr id="17085" name="Google Shape;17085;p14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86" name="Google Shape;17086;p14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295003614"/>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matchingName="Cover 10">
  <p:cSld name="Cover 10">
    <p:spTree>
      <p:nvGrpSpPr>
        <p:cNvPr id="1" name="Shape 17087"/>
        <p:cNvGrpSpPr/>
        <p:nvPr/>
      </p:nvGrpSpPr>
      <p:grpSpPr>
        <a:xfrm>
          <a:off x="0" y="0"/>
          <a:ext cx="0" cy="0"/>
          <a:chOff x="0" y="0"/>
          <a:chExt cx="0" cy="0"/>
        </a:xfrm>
      </p:grpSpPr>
      <p:sp>
        <p:nvSpPr>
          <p:cNvPr id="17088" name="Google Shape;17088;p1465"/>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89" name="Google Shape;17089;p146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90" name="Google Shape;17090;p146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091" name="Google Shape;17091;p1465"/>
          <p:cNvGrpSpPr/>
          <p:nvPr/>
        </p:nvGrpSpPr>
        <p:grpSpPr>
          <a:xfrm>
            <a:off x="0" y="5020350"/>
            <a:ext cx="12191996" cy="1837651"/>
            <a:chOff x="0" y="5020348"/>
            <a:chExt cx="12191996" cy="1837651"/>
          </a:xfrm>
        </p:grpSpPr>
        <p:sp>
          <p:nvSpPr>
            <p:cNvPr id="17092" name="Google Shape;17092;p146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93" name="Google Shape;17093;p146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094" name="Google Shape;17094;p146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71059965"/>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Divider 11">
  <p:cSld name="Divider 11">
    <p:spTree>
      <p:nvGrpSpPr>
        <p:cNvPr id="1" name="Shape 17095"/>
        <p:cNvGrpSpPr/>
        <p:nvPr/>
      </p:nvGrpSpPr>
      <p:grpSpPr>
        <a:xfrm>
          <a:off x="0" y="0"/>
          <a:ext cx="0" cy="0"/>
          <a:chOff x="0" y="0"/>
          <a:chExt cx="0" cy="0"/>
        </a:xfrm>
      </p:grpSpPr>
      <p:grpSp>
        <p:nvGrpSpPr>
          <p:cNvPr id="17096" name="Google Shape;17096;p1466"/>
          <p:cNvGrpSpPr/>
          <p:nvPr/>
        </p:nvGrpSpPr>
        <p:grpSpPr>
          <a:xfrm>
            <a:off x="0" y="5020350"/>
            <a:ext cx="12191996" cy="1837651"/>
            <a:chOff x="0" y="5020348"/>
            <a:chExt cx="12191996" cy="1837651"/>
          </a:xfrm>
        </p:grpSpPr>
        <p:sp>
          <p:nvSpPr>
            <p:cNvPr id="17097" name="Google Shape;17097;p146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98" name="Google Shape;17098;p146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99" name="Google Shape;17099;p146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100" name="Google Shape;17100;p146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101" name="Google Shape;17101;p1466"/>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02" name="Google Shape;17102;p146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26730141"/>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Photo Slide 10">
  <p:cSld name="Photo Slide 10">
    <p:spTree>
      <p:nvGrpSpPr>
        <p:cNvPr id="1" name="Shape 17103"/>
        <p:cNvGrpSpPr/>
        <p:nvPr/>
      </p:nvGrpSpPr>
      <p:grpSpPr>
        <a:xfrm>
          <a:off x="0" y="0"/>
          <a:ext cx="0" cy="0"/>
          <a:chOff x="0" y="0"/>
          <a:chExt cx="0" cy="0"/>
        </a:xfrm>
      </p:grpSpPr>
      <p:sp>
        <p:nvSpPr>
          <p:cNvPr id="17104" name="Google Shape;17104;p14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105" name="Google Shape;17105;p1467"/>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106" name="Google Shape;17106;p1467"/>
          <p:cNvGrpSpPr/>
          <p:nvPr/>
        </p:nvGrpSpPr>
        <p:grpSpPr>
          <a:xfrm>
            <a:off x="2" y="5379426"/>
            <a:ext cx="2807363" cy="753895"/>
            <a:chOff x="0" y="5379424"/>
            <a:chExt cx="2807363" cy="753895"/>
          </a:xfrm>
        </p:grpSpPr>
        <p:sp>
          <p:nvSpPr>
            <p:cNvPr id="17107" name="Google Shape;17107;p14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08" name="Google Shape;17108;p14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109" name="Google Shape;17109;p1467"/>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339649214"/>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matchingName="Quotation 15">
  <p:cSld name="Quotation 15">
    <p:spTree>
      <p:nvGrpSpPr>
        <p:cNvPr id="1" name="Shape 17110"/>
        <p:cNvGrpSpPr/>
        <p:nvPr/>
      </p:nvGrpSpPr>
      <p:grpSpPr>
        <a:xfrm>
          <a:off x="0" y="0"/>
          <a:ext cx="0" cy="0"/>
          <a:chOff x="0" y="0"/>
          <a:chExt cx="0" cy="0"/>
        </a:xfrm>
      </p:grpSpPr>
      <p:sp>
        <p:nvSpPr>
          <p:cNvPr id="17111" name="Google Shape;17111;p14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12" name="Google Shape;17112;p14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13" name="Google Shape;17113;p1468"/>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14" name="Google Shape;17114;p146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15" name="Google Shape;17115;p14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16" name="Google Shape;17116;p146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17" name="Google Shape;17117;p1468"/>
          <p:cNvGrpSpPr/>
          <p:nvPr/>
        </p:nvGrpSpPr>
        <p:grpSpPr>
          <a:xfrm>
            <a:off x="7191545" y="0"/>
            <a:ext cx="5000460" cy="1425988"/>
            <a:chOff x="7191545" y="0"/>
            <a:chExt cx="5000460" cy="1425988"/>
          </a:xfrm>
        </p:grpSpPr>
        <p:pic>
          <p:nvPicPr>
            <p:cNvPr id="17118" name="Google Shape;17118;p14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19" name="Google Shape;17119;p1468"/>
            <p:cNvGrpSpPr/>
            <p:nvPr/>
          </p:nvGrpSpPr>
          <p:grpSpPr>
            <a:xfrm>
              <a:off x="7191545" y="0"/>
              <a:ext cx="5000460" cy="1425988"/>
              <a:chOff x="7191545" y="0"/>
              <a:chExt cx="5000460" cy="1425988"/>
            </a:xfrm>
          </p:grpSpPr>
          <p:sp>
            <p:nvSpPr>
              <p:cNvPr id="17120" name="Google Shape;17120;p14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1" name="Google Shape;17121;p14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22" name="Google Shape;17122;p1468"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013488766"/>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matchingName="Title and Content 13">
  <p:cSld name="Title and Content 13">
    <p:spTree>
      <p:nvGrpSpPr>
        <p:cNvPr id="1" name="Shape 17123"/>
        <p:cNvGrpSpPr/>
        <p:nvPr/>
      </p:nvGrpSpPr>
      <p:grpSpPr>
        <a:xfrm>
          <a:off x="0" y="0"/>
          <a:ext cx="0" cy="0"/>
          <a:chOff x="0" y="0"/>
          <a:chExt cx="0" cy="0"/>
        </a:xfrm>
      </p:grpSpPr>
      <p:grpSp>
        <p:nvGrpSpPr>
          <p:cNvPr id="17124" name="Google Shape;17124;p1469"/>
          <p:cNvGrpSpPr/>
          <p:nvPr/>
        </p:nvGrpSpPr>
        <p:grpSpPr>
          <a:xfrm>
            <a:off x="7191545" y="0"/>
            <a:ext cx="5000460" cy="1425988"/>
            <a:chOff x="7191545" y="0"/>
            <a:chExt cx="5000460" cy="1425988"/>
          </a:xfrm>
        </p:grpSpPr>
        <p:pic>
          <p:nvPicPr>
            <p:cNvPr id="17125" name="Google Shape;17125;p1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26" name="Google Shape;17126;p1469"/>
            <p:cNvGrpSpPr/>
            <p:nvPr/>
          </p:nvGrpSpPr>
          <p:grpSpPr>
            <a:xfrm>
              <a:off x="7191545" y="0"/>
              <a:ext cx="5000460" cy="1425988"/>
              <a:chOff x="7191545" y="0"/>
              <a:chExt cx="5000460" cy="1425988"/>
            </a:xfrm>
          </p:grpSpPr>
          <p:sp>
            <p:nvSpPr>
              <p:cNvPr id="17127" name="Google Shape;17127;p1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8" name="Google Shape;17128;p1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29" name="Google Shape;17129;p146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0" name="Google Shape;17130;p146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31" name="Google Shape;17131;p146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32" name="Google Shape;17132;p1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33" name="Google Shape;17133;p146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02111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94"/>
        <p:cNvGrpSpPr/>
        <p:nvPr/>
      </p:nvGrpSpPr>
      <p:grpSpPr>
        <a:xfrm>
          <a:off x="0" y="0"/>
          <a:ext cx="0" cy="0"/>
          <a:chOff x="0" y="0"/>
          <a:chExt cx="0" cy="0"/>
        </a:xfrm>
      </p:grpSpPr>
      <p:sp>
        <p:nvSpPr>
          <p:cNvPr id="1095" name="Google Shape;1095;p1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1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111"/>
          <p:cNvGrpSpPr/>
          <p:nvPr/>
        </p:nvGrpSpPr>
        <p:grpSpPr>
          <a:xfrm>
            <a:off x="7191542" y="1"/>
            <a:ext cx="5000459" cy="1425992"/>
            <a:chOff x="7191542" y="1"/>
            <a:chExt cx="5000459" cy="1425992"/>
          </a:xfrm>
        </p:grpSpPr>
        <p:pic>
          <p:nvPicPr>
            <p:cNvPr id="1102" name="Google Shape;1102;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111"/>
            <p:cNvGrpSpPr/>
            <p:nvPr/>
          </p:nvGrpSpPr>
          <p:grpSpPr>
            <a:xfrm>
              <a:off x="7191542" y="1"/>
              <a:ext cx="5000459" cy="1425992"/>
              <a:chOff x="7186272" y="0"/>
              <a:chExt cx="5005729" cy="1427495"/>
            </a:xfrm>
          </p:grpSpPr>
          <p:sp>
            <p:nvSpPr>
              <p:cNvPr id="1104" name="Google Shape;110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1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Two Content 9">
  <p:cSld name="Two Content 9">
    <p:spTree>
      <p:nvGrpSpPr>
        <p:cNvPr id="1" name="Shape 17134"/>
        <p:cNvGrpSpPr/>
        <p:nvPr/>
      </p:nvGrpSpPr>
      <p:grpSpPr>
        <a:xfrm>
          <a:off x="0" y="0"/>
          <a:ext cx="0" cy="0"/>
          <a:chOff x="0" y="0"/>
          <a:chExt cx="0" cy="0"/>
        </a:xfrm>
      </p:grpSpPr>
      <p:sp>
        <p:nvSpPr>
          <p:cNvPr id="17135" name="Google Shape;17135;p147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6" name="Google Shape;17136;p1470"/>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137" name="Google Shape;17137;p1470"/>
          <p:cNvGrpSpPr/>
          <p:nvPr/>
        </p:nvGrpSpPr>
        <p:grpSpPr>
          <a:xfrm>
            <a:off x="7191545" y="0"/>
            <a:ext cx="5000460" cy="1425988"/>
            <a:chOff x="7191545" y="0"/>
            <a:chExt cx="5000460" cy="1425988"/>
          </a:xfrm>
        </p:grpSpPr>
        <p:pic>
          <p:nvPicPr>
            <p:cNvPr id="17138" name="Google Shape;17138;p1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39" name="Google Shape;17139;p1470"/>
            <p:cNvGrpSpPr/>
            <p:nvPr/>
          </p:nvGrpSpPr>
          <p:grpSpPr>
            <a:xfrm>
              <a:off x="7191545" y="0"/>
              <a:ext cx="5000460" cy="1425988"/>
              <a:chOff x="7191545" y="0"/>
              <a:chExt cx="5000460" cy="1425988"/>
            </a:xfrm>
          </p:grpSpPr>
          <p:sp>
            <p:nvSpPr>
              <p:cNvPr id="17140" name="Google Shape;17140;p1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41" name="Google Shape;17141;p1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42" name="Google Shape;17142;p1470"/>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43" name="Google Shape;17143;p1470"/>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44" name="Google Shape;17144;p1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45" name="Google Shape;17145;p147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87312055"/>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matchingName="Comparison 8">
  <p:cSld name="Comparison 8">
    <p:spTree>
      <p:nvGrpSpPr>
        <p:cNvPr id="1" name="Shape 17146"/>
        <p:cNvGrpSpPr/>
        <p:nvPr/>
      </p:nvGrpSpPr>
      <p:grpSpPr>
        <a:xfrm>
          <a:off x="0" y="0"/>
          <a:ext cx="0" cy="0"/>
          <a:chOff x="0" y="0"/>
          <a:chExt cx="0" cy="0"/>
        </a:xfrm>
      </p:grpSpPr>
      <p:grpSp>
        <p:nvGrpSpPr>
          <p:cNvPr id="17147" name="Google Shape;17147;p1471"/>
          <p:cNvGrpSpPr/>
          <p:nvPr/>
        </p:nvGrpSpPr>
        <p:grpSpPr>
          <a:xfrm>
            <a:off x="7191545" y="0"/>
            <a:ext cx="5000460" cy="1425988"/>
            <a:chOff x="7191545" y="0"/>
            <a:chExt cx="5000460" cy="1425988"/>
          </a:xfrm>
        </p:grpSpPr>
        <p:pic>
          <p:nvPicPr>
            <p:cNvPr id="17148" name="Google Shape;17148;p1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49" name="Google Shape;17149;p1471"/>
            <p:cNvGrpSpPr/>
            <p:nvPr/>
          </p:nvGrpSpPr>
          <p:grpSpPr>
            <a:xfrm>
              <a:off x="7191545" y="0"/>
              <a:ext cx="5000460" cy="1425988"/>
              <a:chOff x="7191545" y="0"/>
              <a:chExt cx="5000460" cy="1425988"/>
            </a:xfrm>
          </p:grpSpPr>
          <p:sp>
            <p:nvSpPr>
              <p:cNvPr id="17150" name="Google Shape;17150;p1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51" name="Google Shape;17151;p1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52" name="Google Shape;17152;p147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53" name="Google Shape;17153;p14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4" name="Google Shape;17154;p1471"/>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5" name="Google Shape;17155;p1471"/>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6" name="Google Shape;17156;p1471"/>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57" name="Google Shape;17157;p147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58" name="Google Shape;17158;p1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59" name="Google Shape;17159;p147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11048136"/>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Title Only 8">
  <p:cSld name="Title Only 8">
    <p:spTree>
      <p:nvGrpSpPr>
        <p:cNvPr id="1" name="Shape 17160"/>
        <p:cNvGrpSpPr/>
        <p:nvPr/>
      </p:nvGrpSpPr>
      <p:grpSpPr>
        <a:xfrm>
          <a:off x="0" y="0"/>
          <a:ext cx="0" cy="0"/>
          <a:chOff x="0" y="0"/>
          <a:chExt cx="0" cy="0"/>
        </a:xfrm>
      </p:grpSpPr>
      <p:grpSp>
        <p:nvGrpSpPr>
          <p:cNvPr id="17161" name="Google Shape;17161;p1472"/>
          <p:cNvGrpSpPr/>
          <p:nvPr/>
        </p:nvGrpSpPr>
        <p:grpSpPr>
          <a:xfrm>
            <a:off x="7191545" y="0"/>
            <a:ext cx="5000460" cy="1425988"/>
            <a:chOff x="7191545" y="0"/>
            <a:chExt cx="5000460" cy="1425988"/>
          </a:xfrm>
        </p:grpSpPr>
        <p:pic>
          <p:nvPicPr>
            <p:cNvPr id="17162" name="Google Shape;17162;p14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63" name="Google Shape;17163;p1472"/>
            <p:cNvGrpSpPr/>
            <p:nvPr/>
          </p:nvGrpSpPr>
          <p:grpSpPr>
            <a:xfrm>
              <a:off x="7191545" y="0"/>
              <a:ext cx="5000460" cy="1425988"/>
              <a:chOff x="7191545" y="0"/>
              <a:chExt cx="5000460" cy="1425988"/>
            </a:xfrm>
          </p:grpSpPr>
          <p:sp>
            <p:nvSpPr>
              <p:cNvPr id="17164" name="Google Shape;17164;p14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65" name="Google Shape;17165;p14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66" name="Google Shape;17166;p147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67" name="Google Shape;17167;p147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68" name="Google Shape;17168;p14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69" name="Google Shape;17169;p147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91403729"/>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matchingName="End 9">
  <p:cSld name="End 9">
    <p:spTree>
      <p:nvGrpSpPr>
        <p:cNvPr id="1" name="Shape 17170"/>
        <p:cNvGrpSpPr/>
        <p:nvPr/>
      </p:nvGrpSpPr>
      <p:grpSpPr>
        <a:xfrm>
          <a:off x="0" y="0"/>
          <a:ext cx="0" cy="0"/>
          <a:chOff x="0" y="0"/>
          <a:chExt cx="0" cy="0"/>
        </a:xfrm>
      </p:grpSpPr>
      <p:grpSp>
        <p:nvGrpSpPr>
          <p:cNvPr id="17171" name="Google Shape;17171;p1473"/>
          <p:cNvGrpSpPr/>
          <p:nvPr/>
        </p:nvGrpSpPr>
        <p:grpSpPr>
          <a:xfrm>
            <a:off x="0" y="0"/>
            <a:ext cx="12191996" cy="2148830"/>
            <a:chOff x="0" y="0"/>
            <a:chExt cx="12191996" cy="2148830"/>
          </a:xfrm>
        </p:grpSpPr>
        <p:sp>
          <p:nvSpPr>
            <p:cNvPr id="17172" name="Google Shape;17172;p14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73" name="Google Shape;17173;p14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174" name="Google Shape;17174;p1473"/>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75" name="Google Shape;17175;p1473"/>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76" name="Google Shape;17176;p14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177" name="Google Shape;17177;p14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100966410"/>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matchingName="Blank 7">
  <p:cSld name="Blank 7">
    <p:spTree>
      <p:nvGrpSpPr>
        <p:cNvPr id="1" name="Shape 17178"/>
        <p:cNvGrpSpPr/>
        <p:nvPr/>
      </p:nvGrpSpPr>
      <p:grpSpPr>
        <a:xfrm>
          <a:off x="0" y="0"/>
          <a:ext cx="0" cy="0"/>
          <a:chOff x="0" y="0"/>
          <a:chExt cx="0" cy="0"/>
        </a:xfrm>
      </p:grpSpPr>
      <p:sp>
        <p:nvSpPr>
          <p:cNvPr id="17179" name="Google Shape;17179;p147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80" name="Google Shape;17180;p14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81" name="Google Shape;17181;p147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82" name="Google Shape;17182;p1474"/>
          <p:cNvGrpSpPr/>
          <p:nvPr/>
        </p:nvGrpSpPr>
        <p:grpSpPr>
          <a:xfrm>
            <a:off x="7191545" y="0"/>
            <a:ext cx="5000460" cy="1425988"/>
            <a:chOff x="7191545" y="0"/>
            <a:chExt cx="5000460" cy="1425988"/>
          </a:xfrm>
        </p:grpSpPr>
        <p:pic>
          <p:nvPicPr>
            <p:cNvPr id="17183" name="Google Shape;17183;p14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84" name="Google Shape;17184;p1474"/>
            <p:cNvGrpSpPr/>
            <p:nvPr/>
          </p:nvGrpSpPr>
          <p:grpSpPr>
            <a:xfrm>
              <a:off x="7191545" y="0"/>
              <a:ext cx="5000460" cy="1425988"/>
              <a:chOff x="7191545" y="0"/>
              <a:chExt cx="5000460" cy="1425988"/>
            </a:xfrm>
          </p:grpSpPr>
          <p:sp>
            <p:nvSpPr>
              <p:cNvPr id="17185" name="Google Shape;17185;p14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86" name="Google Shape;17186;p14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164037950"/>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matchingName="3_Quotation 3">
  <p:cSld name="3_Quotation 3">
    <p:spTree>
      <p:nvGrpSpPr>
        <p:cNvPr id="1" name="Shape 17187"/>
        <p:cNvGrpSpPr/>
        <p:nvPr/>
      </p:nvGrpSpPr>
      <p:grpSpPr>
        <a:xfrm>
          <a:off x="0" y="0"/>
          <a:ext cx="0" cy="0"/>
          <a:chOff x="0" y="0"/>
          <a:chExt cx="0" cy="0"/>
        </a:xfrm>
      </p:grpSpPr>
      <p:sp>
        <p:nvSpPr>
          <p:cNvPr id="17188" name="Google Shape;17188;p14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89" name="Google Shape;17189;p1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90" name="Google Shape;17190;p147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191" name="Google Shape;17191;p147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92" name="Google Shape;17192;p1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93" name="Google Shape;17193;p147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94" name="Google Shape;17194;p1475"/>
          <p:cNvGrpSpPr/>
          <p:nvPr/>
        </p:nvGrpSpPr>
        <p:grpSpPr>
          <a:xfrm>
            <a:off x="7191545" y="0"/>
            <a:ext cx="5000460" cy="1425988"/>
            <a:chOff x="7191545" y="0"/>
            <a:chExt cx="5000460" cy="1425988"/>
          </a:xfrm>
        </p:grpSpPr>
        <p:pic>
          <p:nvPicPr>
            <p:cNvPr id="17195" name="Google Shape;17195;p1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96" name="Google Shape;17196;p1475"/>
            <p:cNvGrpSpPr/>
            <p:nvPr/>
          </p:nvGrpSpPr>
          <p:grpSpPr>
            <a:xfrm>
              <a:off x="7191545" y="0"/>
              <a:ext cx="5000460" cy="1425988"/>
              <a:chOff x="7191545" y="0"/>
              <a:chExt cx="5000460" cy="1425988"/>
            </a:xfrm>
          </p:grpSpPr>
          <p:sp>
            <p:nvSpPr>
              <p:cNvPr id="17197" name="Google Shape;17197;p1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98" name="Google Shape;17198;p1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99" name="Google Shape;17199;p147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934362520"/>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matchingName="1_Cover 10">
  <p:cSld name="1_Cover 10">
    <p:spTree>
      <p:nvGrpSpPr>
        <p:cNvPr id="1" name="Shape 17200"/>
        <p:cNvGrpSpPr/>
        <p:nvPr/>
      </p:nvGrpSpPr>
      <p:grpSpPr>
        <a:xfrm>
          <a:off x="0" y="0"/>
          <a:ext cx="0" cy="0"/>
          <a:chOff x="0" y="0"/>
          <a:chExt cx="0" cy="0"/>
        </a:xfrm>
      </p:grpSpPr>
      <p:sp>
        <p:nvSpPr>
          <p:cNvPr id="17201" name="Google Shape;17201;p1476"/>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02" name="Google Shape;17202;p147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03" name="Google Shape;17203;p147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204" name="Google Shape;17204;p1476"/>
          <p:cNvGrpSpPr/>
          <p:nvPr/>
        </p:nvGrpSpPr>
        <p:grpSpPr>
          <a:xfrm>
            <a:off x="0" y="5020350"/>
            <a:ext cx="12191996" cy="1837651"/>
            <a:chOff x="0" y="5020348"/>
            <a:chExt cx="12191996" cy="1837651"/>
          </a:xfrm>
        </p:grpSpPr>
        <p:sp>
          <p:nvSpPr>
            <p:cNvPr id="17205" name="Google Shape;17205;p147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06" name="Google Shape;17206;p147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207" name="Google Shape;17207;p147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88812523"/>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matchingName="1_Divider 11">
  <p:cSld name="1_Divider 11">
    <p:spTree>
      <p:nvGrpSpPr>
        <p:cNvPr id="1" name="Shape 17208"/>
        <p:cNvGrpSpPr/>
        <p:nvPr/>
      </p:nvGrpSpPr>
      <p:grpSpPr>
        <a:xfrm>
          <a:off x="0" y="0"/>
          <a:ext cx="0" cy="0"/>
          <a:chOff x="0" y="0"/>
          <a:chExt cx="0" cy="0"/>
        </a:xfrm>
      </p:grpSpPr>
      <p:grpSp>
        <p:nvGrpSpPr>
          <p:cNvPr id="17209" name="Google Shape;17209;p1477"/>
          <p:cNvGrpSpPr/>
          <p:nvPr/>
        </p:nvGrpSpPr>
        <p:grpSpPr>
          <a:xfrm>
            <a:off x="0" y="5020350"/>
            <a:ext cx="12191996" cy="1837651"/>
            <a:chOff x="0" y="5020348"/>
            <a:chExt cx="12191996" cy="1837651"/>
          </a:xfrm>
        </p:grpSpPr>
        <p:sp>
          <p:nvSpPr>
            <p:cNvPr id="17210" name="Google Shape;17210;p147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11" name="Google Shape;17211;p147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12" name="Google Shape;17212;p147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213" name="Google Shape;17213;p147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214" name="Google Shape;17214;p1477"/>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15" name="Google Shape;17215;p147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58375727"/>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matchingName="1_Photo Slide 10">
  <p:cSld name="1_Photo Slide 10">
    <p:spTree>
      <p:nvGrpSpPr>
        <p:cNvPr id="1" name="Shape 17216"/>
        <p:cNvGrpSpPr/>
        <p:nvPr/>
      </p:nvGrpSpPr>
      <p:grpSpPr>
        <a:xfrm>
          <a:off x="0" y="0"/>
          <a:ext cx="0" cy="0"/>
          <a:chOff x="0" y="0"/>
          <a:chExt cx="0" cy="0"/>
        </a:xfrm>
      </p:grpSpPr>
      <p:sp>
        <p:nvSpPr>
          <p:cNvPr id="17217" name="Google Shape;17217;p147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218" name="Google Shape;17218;p1478"/>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219" name="Google Shape;17219;p1478"/>
          <p:cNvGrpSpPr/>
          <p:nvPr/>
        </p:nvGrpSpPr>
        <p:grpSpPr>
          <a:xfrm>
            <a:off x="2" y="5379426"/>
            <a:ext cx="2807363" cy="753895"/>
            <a:chOff x="0" y="5379424"/>
            <a:chExt cx="2807363" cy="753895"/>
          </a:xfrm>
        </p:grpSpPr>
        <p:sp>
          <p:nvSpPr>
            <p:cNvPr id="17220" name="Google Shape;17220;p147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1" name="Google Shape;17221;p147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222" name="Google Shape;17222;p1478"/>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651252355"/>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matchingName="1_Quotation 15">
  <p:cSld name="1_Quotation 15">
    <p:spTree>
      <p:nvGrpSpPr>
        <p:cNvPr id="1" name="Shape 17223"/>
        <p:cNvGrpSpPr/>
        <p:nvPr/>
      </p:nvGrpSpPr>
      <p:grpSpPr>
        <a:xfrm>
          <a:off x="0" y="0"/>
          <a:ext cx="0" cy="0"/>
          <a:chOff x="0" y="0"/>
          <a:chExt cx="0" cy="0"/>
        </a:xfrm>
      </p:grpSpPr>
      <p:sp>
        <p:nvSpPr>
          <p:cNvPr id="17224" name="Google Shape;17224;p147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5" name="Google Shape;17225;p147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26" name="Google Shape;17226;p147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27" name="Google Shape;17227;p147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28" name="Google Shape;17228;p1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29" name="Google Shape;17229;p147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30" name="Google Shape;17230;p1479"/>
          <p:cNvGrpSpPr/>
          <p:nvPr/>
        </p:nvGrpSpPr>
        <p:grpSpPr>
          <a:xfrm>
            <a:off x="7191545" y="0"/>
            <a:ext cx="5000460" cy="1425988"/>
            <a:chOff x="7191545" y="0"/>
            <a:chExt cx="5000460" cy="1425988"/>
          </a:xfrm>
        </p:grpSpPr>
        <p:pic>
          <p:nvPicPr>
            <p:cNvPr id="17231" name="Google Shape;17231;p1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2" name="Google Shape;17232;p1479"/>
            <p:cNvGrpSpPr/>
            <p:nvPr/>
          </p:nvGrpSpPr>
          <p:grpSpPr>
            <a:xfrm>
              <a:off x="7191545" y="0"/>
              <a:ext cx="5000460" cy="1425988"/>
              <a:chOff x="7191545" y="0"/>
              <a:chExt cx="5000460" cy="1425988"/>
            </a:xfrm>
          </p:grpSpPr>
          <p:sp>
            <p:nvSpPr>
              <p:cNvPr id="17233" name="Google Shape;17233;p1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34" name="Google Shape;17234;p1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235" name="Google Shape;17235;p147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9910990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107"/>
        <p:cNvGrpSpPr/>
        <p:nvPr/>
      </p:nvGrpSpPr>
      <p:grpSpPr>
        <a:xfrm>
          <a:off x="0" y="0"/>
          <a:ext cx="0" cy="0"/>
          <a:chOff x="0" y="0"/>
          <a:chExt cx="0" cy="0"/>
        </a:xfrm>
      </p:grpSpPr>
      <p:pic>
        <p:nvPicPr>
          <p:cNvPr id="1108" name="Google Shape;1108;p112"/>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109" name="Google Shape;1109;p112"/>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 name="Google Shape;1110;p112"/>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Clr>
                <a:schemeClr val="lt1"/>
              </a:buClr>
              <a:buSzPts val="1800"/>
              <a:buFont typeface="Arial"/>
              <a:buNone/>
              <a:defRPr sz="1800" b="0">
                <a:solidFill>
                  <a:schemeClr val="lt1"/>
                </a:solidFill>
              </a:defRPr>
            </a:lvl6pPr>
            <a:lvl7pPr marL="3200400" lvl="6" indent="-228600" algn="l">
              <a:lnSpc>
                <a:spcPct val="116666"/>
              </a:lnSpc>
              <a:spcBef>
                <a:spcPts val="0"/>
              </a:spcBef>
              <a:spcAft>
                <a:spcPts val="0"/>
              </a:spcAft>
              <a:buClr>
                <a:schemeClr val="lt1"/>
              </a:buClr>
              <a:buSzPts val="1800"/>
              <a:buFont typeface="Arial"/>
              <a:buNone/>
              <a:defRPr sz="1800" b="0">
                <a:solidFill>
                  <a:schemeClr val="lt1"/>
                </a:solidFill>
              </a:defRPr>
            </a:lvl7pPr>
            <a:lvl8pPr marL="3657600" lvl="7" indent="-228600" algn="l">
              <a:lnSpc>
                <a:spcPct val="116666"/>
              </a:lnSpc>
              <a:spcBef>
                <a:spcPts val="0"/>
              </a:spcBef>
              <a:spcAft>
                <a:spcPts val="0"/>
              </a:spcAft>
              <a:buClr>
                <a:schemeClr val="lt1"/>
              </a:buClr>
              <a:buSzPts val="1800"/>
              <a:buFont typeface="Arial"/>
              <a:buNone/>
              <a:defRPr sz="1800" b="0">
                <a:solidFill>
                  <a:schemeClr val="lt1"/>
                </a:solidFill>
              </a:defRPr>
            </a:lvl8pPr>
            <a:lvl9pPr marL="4114800" lvl="8" indent="-228600"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111" name="Google Shape;1111;p112" descr="A picture containing logo&#10;&#10;Description automatically generated"/>
          <p:cNvPicPr preferRelativeResize="0"/>
          <p:nvPr/>
        </p:nvPicPr>
        <p:blipFill rotWithShape="1">
          <a:blip r:embed="rId3">
            <a:alphaModFix/>
          </a:blip>
          <a:srcRect/>
          <a:stretch/>
        </p:blipFill>
        <p:spPr>
          <a:xfrm>
            <a:off x="380606" y="369351"/>
            <a:ext cx="2020713" cy="924369"/>
          </a:xfrm>
          <a:prstGeom prst="rect">
            <a:avLst/>
          </a:prstGeom>
          <a:noFill/>
          <a:ln>
            <a:noFill/>
          </a:ln>
        </p:spPr>
      </p:pic>
    </p:spTree>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matchingName="1_Title and Content 13">
  <p:cSld name="1_Title and Content 13">
    <p:spTree>
      <p:nvGrpSpPr>
        <p:cNvPr id="1" name="Shape 17236"/>
        <p:cNvGrpSpPr/>
        <p:nvPr/>
      </p:nvGrpSpPr>
      <p:grpSpPr>
        <a:xfrm>
          <a:off x="0" y="0"/>
          <a:ext cx="0" cy="0"/>
          <a:chOff x="0" y="0"/>
          <a:chExt cx="0" cy="0"/>
        </a:xfrm>
      </p:grpSpPr>
      <p:grpSp>
        <p:nvGrpSpPr>
          <p:cNvPr id="17237" name="Google Shape;17237;p1480"/>
          <p:cNvGrpSpPr/>
          <p:nvPr/>
        </p:nvGrpSpPr>
        <p:grpSpPr>
          <a:xfrm>
            <a:off x="7191545" y="0"/>
            <a:ext cx="5000460" cy="1425988"/>
            <a:chOff x="7191545" y="0"/>
            <a:chExt cx="5000460" cy="1425988"/>
          </a:xfrm>
        </p:grpSpPr>
        <p:pic>
          <p:nvPicPr>
            <p:cNvPr id="17238" name="Google Shape;17238;p1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9" name="Google Shape;17239;p1480"/>
            <p:cNvGrpSpPr/>
            <p:nvPr/>
          </p:nvGrpSpPr>
          <p:grpSpPr>
            <a:xfrm>
              <a:off x="7191545" y="0"/>
              <a:ext cx="5000460" cy="1425988"/>
              <a:chOff x="7191545" y="0"/>
              <a:chExt cx="5000460" cy="1425988"/>
            </a:xfrm>
          </p:grpSpPr>
          <p:sp>
            <p:nvSpPr>
              <p:cNvPr id="17240" name="Google Shape;17240;p1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41" name="Google Shape;17241;p1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42" name="Google Shape;17242;p148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3" name="Google Shape;17243;p148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44" name="Google Shape;17244;p148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45" name="Google Shape;17245;p1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46" name="Google Shape;17246;p148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08203077"/>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matchingName="1_Two Content 9">
  <p:cSld name="1_Two Content 9">
    <p:spTree>
      <p:nvGrpSpPr>
        <p:cNvPr id="1" name="Shape 17247"/>
        <p:cNvGrpSpPr/>
        <p:nvPr/>
      </p:nvGrpSpPr>
      <p:grpSpPr>
        <a:xfrm>
          <a:off x="0" y="0"/>
          <a:ext cx="0" cy="0"/>
          <a:chOff x="0" y="0"/>
          <a:chExt cx="0" cy="0"/>
        </a:xfrm>
      </p:grpSpPr>
      <p:sp>
        <p:nvSpPr>
          <p:cNvPr id="17248" name="Google Shape;17248;p148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9" name="Google Shape;17249;p1481"/>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250" name="Google Shape;17250;p1481"/>
          <p:cNvGrpSpPr/>
          <p:nvPr/>
        </p:nvGrpSpPr>
        <p:grpSpPr>
          <a:xfrm>
            <a:off x="7191545" y="0"/>
            <a:ext cx="5000460" cy="1425988"/>
            <a:chOff x="7191545" y="0"/>
            <a:chExt cx="5000460" cy="1425988"/>
          </a:xfrm>
        </p:grpSpPr>
        <p:pic>
          <p:nvPicPr>
            <p:cNvPr id="17251" name="Google Shape;17251;p1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52" name="Google Shape;17252;p1481"/>
            <p:cNvGrpSpPr/>
            <p:nvPr/>
          </p:nvGrpSpPr>
          <p:grpSpPr>
            <a:xfrm>
              <a:off x="7191545" y="0"/>
              <a:ext cx="5000460" cy="1425988"/>
              <a:chOff x="7191545" y="0"/>
              <a:chExt cx="5000460" cy="1425988"/>
            </a:xfrm>
          </p:grpSpPr>
          <p:sp>
            <p:nvSpPr>
              <p:cNvPr id="17253" name="Google Shape;17253;p1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54" name="Google Shape;17254;p1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55" name="Google Shape;17255;p1481"/>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56" name="Google Shape;17256;p1481"/>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57" name="Google Shape;17257;p1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58" name="Google Shape;17258;p148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1601394"/>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matchingName="1_Comparison 8">
  <p:cSld name="1_Comparison 8">
    <p:spTree>
      <p:nvGrpSpPr>
        <p:cNvPr id="1" name="Shape 17259"/>
        <p:cNvGrpSpPr/>
        <p:nvPr/>
      </p:nvGrpSpPr>
      <p:grpSpPr>
        <a:xfrm>
          <a:off x="0" y="0"/>
          <a:ext cx="0" cy="0"/>
          <a:chOff x="0" y="0"/>
          <a:chExt cx="0" cy="0"/>
        </a:xfrm>
      </p:grpSpPr>
      <p:grpSp>
        <p:nvGrpSpPr>
          <p:cNvPr id="17260" name="Google Shape;17260;p1482"/>
          <p:cNvGrpSpPr/>
          <p:nvPr/>
        </p:nvGrpSpPr>
        <p:grpSpPr>
          <a:xfrm>
            <a:off x="7191545" y="0"/>
            <a:ext cx="5000460" cy="1425988"/>
            <a:chOff x="7191545" y="0"/>
            <a:chExt cx="5000460" cy="1425988"/>
          </a:xfrm>
        </p:grpSpPr>
        <p:pic>
          <p:nvPicPr>
            <p:cNvPr id="17261" name="Google Shape;17261;p1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62" name="Google Shape;17262;p1482"/>
            <p:cNvGrpSpPr/>
            <p:nvPr/>
          </p:nvGrpSpPr>
          <p:grpSpPr>
            <a:xfrm>
              <a:off x="7191545" y="0"/>
              <a:ext cx="5000460" cy="1425988"/>
              <a:chOff x="7191545" y="0"/>
              <a:chExt cx="5000460" cy="1425988"/>
            </a:xfrm>
          </p:grpSpPr>
          <p:sp>
            <p:nvSpPr>
              <p:cNvPr id="17263" name="Google Shape;17263;p1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64" name="Google Shape;17264;p1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65" name="Google Shape;17265;p148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66" name="Google Shape;17266;p148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67" name="Google Shape;17267;p1482"/>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68" name="Google Shape;17268;p1482"/>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69" name="Google Shape;17269;p1482"/>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70" name="Google Shape;17270;p148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71" name="Google Shape;17271;p1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72" name="Google Shape;17272;p148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34491847"/>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matchingName="1_Title Only 8">
  <p:cSld name="1_Title Only 8">
    <p:spTree>
      <p:nvGrpSpPr>
        <p:cNvPr id="1" name="Shape 17273"/>
        <p:cNvGrpSpPr/>
        <p:nvPr/>
      </p:nvGrpSpPr>
      <p:grpSpPr>
        <a:xfrm>
          <a:off x="0" y="0"/>
          <a:ext cx="0" cy="0"/>
          <a:chOff x="0" y="0"/>
          <a:chExt cx="0" cy="0"/>
        </a:xfrm>
      </p:grpSpPr>
      <p:grpSp>
        <p:nvGrpSpPr>
          <p:cNvPr id="17274" name="Google Shape;17274;p1483"/>
          <p:cNvGrpSpPr/>
          <p:nvPr/>
        </p:nvGrpSpPr>
        <p:grpSpPr>
          <a:xfrm>
            <a:off x="7191545" y="0"/>
            <a:ext cx="5000460" cy="1425988"/>
            <a:chOff x="7191545" y="0"/>
            <a:chExt cx="5000460" cy="1425988"/>
          </a:xfrm>
        </p:grpSpPr>
        <p:pic>
          <p:nvPicPr>
            <p:cNvPr id="17275" name="Google Shape;17275;p14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76" name="Google Shape;17276;p1483"/>
            <p:cNvGrpSpPr/>
            <p:nvPr/>
          </p:nvGrpSpPr>
          <p:grpSpPr>
            <a:xfrm>
              <a:off x="7191545" y="0"/>
              <a:ext cx="5000460" cy="1425988"/>
              <a:chOff x="7191545" y="0"/>
              <a:chExt cx="5000460" cy="1425988"/>
            </a:xfrm>
          </p:grpSpPr>
          <p:sp>
            <p:nvSpPr>
              <p:cNvPr id="17277" name="Google Shape;17277;p14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78" name="Google Shape;17278;p14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79" name="Google Shape;17279;p148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80" name="Google Shape;17280;p148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81" name="Google Shape;17281;p14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82" name="Google Shape;17282;p148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84404134"/>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matchingName="1_End 9">
  <p:cSld name="1_End 9">
    <p:spTree>
      <p:nvGrpSpPr>
        <p:cNvPr id="1" name="Shape 17283"/>
        <p:cNvGrpSpPr/>
        <p:nvPr/>
      </p:nvGrpSpPr>
      <p:grpSpPr>
        <a:xfrm>
          <a:off x="0" y="0"/>
          <a:ext cx="0" cy="0"/>
          <a:chOff x="0" y="0"/>
          <a:chExt cx="0" cy="0"/>
        </a:xfrm>
      </p:grpSpPr>
      <p:grpSp>
        <p:nvGrpSpPr>
          <p:cNvPr id="17284" name="Google Shape;17284;p1484"/>
          <p:cNvGrpSpPr/>
          <p:nvPr/>
        </p:nvGrpSpPr>
        <p:grpSpPr>
          <a:xfrm>
            <a:off x="0" y="0"/>
            <a:ext cx="12191996" cy="2148830"/>
            <a:chOff x="0" y="0"/>
            <a:chExt cx="12191996" cy="2148830"/>
          </a:xfrm>
        </p:grpSpPr>
        <p:sp>
          <p:nvSpPr>
            <p:cNvPr id="17285" name="Google Shape;17285;p148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86" name="Google Shape;17286;p148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287" name="Google Shape;17287;p148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88" name="Google Shape;17288;p148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289" name="Google Shape;17289;p148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290" name="Google Shape;17290;p148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611532607"/>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matchingName="1_Blank 7">
  <p:cSld name="1_Blank 7">
    <p:spTree>
      <p:nvGrpSpPr>
        <p:cNvPr id="1" name="Shape 17291"/>
        <p:cNvGrpSpPr/>
        <p:nvPr/>
      </p:nvGrpSpPr>
      <p:grpSpPr>
        <a:xfrm>
          <a:off x="0" y="0"/>
          <a:ext cx="0" cy="0"/>
          <a:chOff x="0" y="0"/>
          <a:chExt cx="0" cy="0"/>
        </a:xfrm>
      </p:grpSpPr>
      <p:sp>
        <p:nvSpPr>
          <p:cNvPr id="17292" name="Google Shape;17292;p148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93" name="Google Shape;17293;p14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94" name="Google Shape;17294;p148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95" name="Google Shape;17295;p1485"/>
          <p:cNvGrpSpPr/>
          <p:nvPr/>
        </p:nvGrpSpPr>
        <p:grpSpPr>
          <a:xfrm>
            <a:off x="7191545" y="0"/>
            <a:ext cx="5000460" cy="1425988"/>
            <a:chOff x="7191545" y="0"/>
            <a:chExt cx="5000460" cy="1425988"/>
          </a:xfrm>
        </p:grpSpPr>
        <p:pic>
          <p:nvPicPr>
            <p:cNvPr id="17296" name="Google Shape;17296;p14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97" name="Google Shape;17297;p1485"/>
            <p:cNvGrpSpPr/>
            <p:nvPr/>
          </p:nvGrpSpPr>
          <p:grpSpPr>
            <a:xfrm>
              <a:off x="7191545" y="0"/>
              <a:ext cx="5000460" cy="1425988"/>
              <a:chOff x="7191545" y="0"/>
              <a:chExt cx="5000460" cy="1425988"/>
            </a:xfrm>
          </p:grpSpPr>
          <p:sp>
            <p:nvSpPr>
              <p:cNvPr id="17298" name="Google Shape;17298;p14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99" name="Google Shape;17299;p14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394005374"/>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matchingName="4_Quotation 3">
  <p:cSld name="4_Quotation 3">
    <p:spTree>
      <p:nvGrpSpPr>
        <p:cNvPr id="1" name="Shape 17300"/>
        <p:cNvGrpSpPr/>
        <p:nvPr/>
      </p:nvGrpSpPr>
      <p:grpSpPr>
        <a:xfrm>
          <a:off x="0" y="0"/>
          <a:ext cx="0" cy="0"/>
          <a:chOff x="0" y="0"/>
          <a:chExt cx="0" cy="0"/>
        </a:xfrm>
      </p:grpSpPr>
      <p:sp>
        <p:nvSpPr>
          <p:cNvPr id="17301" name="Google Shape;17301;p148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302" name="Google Shape;17302;p148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03" name="Google Shape;17303;p148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04" name="Google Shape;17304;p148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305" name="Google Shape;17305;p14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306" name="Google Shape;17306;p148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07" name="Google Shape;17307;p1486"/>
          <p:cNvGrpSpPr/>
          <p:nvPr/>
        </p:nvGrpSpPr>
        <p:grpSpPr>
          <a:xfrm>
            <a:off x="7191545" y="0"/>
            <a:ext cx="5000460" cy="1425988"/>
            <a:chOff x="7191545" y="0"/>
            <a:chExt cx="5000460" cy="1425988"/>
          </a:xfrm>
        </p:grpSpPr>
        <p:pic>
          <p:nvPicPr>
            <p:cNvPr id="17308" name="Google Shape;17308;p14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309" name="Google Shape;17309;p1486"/>
            <p:cNvGrpSpPr/>
            <p:nvPr/>
          </p:nvGrpSpPr>
          <p:grpSpPr>
            <a:xfrm>
              <a:off x="7191545" y="0"/>
              <a:ext cx="5000460" cy="1425988"/>
              <a:chOff x="7191545" y="0"/>
              <a:chExt cx="5000460" cy="1425988"/>
            </a:xfrm>
          </p:grpSpPr>
          <p:sp>
            <p:nvSpPr>
              <p:cNvPr id="17310" name="Google Shape;17310;p14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311" name="Google Shape;17311;p14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312" name="Google Shape;17312;p148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956068121"/>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17313"/>
        <p:cNvGrpSpPr/>
        <p:nvPr/>
      </p:nvGrpSpPr>
      <p:grpSpPr>
        <a:xfrm>
          <a:off x="0" y="0"/>
          <a:ext cx="0" cy="0"/>
          <a:chOff x="0" y="0"/>
          <a:chExt cx="0" cy="0"/>
        </a:xfrm>
      </p:grpSpPr>
      <p:sp>
        <p:nvSpPr>
          <p:cNvPr id="17314" name="Google Shape;17314;p1487"/>
          <p:cNvSpPr txBox="1">
            <a:spLocks noGrp="1"/>
          </p:cNvSpPr>
          <p:nvPr>
            <p:ph type="ctrTitle"/>
          </p:nvPr>
        </p:nvSpPr>
        <p:spPr>
          <a:xfrm>
            <a:off x="1524003" y="1122362"/>
            <a:ext cx="9144000" cy="2387598"/>
          </a:xfrm>
          <a:prstGeom prst="rect">
            <a:avLst/>
          </a:prstGeom>
          <a:noFill/>
          <a:ln>
            <a:noFill/>
          </a:ln>
        </p:spPr>
        <p:txBody>
          <a:bodyPr spcFirstLastPara="1" wrap="square" lIns="91400" tIns="45700" rIns="91400" bIns="45700" anchor="b" anchorCtr="1">
            <a:noAutofit/>
          </a:bodyPr>
          <a:lstStyle>
            <a:lvl1pPr lvl="0" algn="ctr">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15" name="Google Shape;17315;p1487"/>
          <p:cNvSpPr txBox="1">
            <a:spLocks noGrp="1"/>
          </p:cNvSpPr>
          <p:nvPr>
            <p:ph type="subTitle" idx="1"/>
          </p:nvPr>
        </p:nvSpPr>
        <p:spPr>
          <a:xfrm>
            <a:off x="1524003" y="3602041"/>
            <a:ext cx="9144000" cy="1655758"/>
          </a:xfrm>
          <a:prstGeom prst="rect">
            <a:avLst/>
          </a:prstGeom>
          <a:noFill/>
          <a:ln>
            <a:noFill/>
          </a:ln>
        </p:spPr>
        <p:txBody>
          <a:bodyPr spcFirstLastPara="1" wrap="square" lIns="91400" tIns="45700" rIns="91400" bIns="45700" anchor="t" anchorCtr="1">
            <a:noAutofit/>
          </a:bodyPr>
          <a:lstStyle>
            <a:lvl1pPr lvl="0" algn="ctr">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316" name="Google Shape;17316;p148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17" name="Google Shape;17317;p148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18" name="Google Shape;17318;p148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50604888"/>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7319"/>
        <p:cNvGrpSpPr/>
        <p:nvPr/>
      </p:nvGrpSpPr>
      <p:grpSpPr>
        <a:xfrm>
          <a:off x="0" y="0"/>
          <a:ext cx="0" cy="0"/>
          <a:chOff x="0" y="0"/>
          <a:chExt cx="0" cy="0"/>
        </a:xfrm>
      </p:grpSpPr>
      <p:sp>
        <p:nvSpPr>
          <p:cNvPr id="17320" name="Google Shape;17320;p1488"/>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21" name="Google Shape;17321;p1488"/>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2" name="Google Shape;17322;p148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23" name="Google Shape;17323;p148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4" name="Google Shape;17324;p148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25" name="Google Shape;17325;p1488"/>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6" name="Google Shape;17326;p148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7" name="Google Shape;17327;p1488"/>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28" name="Google Shape;17328;p1488"/>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990176989"/>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matchingName="3_Title Slide_Yale Blue 2">
  <p:cSld name="3_Title Slide_Yale Blue 2">
    <p:spTree>
      <p:nvGrpSpPr>
        <p:cNvPr id="1" name="Shape 17329"/>
        <p:cNvGrpSpPr/>
        <p:nvPr/>
      </p:nvGrpSpPr>
      <p:grpSpPr>
        <a:xfrm>
          <a:off x="0" y="0"/>
          <a:ext cx="0" cy="0"/>
          <a:chOff x="0" y="0"/>
          <a:chExt cx="0" cy="0"/>
        </a:xfrm>
      </p:grpSpPr>
      <p:sp>
        <p:nvSpPr>
          <p:cNvPr id="17330" name="Google Shape;17330;p1489"/>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31" name="Google Shape;17331;p1489"/>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2" name="Google Shape;17332;p148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33" name="Google Shape;17333;p148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4" name="Google Shape;17334;p148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35" name="Google Shape;17335;p1489"/>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6" name="Google Shape;17336;p1489"/>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7" name="Google Shape;17337;p1489"/>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38" name="Google Shape;17338;p1489"/>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6909893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1114" name="Google Shape;1114;p113"/>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17" name="Google Shape;1117;p113"/>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7339"/>
        <p:cNvGrpSpPr/>
        <p:nvPr/>
      </p:nvGrpSpPr>
      <p:grpSpPr>
        <a:xfrm>
          <a:off x="0" y="0"/>
          <a:ext cx="0" cy="0"/>
          <a:chOff x="0" y="0"/>
          <a:chExt cx="0" cy="0"/>
        </a:xfrm>
      </p:grpSpPr>
      <p:sp>
        <p:nvSpPr>
          <p:cNvPr id="17340" name="Google Shape;17340;p1490"/>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41" name="Google Shape;17341;p149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2" name="Google Shape;17342;p149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3" name="Google Shape;17343;p1490"/>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44" name="Google Shape;17344;p14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745931426"/>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7345"/>
        <p:cNvGrpSpPr/>
        <p:nvPr/>
      </p:nvGrpSpPr>
      <p:grpSpPr>
        <a:xfrm>
          <a:off x="0" y="0"/>
          <a:ext cx="0" cy="0"/>
          <a:chOff x="0" y="0"/>
          <a:chExt cx="0" cy="0"/>
        </a:xfrm>
      </p:grpSpPr>
      <p:sp>
        <p:nvSpPr>
          <p:cNvPr id="17346" name="Google Shape;17346;p149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47" name="Google Shape;17347;p14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
        <p:nvSpPr>
          <p:cNvPr id="17348" name="Google Shape;17348;p149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9" name="Google Shape;17349;p1491"/>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0" name="Google Shape;17350;p1491"/>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39686961"/>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7351"/>
        <p:cNvGrpSpPr/>
        <p:nvPr/>
      </p:nvGrpSpPr>
      <p:grpSpPr>
        <a:xfrm>
          <a:off x="0" y="0"/>
          <a:ext cx="0" cy="0"/>
          <a:chOff x="0" y="0"/>
          <a:chExt cx="0" cy="0"/>
        </a:xfrm>
      </p:grpSpPr>
      <p:sp>
        <p:nvSpPr>
          <p:cNvPr id="17352" name="Google Shape;17352;p1492"/>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3" name="Google Shape;17353;p149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4" name="Google Shape;17354;p149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55" name="Google Shape;17355;p149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56" name="Google Shape;17356;p1492"/>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57" name="Google Shape;17357;p14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491494913"/>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matchingName="3_Title Slide_Yale Blue 3">
  <p:cSld name="3_Title Slide_Yale Blue 3">
    <p:spTree>
      <p:nvGrpSpPr>
        <p:cNvPr id="1" name="Shape 17358"/>
        <p:cNvGrpSpPr/>
        <p:nvPr/>
      </p:nvGrpSpPr>
      <p:grpSpPr>
        <a:xfrm>
          <a:off x="0" y="0"/>
          <a:ext cx="0" cy="0"/>
          <a:chOff x="0" y="0"/>
          <a:chExt cx="0" cy="0"/>
        </a:xfrm>
      </p:grpSpPr>
      <p:sp>
        <p:nvSpPr>
          <p:cNvPr id="17359" name="Google Shape;17359;p1493"/>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60" name="Google Shape;17360;p1493"/>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1" name="Google Shape;17361;p149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62" name="Google Shape;17362;p149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3" name="Google Shape;17363;p149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64" name="Google Shape;17364;p1493"/>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5" name="Google Shape;17365;p149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6" name="Google Shape;17366;p1493"/>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67" name="Google Shape;17367;p1493"/>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074068084"/>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matchingName="Title and Bullets Layout 2">
  <p:cSld name="Title and Bullets Layout 2">
    <p:spTree>
      <p:nvGrpSpPr>
        <p:cNvPr id="1" name="Shape 17368"/>
        <p:cNvGrpSpPr/>
        <p:nvPr/>
      </p:nvGrpSpPr>
      <p:grpSpPr>
        <a:xfrm>
          <a:off x="0" y="0"/>
          <a:ext cx="0" cy="0"/>
          <a:chOff x="0" y="0"/>
          <a:chExt cx="0" cy="0"/>
        </a:xfrm>
      </p:grpSpPr>
      <p:sp>
        <p:nvSpPr>
          <p:cNvPr id="17369" name="Google Shape;17369;p1494"/>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0" name="Google Shape;17370;p1494"/>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1" name="Google Shape;17371;p149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2" name="Google Shape;17372;p1494"/>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73" name="Google Shape;17373;p1494"/>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796554651"/>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matchingName="1_Title and Content 2">
  <p:cSld name="1_Title and Content 2">
    <p:spTree>
      <p:nvGrpSpPr>
        <p:cNvPr id="1" name="Shape 17374"/>
        <p:cNvGrpSpPr/>
        <p:nvPr/>
      </p:nvGrpSpPr>
      <p:grpSpPr>
        <a:xfrm>
          <a:off x="0" y="0"/>
          <a:ext cx="0" cy="0"/>
          <a:chOff x="0" y="0"/>
          <a:chExt cx="0" cy="0"/>
        </a:xfrm>
      </p:grpSpPr>
      <p:sp>
        <p:nvSpPr>
          <p:cNvPr id="17375" name="Google Shape;17375;p1495"/>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76" name="Google Shape;17376;p1495"/>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377" name="Google Shape;17377;p149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8" name="Google Shape;17378;p1495"/>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9" name="Google Shape;17379;p1495"/>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89989788"/>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matchingName="Two Section | Picture and Copy Layout 2">
  <p:cSld name="Two Section | Picture and Copy Layout 2">
    <p:spTree>
      <p:nvGrpSpPr>
        <p:cNvPr id="1" name="Shape 17380"/>
        <p:cNvGrpSpPr/>
        <p:nvPr/>
      </p:nvGrpSpPr>
      <p:grpSpPr>
        <a:xfrm>
          <a:off x="0" y="0"/>
          <a:ext cx="0" cy="0"/>
          <a:chOff x="0" y="0"/>
          <a:chExt cx="0" cy="0"/>
        </a:xfrm>
      </p:grpSpPr>
      <p:sp>
        <p:nvSpPr>
          <p:cNvPr id="17381" name="Google Shape;17381;p1496"/>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2" name="Google Shape;17382;p149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3" name="Google Shape;17383;p1496"/>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84" name="Google Shape;17384;p1496"/>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85" name="Google Shape;17385;p1496"/>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86" name="Google Shape;17386;p1496"/>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81459618"/>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matchingName="3_Title Slide_Yale Blue 4">
  <p:cSld name="3_Title Slide_Yale Blue 4">
    <p:spTree>
      <p:nvGrpSpPr>
        <p:cNvPr id="1" name="Shape 17387"/>
        <p:cNvGrpSpPr/>
        <p:nvPr/>
      </p:nvGrpSpPr>
      <p:grpSpPr>
        <a:xfrm>
          <a:off x="0" y="0"/>
          <a:ext cx="0" cy="0"/>
          <a:chOff x="0" y="0"/>
          <a:chExt cx="0" cy="0"/>
        </a:xfrm>
      </p:grpSpPr>
      <p:sp>
        <p:nvSpPr>
          <p:cNvPr id="17388" name="Google Shape;17388;p1497"/>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389" name="Google Shape;17389;p1497"/>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0" name="Google Shape;17390;p149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91" name="Google Shape;17391;p149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2" name="Google Shape;17392;p149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93" name="Google Shape;17393;p1497"/>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4" name="Google Shape;17394;p149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5" name="Google Shape;17395;p1497"/>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396" name="Google Shape;17396;p1497"/>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4106329997"/>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matchingName="Title and Bullets Layout 3">
  <p:cSld name="Title and Bullets Layout 3">
    <p:spTree>
      <p:nvGrpSpPr>
        <p:cNvPr id="1" name="Shape 17397"/>
        <p:cNvGrpSpPr/>
        <p:nvPr/>
      </p:nvGrpSpPr>
      <p:grpSpPr>
        <a:xfrm>
          <a:off x="0" y="0"/>
          <a:ext cx="0" cy="0"/>
          <a:chOff x="0" y="0"/>
          <a:chExt cx="0" cy="0"/>
        </a:xfrm>
      </p:grpSpPr>
      <p:sp>
        <p:nvSpPr>
          <p:cNvPr id="17398" name="Google Shape;17398;p1498"/>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9" name="Google Shape;17399;p1498"/>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0" name="Google Shape;17400;p149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1" name="Google Shape;17401;p1498"/>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02" name="Google Shape;17402;p1498"/>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79392743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matchingName="1_Title and Content 3">
  <p:cSld name="1_Title and Content 3">
    <p:spTree>
      <p:nvGrpSpPr>
        <p:cNvPr id="1" name="Shape 17403"/>
        <p:cNvGrpSpPr/>
        <p:nvPr/>
      </p:nvGrpSpPr>
      <p:grpSpPr>
        <a:xfrm>
          <a:off x="0" y="0"/>
          <a:ext cx="0" cy="0"/>
          <a:chOff x="0" y="0"/>
          <a:chExt cx="0" cy="0"/>
        </a:xfrm>
      </p:grpSpPr>
      <p:sp>
        <p:nvSpPr>
          <p:cNvPr id="17404" name="Google Shape;17404;p1499"/>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05" name="Google Shape;17405;p1499"/>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06" name="Google Shape;17406;p149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7" name="Google Shape;17407;p1499"/>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08" name="Google Shape;17408;p1499"/>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170470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120"/>
        <p:cNvGrpSpPr/>
        <p:nvPr/>
      </p:nvGrpSpPr>
      <p:grpSpPr>
        <a:xfrm>
          <a:off x="0" y="0"/>
          <a:ext cx="0" cy="0"/>
          <a:chOff x="0" y="0"/>
          <a:chExt cx="0" cy="0"/>
        </a:xfrm>
      </p:grpSpPr>
      <p:pic>
        <p:nvPicPr>
          <p:cNvPr id="1121" name="Google Shape;1121;p11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122" name="Google Shape;1122;p114"/>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14"/>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124" name="Google Shape;1124;p114"/>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125" name="Google Shape;1125;p114"/>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1126" name="Google Shape;1126;p11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1" y="6358648"/>
            <a:ext cx="2016509" cy="235974"/>
          </a:xfrm>
          <a:prstGeom prst="rect">
            <a:avLst/>
          </a:prstGeom>
          <a:noFill/>
          <a:ln>
            <a:noFill/>
          </a:ln>
        </p:spPr>
      </p:pic>
    </p:spTree>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matchingName="Two Section | Picture and Copy Layout 3">
  <p:cSld name="Two Section | Picture and Copy Layout 3">
    <p:spTree>
      <p:nvGrpSpPr>
        <p:cNvPr id="1" name="Shape 17409"/>
        <p:cNvGrpSpPr/>
        <p:nvPr/>
      </p:nvGrpSpPr>
      <p:grpSpPr>
        <a:xfrm>
          <a:off x="0" y="0"/>
          <a:ext cx="0" cy="0"/>
          <a:chOff x="0" y="0"/>
          <a:chExt cx="0" cy="0"/>
        </a:xfrm>
      </p:grpSpPr>
      <p:sp>
        <p:nvSpPr>
          <p:cNvPr id="17410" name="Google Shape;17410;p150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1" name="Google Shape;17411;p150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2" name="Google Shape;17412;p1500"/>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13" name="Google Shape;17413;p1500"/>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14" name="Google Shape;17414;p1500"/>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15" name="Google Shape;17415;p1500"/>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463801177"/>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matchingName="3_Title Slide_Yale Blue 5">
  <p:cSld name="3_Title Slide_Yale Blue 5">
    <p:spTree>
      <p:nvGrpSpPr>
        <p:cNvPr id="1" name="Shape 17416"/>
        <p:cNvGrpSpPr/>
        <p:nvPr/>
      </p:nvGrpSpPr>
      <p:grpSpPr>
        <a:xfrm>
          <a:off x="0" y="0"/>
          <a:ext cx="0" cy="0"/>
          <a:chOff x="0" y="0"/>
          <a:chExt cx="0" cy="0"/>
        </a:xfrm>
      </p:grpSpPr>
      <p:sp>
        <p:nvSpPr>
          <p:cNvPr id="17417" name="Google Shape;17417;p1501"/>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18" name="Google Shape;17418;p1501"/>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19" name="Google Shape;17419;p150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20" name="Google Shape;17420;p150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1" name="Google Shape;17421;p150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22" name="Google Shape;17422;p1501"/>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3" name="Google Shape;17423;p1501"/>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4" name="Google Shape;17424;p1501"/>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25" name="Google Shape;17425;p1501"/>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289345377"/>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matchingName="3_Title Slide_Yale Blue 6">
  <p:cSld name="3_Title Slide_Yale Blue 6">
    <p:spTree>
      <p:nvGrpSpPr>
        <p:cNvPr id="1" name="Shape 17426"/>
        <p:cNvGrpSpPr/>
        <p:nvPr/>
      </p:nvGrpSpPr>
      <p:grpSpPr>
        <a:xfrm>
          <a:off x="0" y="0"/>
          <a:ext cx="0" cy="0"/>
          <a:chOff x="0" y="0"/>
          <a:chExt cx="0" cy="0"/>
        </a:xfrm>
      </p:grpSpPr>
      <p:sp>
        <p:nvSpPr>
          <p:cNvPr id="17427" name="Google Shape;17427;p1502"/>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28" name="Google Shape;17428;p1502"/>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9" name="Google Shape;17429;p15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30" name="Google Shape;17430;p150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1" name="Google Shape;17431;p150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32" name="Google Shape;17432;p1502"/>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3" name="Google Shape;17433;p1502"/>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4" name="Google Shape;17434;p1502"/>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35" name="Google Shape;17435;p1502"/>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43133431"/>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matchingName="Title and Bullets Layout 4">
  <p:cSld name="Title and Bullets Layout 4">
    <p:spTree>
      <p:nvGrpSpPr>
        <p:cNvPr id="1" name="Shape 17436"/>
        <p:cNvGrpSpPr/>
        <p:nvPr/>
      </p:nvGrpSpPr>
      <p:grpSpPr>
        <a:xfrm>
          <a:off x="0" y="0"/>
          <a:ext cx="0" cy="0"/>
          <a:chOff x="0" y="0"/>
          <a:chExt cx="0" cy="0"/>
        </a:xfrm>
      </p:grpSpPr>
      <p:sp>
        <p:nvSpPr>
          <p:cNvPr id="17437" name="Google Shape;17437;p1503"/>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8" name="Google Shape;17438;p1503"/>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39" name="Google Shape;17439;p150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0" name="Google Shape;17440;p1503"/>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41" name="Google Shape;17441;p1503"/>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289531973"/>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matchingName="1_Title and Content 4">
  <p:cSld name="1_Title and Content 4">
    <p:spTree>
      <p:nvGrpSpPr>
        <p:cNvPr id="1" name="Shape 17442"/>
        <p:cNvGrpSpPr/>
        <p:nvPr/>
      </p:nvGrpSpPr>
      <p:grpSpPr>
        <a:xfrm>
          <a:off x="0" y="0"/>
          <a:ext cx="0" cy="0"/>
          <a:chOff x="0" y="0"/>
          <a:chExt cx="0" cy="0"/>
        </a:xfrm>
      </p:grpSpPr>
      <p:sp>
        <p:nvSpPr>
          <p:cNvPr id="17443" name="Google Shape;17443;p1504"/>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44" name="Google Shape;17444;p1504"/>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45" name="Google Shape;17445;p150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6" name="Google Shape;17446;p1504"/>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7" name="Google Shape;17447;p1504"/>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1483596"/>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matchingName="Two Section | Picture and Copy Layout 4">
  <p:cSld name="Two Section | Picture and Copy Layout 4">
    <p:spTree>
      <p:nvGrpSpPr>
        <p:cNvPr id="1" name="Shape 17448"/>
        <p:cNvGrpSpPr/>
        <p:nvPr/>
      </p:nvGrpSpPr>
      <p:grpSpPr>
        <a:xfrm>
          <a:off x="0" y="0"/>
          <a:ext cx="0" cy="0"/>
          <a:chOff x="0" y="0"/>
          <a:chExt cx="0" cy="0"/>
        </a:xfrm>
      </p:grpSpPr>
      <p:sp>
        <p:nvSpPr>
          <p:cNvPr id="17449" name="Google Shape;17449;p1505"/>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0" name="Google Shape;17450;p150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1" name="Google Shape;17451;p15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52" name="Google Shape;17452;p1505"/>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53" name="Google Shape;17453;p1505"/>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54" name="Google Shape;17454;p1505"/>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411046764"/>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matchingName="3_Title Slide_Yale Blue 7">
  <p:cSld name="3_Title Slide_Yale Blue 7">
    <p:spTree>
      <p:nvGrpSpPr>
        <p:cNvPr id="1" name="Shape 17455"/>
        <p:cNvGrpSpPr/>
        <p:nvPr/>
      </p:nvGrpSpPr>
      <p:grpSpPr>
        <a:xfrm>
          <a:off x="0" y="0"/>
          <a:ext cx="0" cy="0"/>
          <a:chOff x="0" y="0"/>
          <a:chExt cx="0" cy="0"/>
        </a:xfrm>
      </p:grpSpPr>
      <p:sp>
        <p:nvSpPr>
          <p:cNvPr id="17456" name="Google Shape;17456;p1506"/>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57" name="Google Shape;17457;p1506"/>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58" name="Google Shape;17458;p150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59" name="Google Shape;17459;p150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0" name="Google Shape;17460;p150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61" name="Google Shape;17461;p1506"/>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2" name="Google Shape;17462;p1506"/>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3" name="Google Shape;17463;p1506"/>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64" name="Google Shape;17464;p1506"/>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325819298"/>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matchingName="Title and Bullets Layout 5">
  <p:cSld name="Title and Bullets Layout 5">
    <p:spTree>
      <p:nvGrpSpPr>
        <p:cNvPr id="1" name="Shape 17465"/>
        <p:cNvGrpSpPr/>
        <p:nvPr/>
      </p:nvGrpSpPr>
      <p:grpSpPr>
        <a:xfrm>
          <a:off x="0" y="0"/>
          <a:ext cx="0" cy="0"/>
          <a:chOff x="0" y="0"/>
          <a:chExt cx="0" cy="0"/>
        </a:xfrm>
      </p:grpSpPr>
      <p:sp>
        <p:nvSpPr>
          <p:cNvPr id="17466" name="Google Shape;17466;p1507"/>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7" name="Google Shape;17467;p1507"/>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8" name="Google Shape;17468;p150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9" name="Google Shape;17469;p1507"/>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70" name="Google Shape;17470;p1507"/>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631792195"/>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matchingName="2_Title and Content 5">
  <p:cSld name="2_Title and Content 5">
    <p:spTree>
      <p:nvGrpSpPr>
        <p:cNvPr id="1" name="Shape 17471"/>
        <p:cNvGrpSpPr/>
        <p:nvPr/>
      </p:nvGrpSpPr>
      <p:grpSpPr>
        <a:xfrm>
          <a:off x="0" y="0"/>
          <a:ext cx="0" cy="0"/>
          <a:chOff x="0" y="0"/>
          <a:chExt cx="0" cy="0"/>
        </a:xfrm>
      </p:grpSpPr>
      <p:sp>
        <p:nvSpPr>
          <p:cNvPr id="17472" name="Google Shape;17472;p1508"/>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73" name="Google Shape;17473;p1508"/>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474" name="Google Shape;17474;p150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5" name="Google Shape;17475;p1508"/>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76" name="Google Shape;17476;p1508"/>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56113871"/>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matchingName="Two Section | Picture and Copy Layout 5">
  <p:cSld name="Two Section | Picture and Copy Layout 5">
    <p:spTree>
      <p:nvGrpSpPr>
        <p:cNvPr id="1" name="Shape 17477"/>
        <p:cNvGrpSpPr/>
        <p:nvPr/>
      </p:nvGrpSpPr>
      <p:grpSpPr>
        <a:xfrm>
          <a:off x="0" y="0"/>
          <a:ext cx="0" cy="0"/>
          <a:chOff x="0" y="0"/>
          <a:chExt cx="0" cy="0"/>
        </a:xfrm>
      </p:grpSpPr>
      <p:sp>
        <p:nvSpPr>
          <p:cNvPr id="17478" name="Google Shape;17478;p1509"/>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9" name="Google Shape;17479;p150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0" name="Google Shape;17480;p150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81" name="Google Shape;17481;p1509"/>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482" name="Google Shape;17482;p1509"/>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83" name="Google Shape;17483;p1509"/>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404525582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1129" name="Google Shape;1129;p115"/>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32" name="Google Shape;1132;p115"/>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1134" name="Google Shape;1134;p115"/>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Clr>
                <a:schemeClr val="dk1"/>
              </a:buClr>
              <a:buSzPts val="1800"/>
              <a:buChar char="•"/>
              <a:defRPr/>
            </a:lvl6pPr>
            <a:lvl7pPr marL="3200400" lvl="6" indent="-342900" algn="l">
              <a:lnSpc>
                <a:spcPct val="116666"/>
              </a:lnSpc>
              <a:spcBef>
                <a:spcPts val="1200"/>
              </a:spcBef>
              <a:spcAft>
                <a:spcPts val="0"/>
              </a:spcAft>
              <a:buClr>
                <a:schemeClr val="dk1"/>
              </a:buClr>
              <a:buSzPts val="1800"/>
              <a:buChar char="•"/>
              <a:defRPr/>
            </a:lvl7pPr>
            <a:lvl8pPr marL="3657600" lvl="7" indent="-342900" algn="l">
              <a:lnSpc>
                <a:spcPct val="116666"/>
              </a:lnSpc>
              <a:spcBef>
                <a:spcPts val="1200"/>
              </a:spcBef>
              <a:spcAft>
                <a:spcPts val="0"/>
              </a:spcAft>
              <a:buClr>
                <a:schemeClr val="dk1"/>
              </a:buClr>
              <a:buSzPts val="1800"/>
              <a:buChar char="•"/>
              <a:defRPr/>
            </a:lvl8pPr>
            <a:lvl9pPr marL="4114800" lvl="8" indent="-342900"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matchingName="Title and Bullets Layout 6">
  <p:cSld name="Title and Bullets Layout 6">
    <p:spTree>
      <p:nvGrpSpPr>
        <p:cNvPr id="1" name="Shape 17484"/>
        <p:cNvGrpSpPr/>
        <p:nvPr/>
      </p:nvGrpSpPr>
      <p:grpSpPr>
        <a:xfrm>
          <a:off x="0" y="0"/>
          <a:ext cx="0" cy="0"/>
          <a:chOff x="0" y="0"/>
          <a:chExt cx="0" cy="0"/>
        </a:xfrm>
      </p:grpSpPr>
      <p:sp>
        <p:nvSpPr>
          <p:cNvPr id="17485" name="Google Shape;17485;p1510"/>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86" name="Google Shape;17486;p151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7" name="Google Shape;17487;p151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8" name="Google Shape;17488;p1510"/>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489" name="Google Shape;17489;p15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722116484"/>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matchingName="1_Title and Content 6">
  <p:cSld name="1_Title and Content 6">
    <p:spTree>
      <p:nvGrpSpPr>
        <p:cNvPr id="1" name="Shape 17490"/>
        <p:cNvGrpSpPr/>
        <p:nvPr/>
      </p:nvGrpSpPr>
      <p:grpSpPr>
        <a:xfrm>
          <a:off x="0" y="0"/>
          <a:ext cx="0" cy="0"/>
          <a:chOff x="0" y="0"/>
          <a:chExt cx="0" cy="0"/>
        </a:xfrm>
      </p:grpSpPr>
      <p:sp>
        <p:nvSpPr>
          <p:cNvPr id="17491" name="Google Shape;17491;p151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92" name="Google Shape;17492;p1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
        <p:nvSpPr>
          <p:cNvPr id="17493" name="Google Shape;17493;p151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4" name="Google Shape;17494;p1511"/>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95" name="Google Shape;17495;p1511"/>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84942457"/>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matchingName="Two Section | Picture and Copy Layout 6">
  <p:cSld name="Two Section | Picture and Copy Layout 6">
    <p:spTree>
      <p:nvGrpSpPr>
        <p:cNvPr id="1" name="Shape 17496"/>
        <p:cNvGrpSpPr/>
        <p:nvPr/>
      </p:nvGrpSpPr>
      <p:grpSpPr>
        <a:xfrm>
          <a:off x="0" y="0"/>
          <a:ext cx="0" cy="0"/>
          <a:chOff x="0" y="0"/>
          <a:chExt cx="0" cy="0"/>
        </a:xfrm>
      </p:grpSpPr>
      <p:sp>
        <p:nvSpPr>
          <p:cNvPr id="17497" name="Google Shape;17497;p1512"/>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8" name="Google Shape;17498;p151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9" name="Google Shape;17499;p151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00" name="Google Shape;17500;p151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01" name="Google Shape;17501;p1512"/>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02" name="Google Shape;17502;p1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847627842"/>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matchingName="4_Title Slide_Yale Blue 5">
  <p:cSld name="4_Title Slide_Yale Blue 5">
    <p:spTree>
      <p:nvGrpSpPr>
        <p:cNvPr id="1" name="Shape 17503"/>
        <p:cNvGrpSpPr/>
        <p:nvPr/>
      </p:nvGrpSpPr>
      <p:grpSpPr>
        <a:xfrm>
          <a:off x="0" y="0"/>
          <a:ext cx="0" cy="0"/>
          <a:chOff x="0" y="0"/>
          <a:chExt cx="0" cy="0"/>
        </a:xfrm>
      </p:grpSpPr>
      <p:sp>
        <p:nvSpPr>
          <p:cNvPr id="17504" name="Google Shape;17504;p1513"/>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05" name="Google Shape;17505;p1513"/>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6" name="Google Shape;17506;p151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07" name="Google Shape;17507;p151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8" name="Google Shape;17508;p151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09" name="Google Shape;17509;p1513"/>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0" name="Google Shape;17510;p151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1" name="Google Shape;17511;p1513"/>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12" name="Google Shape;17512;p1513"/>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542122314"/>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matchingName="4_Title Slide_Yale Blue 6">
  <p:cSld name="4_Title Slide_Yale Blue 6">
    <p:spTree>
      <p:nvGrpSpPr>
        <p:cNvPr id="1" name="Shape 17513"/>
        <p:cNvGrpSpPr/>
        <p:nvPr/>
      </p:nvGrpSpPr>
      <p:grpSpPr>
        <a:xfrm>
          <a:off x="0" y="0"/>
          <a:ext cx="0" cy="0"/>
          <a:chOff x="0" y="0"/>
          <a:chExt cx="0" cy="0"/>
        </a:xfrm>
      </p:grpSpPr>
      <p:sp>
        <p:nvSpPr>
          <p:cNvPr id="17514" name="Google Shape;17514;p1514"/>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15" name="Google Shape;17515;p1514"/>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6" name="Google Shape;17516;p151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17" name="Google Shape;17517;p151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8" name="Google Shape;17518;p151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19" name="Google Shape;17519;p1514"/>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0" name="Google Shape;17520;p1514"/>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1" name="Google Shape;17521;p1514"/>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22" name="Google Shape;17522;p1514"/>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080182514"/>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matchingName="1_Title and Bullets Layout 4">
  <p:cSld name="1_Title and Bullets Layout 4">
    <p:spTree>
      <p:nvGrpSpPr>
        <p:cNvPr id="1" name="Shape 17523"/>
        <p:cNvGrpSpPr/>
        <p:nvPr/>
      </p:nvGrpSpPr>
      <p:grpSpPr>
        <a:xfrm>
          <a:off x="0" y="0"/>
          <a:ext cx="0" cy="0"/>
          <a:chOff x="0" y="0"/>
          <a:chExt cx="0" cy="0"/>
        </a:xfrm>
      </p:grpSpPr>
      <p:sp>
        <p:nvSpPr>
          <p:cNvPr id="17524" name="Google Shape;17524;p1515"/>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25" name="Google Shape;17525;p1515"/>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6" name="Google Shape;17526;p151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7" name="Google Shape;17527;p1515"/>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28" name="Google Shape;17528;p1515"/>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495925001"/>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matchingName="2_Title and Content 4">
  <p:cSld name="2_Title and Content 4">
    <p:spTree>
      <p:nvGrpSpPr>
        <p:cNvPr id="1" name="Shape 17529"/>
        <p:cNvGrpSpPr/>
        <p:nvPr/>
      </p:nvGrpSpPr>
      <p:grpSpPr>
        <a:xfrm>
          <a:off x="0" y="0"/>
          <a:ext cx="0" cy="0"/>
          <a:chOff x="0" y="0"/>
          <a:chExt cx="0" cy="0"/>
        </a:xfrm>
      </p:grpSpPr>
      <p:sp>
        <p:nvSpPr>
          <p:cNvPr id="17530" name="Google Shape;17530;p1516"/>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31" name="Google Shape;17531;p1516"/>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532" name="Google Shape;17532;p151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3" name="Google Shape;17533;p1516"/>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34" name="Google Shape;17534;p1516"/>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64410088"/>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matchingName="1_Two Section | Picture and Copy Layout 4">
  <p:cSld name="1_Two Section | Picture and Copy Layout 4">
    <p:spTree>
      <p:nvGrpSpPr>
        <p:cNvPr id="1" name="Shape 17535"/>
        <p:cNvGrpSpPr/>
        <p:nvPr/>
      </p:nvGrpSpPr>
      <p:grpSpPr>
        <a:xfrm>
          <a:off x="0" y="0"/>
          <a:ext cx="0" cy="0"/>
          <a:chOff x="0" y="0"/>
          <a:chExt cx="0" cy="0"/>
        </a:xfrm>
      </p:grpSpPr>
      <p:sp>
        <p:nvSpPr>
          <p:cNvPr id="17536" name="Google Shape;17536;p1517"/>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7" name="Google Shape;17537;p151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8" name="Google Shape;17538;p151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39" name="Google Shape;17539;p1517"/>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40" name="Google Shape;17540;p1517"/>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41" name="Google Shape;17541;p1517"/>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3393159875"/>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matchingName="4_Title Slide_Yale Blue 7">
  <p:cSld name="4_Title Slide_Yale Blue 7">
    <p:spTree>
      <p:nvGrpSpPr>
        <p:cNvPr id="1" name="Shape 17542"/>
        <p:cNvGrpSpPr/>
        <p:nvPr/>
      </p:nvGrpSpPr>
      <p:grpSpPr>
        <a:xfrm>
          <a:off x="0" y="0"/>
          <a:ext cx="0" cy="0"/>
          <a:chOff x="0" y="0"/>
          <a:chExt cx="0" cy="0"/>
        </a:xfrm>
      </p:grpSpPr>
      <p:sp>
        <p:nvSpPr>
          <p:cNvPr id="17543" name="Google Shape;17543;p1518"/>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44" name="Google Shape;17544;p1518"/>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5" name="Google Shape;17545;p151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46" name="Google Shape;17546;p151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7" name="Google Shape;17547;p151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48" name="Google Shape;17548;p1518"/>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49" name="Google Shape;17549;p151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50" name="Google Shape;17550;p1518"/>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51" name="Google Shape;17551;p1518"/>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2618348713"/>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matchingName="1_Title and Bullets Layout 5">
  <p:cSld name="1_Title and Bullets Layout 5">
    <p:spTree>
      <p:nvGrpSpPr>
        <p:cNvPr id="1" name="Shape 17552"/>
        <p:cNvGrpSpPr/>
        <p:nvPr/>
      </p:nvGrpSpPr>
      <p:grpSpPr>
        <a:xfrm>
          <a:off x="0" y="0"/>
          <a:ext cx="0" cy="0"/>
          <a:chOff x="0" y="0"/>
          <a:chExt cx="0" cy="0"/>
        </a:xfrm>
      </p:grpSpPr>
      <p:sp>
        <p:nvSpPr>
          <p:cNvPr id="17553" name="Google Shape;17553;p1519"/>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54" name="Google Shape;17554;p1519"/>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5" name="Google Shape;17555;p151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6" name="Google Shape;17556;p1519"/>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557" name="Google Shape;17557;p1519"/>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00003067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1137" name="Google Shape;1137;p116"/>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40" name="Google Shape;1140;p116"/>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matchingName="3_Title and Content 5">
  <p:cSld name="3_Title and Content 5">
    <p:spTree>
      <p:nvGrpSpPr>
        <p:cNvPr id="1" name="Shape 17558"/>
        <p:cNvGrpSpPr/>
        <p:nvPr/>
      </p:nvGrpSpPr>
      <p:grpSpPr>
        <a:xfrm>
          <a:off x="0" y="0"/>
          <a:ext cx="0" cy="0"/>
          <a:chOff x="0" y="0"/>
          <a:chExt cx="0" cy="0"/>
        </a:xfrm>
      </p:grpSpPr>
      <p:sp>
        <p:nvSpPr>
          <p:cNvPr id="17559" name="Google Shape;17559;p1520"/>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60" name="Google Shape;17560;p1520"/>
          <p:cNvPicPr preferRelativeResize="0"/>
          <p:nvPr/>
        </p:nvPicPr>
        <p:blipFill rotWithShape="1">
          <a:blip r:embed="rId2">
            <a:alphaModFix/>
          </a:blip>
          <a:srcRect/>
          <a:stretch/>
        </p:blipFill>
        <p:spPr>
          <a:xfrm>
            <a:off x="7132669" y="6364408"/>
            <a:ext cx="5059329" cy="493593"/>
          </a:xfrm>
          <a:prstGeom prst="rect">
            <a:avLst/>
          </a:prstGeom>
          <a:noFill/>
          <a:ln>
            <a:noFill/>
          </a:ln>
        </p:spPr>
      </p:pic>
      <p:sp>
        <p:nvSpPr>
          <p:cNvPr id="17561" name="Google Shape;17561;p152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2" name="Google Shape;17562;p1520"/>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3" name="Google Shape;17563;p1520"/>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29254698"/>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matchingName="1_Two Section | Picture and Copy Layout 5">
  <p:cSld name="1_Two Section | Picture and Copy Layout 5">
    <p:spTree>
      <p:nvGrpSpPr>
        <p:cNvPr id="1" name="Shape 17564"/>
        <p:cNvGrpSpPr/>
        <p:nvPr/>
      </p:nvGrpSpPr>
      <p:grpSpPr>
        <a:xfrm>
          <a:off x="0" y="0"/>
          <a:ext cx="0" cy="0"/>
          <a:chOff x="0" y="0"/>
          <a:chExt cx="0" cy="0"/>
        </a:xfrm>
      </p:grpSpPr>
      <p:sp>
        <p:nvSpPr>
          <p:cNvPr id="17565" name="Google Shape;17565;p152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6" name="Google Shape;17566;p152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7" name="Google Shape;17567;p152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68" name="Google Shape;17568;p1521"/>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69" name="Google Shape;17569;p1521"/>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70" name="Google Shape;17570;p1521"/>
          <p:cNvPicPr preferRelativeResize="0"/>
          <p:nvPr/>
        </p:nvPicPr>
        <p:blipFill rotWithShape="1">
          <a:blip r:embed="rId2">
            <a:alphaModFix/>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77669582"/>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matchingName="Cover 11">
  <p:cSld name="Cover 11">
    <p:spTree>
      <p:nvGrpSpPr>
        <p:cNvPr id="1" name="Shape 17571"/>
        <p:cNvGrpSpPr/>
        <p:nvPr/>
      </p:nvGrpSpPr>
      <p:grpSpPr>
        <a:xfrm>
          <a:off x="0" y="0"/>
          <a:ext cx="0" cy="0"/>
          <a:chOff x="0" y="0"/>
          <a:chExt cx="0" cy="0"/>
        </a:xfrm>
      </p:grpSpPr>
      <p:sp>
        <p:nvSpPr>
          <p:cNvPr id="17572" name="Google Shape;17572;p1522"/>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73" name="Google Shape;17573;p152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74" name="Google Shape;17574;p152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575" name="Google Shape;17575;p1522"/>
          <p:cNvGrpSpPr/>
          <p:nvPr/>
        </p:nvGrpSpPr>
        <p:grpSpPr>
          <a:xfrm>
            <a:off x="0" y="5020350"/>
            <a:ext cx="12191996" cy="1837651"/>
            <a:chOff x="0" y="5020348"/>
            <a:chExt cx="12191996" cy="1837651"/>
          </a:xfrm>
        </p:grpSpPr>
        <p:sp>
          <p:nvSpPr>
            <p:cNvPr id="17576" name="Google Shape;17576;p152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77" name="Google Shape;17577;p152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578" name="Google Shape;17578;p152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318343334"/>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matchingName="Divider 12">
  <p:cSld name="Divider 12">
    <p:spTree>
      <p:nvGrpSpPr>
        <p:cNvPr id="1" name="Shape 17579"/>
        <p:cNvGrpSpPr/>
        <p:nvPr/>
      </p:nvGrpSpPr>
      <p:grpSpPr>
        <a:xfrm>
          <a:off x="0" y="0"/>
          <a:ext cx="0" cy="0"/>
          <a:chOff x="0" y="0"/>
          <a:chExt cx="0" cy="0"/>
        </a:xfrm>
      </p:grpSpPr>
      <p:grpSp>
        <p:nvGrpSpPr>
          <p:cNvPr id="17580" name="Google Shape;17580;p1523"/>
          <p:cNvGrpSpPr/>
          <p:nvPr/>
        </p:nvGrpSpPr>
        <p:grpSpPr>
          <a:xfrm>
            <a:off x="0" y="5020350"/>
            <a:ext cx="12191996" cy="1837651"/>
            <a:chOff x="0" y="5020348"/>
            <a:chExt cx="12191996" cy="1837651"/>
          </a:xfrm>
        </p:grpSpPr>
        <p:sp>
          <p:nvSpPr>
            <p:cNvPr id="17581" name="Google Shape;17581;p152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82" name="Google Shape;17582;p152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83" name="Google Shape;17583;p152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584" name="Google Shape;17584;p152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585" name="Google Shape;17585;p152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86" name="Google Shape;17586;p152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19589196"/>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matchingName="Photo Slide 11">
  <p:cSld name="Photo Slide 11">
    <p:spTree>
      <p:nvGrpSpPr>
        <p:cNvPr id="1" name="Shape 17587"/>
        <p:cNvGrpSpPr/>
        <p:nvPr/>
      </p:nvGrpSpPr>
      <p:grpSpPr>
        <a:xfrm>
          <a:off x="0" y="0"/>
          <a:ext cx="0" cy="0"/>
          <a:chOff x="0" y="0"/>
          <a:chExt cx="0" cy="0"/>
        </a:xfrm>
      </p:grpSpPr>
      <p:sp>
        <p:nvSpPr>
          <p:cNvPr id="17588" name="Google Shape;17588;p152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589" name="Google Shape;17589;p1524"/>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590" name="Google Shape;17590;p1524"/>
          <p:cNvGrpSpPr/>
          <p:nvPr/>
        </p:nvGrpSpPr>
        <p:grpSpPr>
          <a:xfrm>
            <a:off x="2" y="5379426"/>
            <a:ext cx="2807363" cy="753895"/>
            <a:chOff x="0" y="5379424"/>
            <a:chExt cx="2807363" cy="753895"/>
          </a:xfrm>
        </p:grpSpPr>
        <p:sp>
          <p:nvSpPr>
            <p:cNvPr id="17591" name="Google Shape;17591;p152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2" name="Google Shape;17592;p152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593" name="Google Shape;17593;p1524"/>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666202367"/>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matchingName="Quotation 16">
  <p:cSld name="Quotation 16">
    <p:spTree>
      <p:nvGrpSpPr>
        <p:cNvPr id="1" name="Shape 17594"/>
        <p:cNvGrpSpPr/>
        <p:nvPr/>
      </p:nvGrpSpPr>
      <p:grpSpPr>
        <a:xfrm>
          <a:off x="0" y="0"/>
          <a:ext cx="0" cy="0"/>
          <a:chOff x="0" y="0"/>
          <a:chExt cx="0" cy="0"/>
        </a:xfrm>
      </p:grpSpPr>
      <p:sp>
        <p:nvSpPr>
          <p:cNvPr id="17595" name="Google Shape;17595;p15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6" name="Google Shape;17596;p15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97" name="Google Shape;17597;p152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598" name="Google Shape;17598;p152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599" name="Google Shape;17599;p15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00" name="Google Shape;17600;p152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01" name="Google Shape;17601;p1525"/>
          <p:cNvGrpSpPr/>
          <p:nvPr/>
        </p:nvGrpSpPr>
        <p:grpSpPr>
          <a:xfrm>
            <a:off x="7191545" y="0"/>
            <a:ext cx="5000460" cy="1425988"/>
            <a:chOff x="7191545" y="0"/>
            <a:chExt cx="5000460" cy="1425988"/>
          </a:xfrm>
        </p:grpSpPr>
        <p:pic>
          <p:nvPicPr>
            <p:cNvPr id="17602" name="Google Shape;17602;p15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03" name="Google Shape;17603;p1525"/>
            <p:cNvGrpSpPr/>
            <p:nvPr/>
          </p:nvGrpSpPr>
          <p:grpSpPr>
            <a:xfrm>
              <a:off x="7191545" y="0"/>
              <a:ext cx="5000460" cy="1425988"/>
              <a:chOff x="7191545" y="0"/>
              <a:chExt cx="5000460" cy="1425988"/>
            </a:xfrm>
          </p:grpSpPr>
          <p:sp>
            <p:nvSpPr>
              <p:cNvPr id="17604" name="Google Shape;17604;p15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05" name="Google Shape;17605;p15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06" name="Google Shape;17606;p152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47025114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matchingName="1_Quotation 16">
  <p:cSld name="1_Quotation 16">
    <p:spTree>
      <p:nvGrpSpPr>
        <p:cNvPr id="1" name="Shape 17607"/>
        <p:cNvGrpSpPr/>
        <p:nvPr/>
      </p:nvGrpSpPr>
      <p:grpSpPr>
        <a:xfrm>
          <a:off x="0" y="0"/>
          <a:ext cx="0" cy="0"/>
          <a:chOff x="0" y="0"/>
          <a:chExt cx="0" cy="0"/>
        </a:xfrm>
      </p:grpSpPr>
      <p:sp>
        <p:nvSpPr>
          <p:cNvPr id="17608" name="Google Shape;17608;p15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09" name="Google Shape;17609;p15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10" name="Google Shape;17610;p152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11" name="Google Shape;17611;p152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12" name="Google Shape;17612;p1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13" name="Google Shape;17613;p152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14" name="Google Shape;17614;p1526"/>
          <p:cNvGrpSpPr/>
          <p:nvPr/>
        </p:nvGrpSpPr>
        <p:grpSpPr>
          <a:xfrm>
            <a:off x="7191545" y="0"/>
            <a:ext cx="5000460" cy="1425988"/>
            <a:chOff x="7191545" y="0"/>
            <a:chExt cx="5000460" cy="1425988"/>
          </a:xfrm>
        </p:grpSpPr>
        <p:pic>
          <p:nvPicPr>
            <p:cNvPr id="17615" name="Google Shape;17615;p1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16" name="Google Shape;17616;p1526"/>
            <p:cNvGrpSpPr/>
            <p:nvPr/>
          </p:nvGrpSpPr>
          <p:grpSpPr>
            <a:xfrm>
              <a:off x="7191545" y="0"/>
              <a:ext cx="5000460" cy="1425988"/>
              <a:chOff x="7191545" y="0"/>
              <a:chExt cx="5000460" cy="1425988"/>
            </a:xfrm>
          </p:grpSpPr>
          <p:sp>
            <p:nvSpPr>
              <p:cNvPr id="17617" name="Google Shape;17617;p1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18" name="Google Shape;17618;p1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19" name="Google Shape;17619;p152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044956496"/>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matchingName="Two Content 10">
  <p:cSld name="Two Content 10">
    <p:spTree>
      <p:nvGrpSpPr>
        <p:cNvPr id="1" name="Shape 17620"/>
        <p:cNvGrpSpPr/>
        <p:nvPr/>
      </p:nvGrpSpPr>
      <p:grpSpPr>
        <a:xfrm>
          <a:off x="0" y="0"/>
          <a:ext cx="0" cy="0"/>
          <a:chOff x="0" y="0"/>
          <a:chExt cx="0" cy="0"/>
        </a:xfrm>
      </p:grpSpPr>
      <p:sp>
        <p:nvSpPr>
          <p:cNvPr id="17621" name="Google Shape;17621;p152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2" name="Google Shape;17622;p1527"/>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623" name="Google Shape;17623;p1527"/>
          <p:cNvGrpSpPr/>
          <p:nvPr/>
        </p:nvGrpSpPr>
        <p:grpSpPr>
          <a:xfrm>
            <a:off x="7191545" y="0"/>
            <a:ext cx="5000460" cy="1425988"/>
            <a:chOff x="7191545" y="0"/>
            <a:chExt cx="5000460" cy="1425988"/>
          </a:xfrm>
        </p:grpSpPr>
        <p:pic>
          <p:nvPicPr>
            <p:cNvPr id="17624" name="Google Shape;17624;p1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25" name="Google Shape;17625;p1527"/>
            <p:cNvGrpSpPr/>
            <p:nvPr/>
          </p:nvGrpSpPr>
          <p:grpSpPr>
            <a:xfrm>
              <a:off x="7191545" y="0"/>
              <a:ext cx="5000460" cy="1425988"/>
              <a:chOff x="7191545" y="0"/>
              <a:chExt cx="5000460" cy="1425988"/>
            </a:xfrm>
          </p:grpSpPr>
          <p:sp>
            <p:nvSpPr>
              <p:cNvPr id="17626" name="Google Shape;17626;p1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27" name="Google Shape;17627;p1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28" name="Google Shape;17628;p1527"/>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29" name="Google Shape;17629;p1527"/>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30" name="Google Shape;17630;p1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31" name="Google Shape;17631;p152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19626261"/>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matchingName="Comparison 9">
  <p:cSld name="Comparison 9">
    <p:spTree>
      <p:nvGrpSpPr>
        <p:cNvPr id="1" name="Shape 17632"/>
        <p:cNvGrpSpPr/>
        <p:nvPr/>
      </p:nvGrpSpPr>
      <p:grpSpPr>
        <a:xfrm>
          <a:off x="0" y="0"/>
          <a:ext cx="0" cy="0"/>
          <a:chOff x="0" y="0"/>
          <a:chExt cx="0" cy="0"/>
        </a:xfrm>
      </p:grpSpPr>
      <p:grpSp>
        <p:nvGrpSpPr>
          <p:cNvPr id="17633" name="Google Shape;17633;p1528"/>
          <p:cNvGrpSpPr/>
          <p:nvPr/>
        </p:nvGrpSpPr>
        <p:grpSpPr>
          <a:xfrm>
            <a:off x="7191545" y="0"/>
            <a:ext cx="5000460" cy="1425988"/>
            <a:chOff x="7191545" y="0"/>
            <a:chExt cx="5000460" cy="1425988"/>
          </a:xfrm>
        </p:grpSpPr>
        <p:pic>
          <p:nvPicPr>
            <p:cNvPr id="17634" name="Google Shape;17634;p15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35" name="Google Shape;17635;p1528"/>
            <p:cNvGrpSpPr/>
            <p:nvPr/>
          </p:nvGrpSpPr>
          <p:grpSpPr>
            <a:xfrm>
              <a:off x="7191545" y="0"/>
              <a:ext cx="5000460" cy="1425988"/>
              <a:chOff x="7191545" y="0"/>
              <a:chExt cx="5000460" cy="1425988"/>
            </a:xfrm>
          </p:grpSpPr>
          <p:sp>
            <p:nvSpPr>
              <p:cNvPr id="17636" name="Google Shape;17636;p15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37" name="Google Shape;17637;p15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38" name="Google Shape;17638;p152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39" name="Google Shape;17639;p1528"/>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0" name="Google Shape;17640;p1528"/>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1" name="Google Shape;17641;p1528"/>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2" name="Google Shape;17642;p1528"/>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43" name="Google Shape;17643;p152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44" name="Google Shape;17644;p15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45" name="Google Shape;17645;p152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82131421"/>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matchingName="Title Only 9">
  <p:cSld name="Title Only 9">
    <p:spTree>
      <p:nvGrpSpPr>
        <p:cNvPr id="1" name="Shape 17646"/>
        <p:cNvGrpSpPr/>
        <p:nvPr/>
      </p:nvGrpSpPr>
      <p:grpSpPr>
        <a:xfrm>
          <a:off x="0" y="0"/>
          <a:ext cx="0" cy="0"/>
          <a:chOff x="0" y="0"/>
          <a:chExt cx="0" cy="0"/>
        </a:xfrm>
      </p:grpSpPr>
      <p:grpSp>
        <p:nvGrpSpPr>
          <p:cNvPr id="17647" name="Google Shape;17647;p1529"/>
          <p:cNvGrpSpPr/>
          <p:nvPr/>
        </p:nvGrpSpPr>
        <p:grpSpPr>
          <a:xfrm>
            <a:off x="7191545" y="0"/>
            <a:ext cx="5000460" cy="1425988"/>
            <a:chOff x="7191545" y="0"/>
            <a:chExt cx="5000460" cy="1425988"/>
          </a:xfrm>
        </p:grpSpPr>
        <p:pic>
          <p:nvPicPr>
            <p:cNvPr id="17648" name="Google Shape;17648;p15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49" name="Google Shape;17649;p1529"/>
            <p:cNvGrpSpPr/>
            <p:nvPr/>
          </p:nvGrpSpPr>
          <p:grpSpPr>
            <a:xfrm>
              <a:off x="7191545" y="0"/>
              <a:ext cx="5000460" cy="1425988"/>
              <a:chOff x="7191545" y="0"/>
              <a:chExt cx="5000460" cy="1425988"/>
            </a:xfrm>
          </p:grpSpPr>
          <p:sp>
            <p:nvSpPr>
              <p:cNvPr id="17650" name="Google Shape;17650;p15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51" name="Google Shape;17651;p15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52" name="Google Shape;17652;p152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53" name="Google Shape;17653;p152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54" name="Google Shape;17654;p15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55" name="Google Shape;17655;p152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494260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142"/>
        <p:cNvGrpSpPr/>
        <p:nvPr/>
      </p:nvGrpSpPr>
      <p:grpSpPr>
        <a:xfrm>
          <a:off x="0" y="0"/>
          <a:ext cx="0" cy="0"/>
          <a:chOff x="0" y="0"/>
          <a:chExt cx="0" cy="0"/>
        </a:xfrm>
      </p:grpSpPr>
      <p:pic>
        <p:nvPicPr>
          <p:cNvPr id="1143" name="Google Shape;1143;p117" descr="Cadence image1rgb 16x9.jpg"/>
          <p:cNvPicPr preferRelativeResize="0"/>
          <p:nvPr/>
        </p:nvPicPr>
        <p:blipFill rotWithShape="1">
          <a:blip r:embed="rId2">
            <a:alphaModFix/>
          </a:blip>
          <a:srcRect/>
          <a:stretch/>
        </p:blipFill>
        <p:spPr>
          <a:xfrm>
            <a:off x="32426" y="0"/>
            <a:ext cx="12159575" cy="6858000"/>
          </a:xfrm>
          <a:prstGeom prst="rect">
            <a:avLst/>
          </a:prstGeom>
          <a:noFill/>
          <a:ln>
            <a:noFill/>
          </a:ln>
        </p:spPr>
      </p:pic>
      <p:sp>
        <p:nvSpPr>
          <p:cNvPr id="1144" name="Google Shape;1144;p117"/>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145" name="Google Shape;1145;p117"/>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 name="Google Shape;1146;p117"/>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147" name="Google Shape;1147;p117"/>
          <p:cNvPicPr preferRelativeResize="0"/>
          <p:nvPr/>
        </p:nvPicPr>
        <p:blipFill rotWithShape="1">
          <a:blip r:embed="rId3">
            <a:alphaModFix/>
          </a:blip>
          <a:srcRect/>
          <a:stretch/>
        </p:blipFill>
        <p:spPr>
          <a:xfrm>
            <a:off x="539142" y="498512"/>
            <a:ext cx="3318337" cy="468861"/>
          </a:xfrm>
          <a:prstGeom prst="rect">
            <a:avLst/>
          </a:prstGeom>
          <a:noFill/>
          <a:ln>
            <a:noFill/>
          </a:ln>
        </p:spPr>
      </p:pic>
    </p:spTree>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matchingName="End 10">
  <p:cSld name="End 10">
    <p:spTree>
      <p:nvGrpSpPr>
        <p:cNvPr id="1" name="Shape 17656"/>
        <p:cNvGrpSpPr/>
        <p:nvPr/>
      </p:nvGrpSpPr>
      <p:grpSpPr>
        <a:xfrm>
          <a:off x="0" y="0"/>
          <a:ext cx="0" cy="0"/>
          <a:chOff x="0" y="0"/>
          <a:chExt cx="0" cy="0"/>
        </a:xfrm>
      </p:grpSpPr>
      <p:grpSp>
        <p:nvGrpSpPr>
          <p:cNvPr id="17657" name="Google Shape;17657;p1530"/>
          <p:cNvGrpSpPr/>
          <p:nvPr/>
        </p:nvGrpSpPr>
        <p:grpSpPr>
          <a:xfrm>
            <a:off x="0" y="0"/>
            <a:ext cx="12191996" cy="2148830"/>
            <a:chOff x="0" y="0"/>
            <a:chExt cx="12191996" cy="2148830"/>
          </a:xfrm>
        </p:grpSpPr>
        <p:sp>
          <p:nvSpPr>
            <p:cNvPr id="17658" name="Google Shape;17658;p153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59" name="Google Shape;17659;p153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660" name="Google Shape;17660;p1530"/>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61" name="Google Shape;17661;p1530"/>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662" name="Google Shape;17662;p1530"/>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663" name="Google Shape;17663;p153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7833485"/>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matchingName="Blank 8">
  <p:cSld name="Blank 8">
    <p:spTree>
      <p:nvGrpSpPr>
        <p:cNvPr id="1" name="Shape 17664"/>
        <p:cNvGrpSpPr/>
        <p:nvPr/>
      </p:nvGrpSpPr>
      <p:grpSpPr>
        <a:xfrm>
          <a:off x="0" y="0"/>
          <a:ext cx="0" cy="0"/>
          <a:chOff x="0" y="0"/>
          <a:chExt cx="0" cy="0"/>
        </a:xfrm>
      </p:grpSpPr>
      <p:sp>
        <p:nvSpPr>
          <p:cNvPr id="17665" name="Google Shape;17665;p153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66" name="Google Shape;17666;p15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67" name="Google Shape;17667;p153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68" name="Google Shape;17668;p1531"/>
          <p:cNvGrpSpPr/>
          <p:nvPr/>
        </p:nvGrpSpPr>
        <p:grpSpPr>
          <a:xfrm>
            <a:off x="7191545" y="0"/>
            <a:ext cx="5000460" cy="1425988"/>
            <a:chOff x="7191545" y="0"/>
            <a:chExt cx="5000460" cy="1425988"/>
          </a:xfrm>
        </p:grpSpPr>
        <p:pic>
          <p:nvPicPr>
            <p:cNvPr id="17669" name="Google Shape;17669;p15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70" name="Google Shape;17670;p1531"/>
            <p:cNvGrpSpPr/>
            <p:nvPr/>
          </p:nvGrpSpPr>
          <p:grpSpPr>
            <a:xfrm>
              <a:off x="7191545" y="0"/>
              <a:ext cx="5000460" cy="1425988"/>
              <a:chOff x="7191545" y="0"/>
              <a:chExt cx="5000460" cy="1425988"/>
            </a:xfrm>
          </p:grpSpPr>
          <p:sp>
            <p:nvSpPr>
              <p:cNvPr id="17671" name="Google Shape;17671;p15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72" name="Google Shape;17672;p15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81487251"/>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matchingName="Cover 12">
  <p:cSld name="Cover 12">
    <p:spTree>
      <p:nvGrpSpPr>
        <p:cNvPr id="1" name="Shape 17673"/>
        <p:cNvGrpSpPr/>
        <p:nvPr/>
      </p:nvGrpSpPr>
      <p:grpSpPr>
        <a:xfrm>
          <a:off x="0" y="0"/>
          <a:ext cx="0" cy="0"/>
          <a:chOff x="0" y="0"/>
          <a:chExt cx="0" cy="0"/>
        </a:xfrm>
      </p:grpSpPr>
      <p:sp>
        <p:nvSpPr>
          <p:cNvPr id="17674" name="Google Shape;17674;p1532"/>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75" name="Google Shape;17675;p153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76" name="Google Shape;17676;p153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677" name="Google Shape;17677;p1532"/>
          <p:cNvGrpSpPr/>
          <p:nvPr/>
        </p:nvGrpSpPr>
        <p:grpSpPr>
          <a:xfrm>
            <a:off x="0" y="5020350"/>
            <a:ext cx="12191996" cy="1837651"/>
            <a:chOff x="0" y="5020348"/>
            <a:chExt cx="12191996" cy="1837651"/>
          </a:xfrm>
        </p:grpSpPr>
        <p:sp>
          <p:nvSpPr>
            <p:cNvPr id="17678" name="Google Shape;17678;p153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79" name="Google Shape;17679;p153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680" name="Google Shape;17680;p153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419595215"/>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matchingName="Divider 13">
  <p:cSld name="Divider 13">
    <p:spTree>
      <p:nvGrpSpPr>
        <p:cNvPr id="1" name="Shape 17681"/>
        <p:cNvGrpSpPr/>
        <p:nvPr/>
      </p:nvGrpSpPr>
      <p:grpSpPr>
        <a:xfrm>
          <a:off x="0" y="0"/>
          <a:ext cx="0" cy="0"/>
          <a:chOff x="0" y="0"/>
          <a:chExt cx="0" cy="0"/>
        </a:xfrm>
      </p:grpSpPr>
      <p:grpSp>
        <p:nvGrpSpPr>
          <p:cNvPr id="17682" name="Google Shape;17682;p1533"/>
          <p:cNvGrpSpPr/>
          <p:nvPr/>
        </p:nvGrpSpPr>
        <p:grpSpPr>
          <a:xfrm>
            <a:off x="0" y="5020350"/>
            <a:ext cx="12191996" cy="1837651"/>
            <a:chOff x="0" y="5020348"/>
            <a:chExt cx="12191996" cy="1837651"/>
          </a:xfrm>
        </p:grpSpPr>
        <p:sp>
          <p:nvSpPr>
            <p:cNvPr id="17683" name="Google Shape;17683;p153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84" name="Google Shape;17684;p153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85" name="Google Shape;17685;p153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686" name="Google Shape;17686;p153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687" name="Google Shape;17687;p153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88" name="Google Shape;17688;p153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97590680"/>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matchingName="Photo Slide 12">
  <p:cSld name="Photo Slide 12">
    <p:spTree>
      <p:nvGrpSpPr>
        <p:cNvPr id="1" name="Shape 17689"/>
        <p:cNvGrpSpPr/>
        <p:nvPr/>
      </p:nvGrpSpPr>
      <p:grpSpPr>
        <a:xfrm>
          <a:off x="0" y="0"/>
          <a:ext cx="0" cy="0"/>
          <a:chOff x="0" y="0"/>
          <a:chExt cx="0" cy="0"/>
        </a:xfrm>
      </p:grpSpPr>
      <p:sp>
        <p:nvSpPr>
          <p:cNvPr id="17690" name="Google Shape;17690;p153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691" name="Google Shape;17691;p1534"/>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692" name="Google Shape;17692;p1534"/>
          <p:cNvGrpSpPr/>
          <p:nvPr/>
        </p:nvGrpSpPr>
        <p:grpSpPr>
          <a:xfrm>
            <a:off x="2" y="5379426"/>
            <a:ext cx="2807363" cy="753895"/>
            <a:chOff x="0" y="5379424"/>
            <a:chExt cx="2807363" cy="753895"/>
          </a:xfrm>
        </p:grpSpPr>
        <p:sp>
          <p:nvSpPr>
            <p:cNvPr id="17693" name="Google Shape;17693;p153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4" name="Google Shape;17694;p153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695" name="Google Shape;17695;p1534"/>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050628330"/>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matchingName="Quotation 17">
  <p:cSld name="Quotation 17">
    <p:spTree>
      <p:nvGrpSpPr>
        <p:cNvPr id="1" name="Shape 17696"/>
        <p:cNvGrpSpPr/>
        <p:nvPr/>
      </p:nvGrpSpPr>
      <p:grpSpPr>
        <a:xfrm>
          <a:off x="0" y="0"/>
          <a:ext cx="0" cy="0"/>
          <a:chOff x="0" y="0"/>
          <a:chExt cx="0" cy="0"/>
        </a:xfrm>
      </p:grpSpPr>
      <p:sp>
        <p:nvSpPr>
          <p:cNvPr id="17697" name="Google Shape;17697;p15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8" name="Google Shape;17698;p15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99" name="Google Shape;17699;p153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00" name="Google Shape;17700;p153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01" name="Google Shape;17701;p1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02" name="Google Shape;17702;p153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03" name="Google Shape;17703;p1535"/>
          <p:cNvGrpSpPr/>
          <p:nvPr/>
        </p:nvGrpSpPr>
        <p:grpSpPr>
          <a:xfrm>
            <a:off x="7191545" y="0"/>
            <a:ext cx="5000460" cy="1425988"/>
            <a:chOff x="7191545" y="0"/>
            <a:chExt cx="5000460" cy="1425988"/>
          </a:xfrm>
        </p:grpSpPr>
        <p:pic>
          <p:nvPicPr>
            <p:cNvPr id="17704" name="Google Shape;17704;p1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05" name="Google Shape;17705;p1535"/>
            <p:cNvGrpSpPr/>
            <p:nvPr/>
          </p:nvGrpSpPr>
          <p:grpSpPr>
            <a:xfrm>
              <a:off x="7191545" y="0"/>
              <a:ext cx="5000460" cy="1425988"/>
              <a:chOff x="7191545" y="0"/>
              <a:chExt cx="5000460" cy="1425988"/>
            </a:xfrm>
          </p:grpSpPr>
          <p:sp>
            <p:nvSpPr>
              <p:cNvPr id="17706" name="Google Shape;17706;p1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07" name="Google Shape;17707;p1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08" name="Google Shape;17708;p153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805002402"/>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matchingName="1_Quotation 17">
  <p:cSld name="1_Quotation 17">
    <p:spTree>
      <p:nvGrpSpPr>
        <p:cNvPr id="1" name="Shape 17709"/>
        <p:cNvGrpSpPr/>
        <p:nvPr/>
      </p:nvGrpSpPr>
      <p:grpSpPr>
        <a:xfrm>
          <a:off x="0" y="0"/>
          <a:ext cx="0" cy="0"/>
          <a:chOff x="0" y="0"/>
          <a:chExt cx="0" cy="0"/>
        </a:xfrm>
      </p:grpSpPr>
      <p:sp>
        <p:nvSpPr>
          <p:cNvPr id="17710" name="Google Shape;17710;p15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11" name="Google Shape;17711;p15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12" name="Google Shape;17712;p153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13" name="Google Shape;17713;p153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14" name="Google Shape;17714;p15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15" name="Google Shape;17715;p153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16" name="Google Shape;17716;p1536"/>
          <p:cNvGrpSpPr/>
          <p:nvPr/>
        </p:nvGrpSpPr>
        <p:grpSpPr>
          <a:xfrm>
            <a:off x="7191545" y="0"/>
            <a:ext cx="5000460" cy="1425988"/>
            <a:chOff x="7191545" y="0"/>
            <a:chExt cx="5000460" cy="1425988"/>
          </a:xfrm>
        </p:grpSpPr>
        <p:pic>
          <p:nvPicPr>
            <p:cNvPr id="17717" name="Google Shape;17717;p15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18" name="Google Shape;17718;p1536"/>
            <p:cNvGrpSpPr/>
            <p:nvPr/>
          </p:nvGrpSpPr>
          <p:grpSpPr>
            <a:xfrm>
              <a:off x="7191545" y="0"/>
              <a:ext cx="5000460" cy="1425988"/>
              <a:chOff x="7191545" y="0"/>
              <a:chExt cx="5000460" cy="1425988"/>
            </a:xfrm>
          </p:grpSpPr>
          <p:sp>
            <p:nvSpPr>
              <p:cNvPr id="17719" name="Google Shape;17719;p15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0" name="Google Shape;17720;p15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21" name="Google Shape;17721;p153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580246800"/>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matchingName="Title and Content 14">
  <p:cSld name="Title and Content 14">
    <p:spTree>
      <p:nvGrpSpPr>
        <p:cNvPr id="1" name="Shape 17722"/>
        <p:cNvGrpSpPr/>
        <p:nvPr/>
      </p:nvGrpSpPr>
      <p:grpSpPr>
        <a:xfrm>
          <a:off x="0" y="0"/>
          <a:ext cx="0" cy="0"/>
          <a:chOff x="0" y="0"/>
          <a:chExt cx="0" cy="0"/>
        </a:xfrm>
      </p:grpSpPr>
      <p:grpSp>
        <p:nvGrpSpPr>
          <p:cNvPr id="17723" name="Google Shape;17723;p1537"/>
          <p:cNvGrpSpPr/>
          <p:nvPr/>
        </p:nvGrpSpPr>
        <p:grpSpPr>
          <a:xfrm>
            <a:off x="7191545" y="0"/>
            <a:ext cx="5000460" cy="1425988"/>
            <a:chOff x="7191545" y="0"/>
            <a:chExt cx="5000460" cy="1425988"/>
          </a:xfrm>
        </p:grpSpPr>
        <p:pic>
          <p:nvPicPr>
            <p:cNvPr id="17724" name="Google Shape;17724;p1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25" name="Google Shape;17725;p1537"/>
            <p:cNvGrpSpPr/>
            <p:nvPr/>
          </p:nvGrpSpPr>
          <p:grpSpPr>
            <a:xfrm>
              <a:off x="7191545" y="0"/>
              <a:ext cx="5000460" cy="1425988"/>
              <a:chOff x="7191545" y="0"/>
              <a:chExt cx="5000460" cy="1425988"/>
            </a:xfrm>
          </p:grpSpPr>
          <p:sp>
            <p:nvSpPr>
              <p:cNvPr id="17726" name="Google Shape;17726;p1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7" name="Google Shape;17727;p1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28" name="Google Shape;17728;p153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29" name="Google Shape;17729;p15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30" name="Google Shape;17730;p153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31" name="Google Shape;17731;p1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32" name="Google Shape;17732;p153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25946541"/>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matchingName="Two Content 11">
  <p:cSld name="Two Content 11">
    <p:spTree>
      <p:nvGrpSpPr>
        <p:cNvPr id="1" name="Shape 17733"/>
        <p:cNvGrpSpPr/>
        <p:nvPr/>
      </p:nvGrpSpPr>
      <p:grpSpPr>
        <a:xfrm>
          <a:off x="0" y="0"/>
          <a:ext cx="0" cy="0"/>
          <a:chOff x="0" y="0"/>
          <a:chExt cx="0" cy="0"/>
        </a:xfrm>
      </p:grpSpPr>
      <p:sp>
        <p:nvSpPr>
          <p:cNvPr id="17734" name="Google Shape;17734;p1538"/>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5" name="Google Shape;17735;p1538"/>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7736" name="Google Shape;17736;p1538"/>
          <p:cNvGrpSpPr/>
          <p:nvPr/>
        </p:nvGrpSpPr>
        <p:grpSpPr>
          <a:xfrm>
            <a:off x="7191545" y="0"/>
            <a:ext cx="5000460" cy="1425988"/>
            <a:chOff x="7191545" y="0"/>
            <a:chExt cx="5000460" cy="1425988"/>
          </a:xfrm>
        </p:grpSpPr>
        <p:pic>
          <p:nvPicPr>
            <p:cNvPr id="17737" name="Google Shape;17737;p1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38" name="Google Shape;17738;p1538"/>
            <p:cNvGrpSpPr/>
            <p:nvPr/>
          </p:nvGrpSpPr>
          <p:grpSpPr>
            <a:xfrm>
              <a:off x="7191545" y="0"/>
              <a:ext cx="5000460" cy="1425988"/>
              <a:chOff x="7191545" y="0"/>
              <a:chExt cx="5000460" cy="1425988"/>
            </a:xfrm>
          </p:grpSpPr>
          <p:sp>
            <p:nvSpPr>
              <p:cNvPr id="17739" name="Google Shape;17739;p1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40" name="Google Shape;17740;p1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41" name="Google Shape;17741;p1538"/>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42" name="Google Shape;17742;p1538"/>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43" name="Google Shape;17743;p1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44" name="Google Shape;17744;p153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3352244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matchingName="Comparison 10">
  <p:cSld name="Comparison 10">
    <p:spTree>
      <p:nvGrpSpPr>
        <p:cNvPr id="1" name="Shape 17745"/>
        <p:cNvGrpSpPr/>
        <p:nvPr/>
      </p:nvGrpSpPr>
      <p:grpSpPr>
        <a:xfrm>
          <a:off x="0" y="0"/>
          <a:ext cx="0" cy="0"/>
          <a:chOff x="0" y="0"/>
          <a:chExt cx="0" cy="0"/>
        </a:xfrm>
      </p:grpSpPr>
      <p:grpSp>
        <p:nvGrpSpPr>
          <p:cNvPr id="17746" name="Google Shape;17746;p1539"/>
          <p:cNvGrpSpPr/>
          <p:nvPr/>
        </p:nvGrpSpPr>
        <p:grpSpPr>
          <a:xfrm>
            <a:off x="7191545" y="0"/>
            <a:ext cx="5000460" cy="1425988"/>
            <a:chOff x="7191545" y="0"/>
            <a:chExt cx="5000460" cy="1425988"/>
          </a:xfrm>
        </p:grpSpPr>
        <p:pic>
          <p:nvPicPr>
            <p:cNvPr id="17747" name="Google Shape;17747;p15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48" name="Google Shape;17748;p1539"/>
            <p:cNvGrpSpPr/>
            <p:nvPr/>
          </p:nvGrpSpPr>
          <p:grpSpPr>
            <a:xfrm>
              <a:off x="7191545" y="0"/>
              <a:ext cx="5000460" cy="1425988"/>
              <a:chOff x="7191545" y="0"/>
              <a:chExt cx="5000460" cy="1425988"/>
            </a:xfrm>
          </p:grpSpPr>
          <p:sp>
            <p:nvSpPr>
              <p:cNvPr id="17749" name="Google Shape;17749;p15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50" name="Google Shape;17750;p15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51" name="Google Shape;17751;p1539"/>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52" name="Google Shape;17752;p15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3" name="Google Shape;17753;p1539"/>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4" name="Google Shape;17754;p1539"/>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5" name="Google Shape;17755;p1539"/>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56" name="Google Shape;17756;p153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57" name="Google Shape;17757;p15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58" name="Google Shape;17758;p153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751686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48"/>
        <p:cNvGrpSpPr/>
        <p:nvPr/>
      </p:nvGrpSpPr>
      <p:grpSpPr>
        <a:xfrm>
          <a:off x="0" y="0"/>
          <a:ext cx="0" cy="0"/>
          <a:chOff x="0" y="0"/>
          <a:chExt cx="0" cy="0"/>
        </a:xfrm>
      </p:grpSpPr>
      <p:sp>
        <p:nvSpPr>
          <p:cNvPr id="1149" name="Google Shape;1149;p118"/>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 name="Google Shape;1150;p118"/>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1" name="Google Shape;1151;p118"/>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2" name="Google Shape;1152;p118"/>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matchingName="Title Only 10">
  <p:cSld name="Title Only 10">
    <p:spTree>
      <p:nvGrpSpPr>
        <p:cNvPr id="1" name="Shape 17759"/>
        <p:cNvGrpSpPr/>
        <p:nvPr/>
      </p:nvGrpSpPr>
      <p:grpSpPr>
        <a:xfrm>
          <a:off x="0" y="0"/>
          <a:ext cx="0" cy="0"/>
          <a:chOff x="0" y="0"/>
          <a:chExt cx="0" cy="0"/>
        </a:xfrm>
      </p:grpSpPr>
      <p:grpSp>
        <p:nvGrpSpPr>
          <p:cNvPr id="17760" name="Google Shape;17760;p1540"/>
          <p:cNvGrpSpPr/>
          <p:nvPr/>
        </p:nvGrpSpPr>
        <p:grpSpPr>
          <a:xfrm>
            <a:off x="7191545" y="0"/>
            <a:ext cx="5000460" cy="1425988"/>
            <a:chOff x="7191545" y="0"/>
            <a:chExt cx="5000460" cy="1425988"/>
          </a:xfrm>
        </p:grpSpPr>
        <p:pic>
          <p:nvPicPr>
            <p:cNvPr id="17761" name="Google Shape;17761;p15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62" name="Google Shape;17762;p1540"/>
            <p:cNvGrpSpPr/>
            <p:nvPr/>
          </p:nvGrpSpPr>
          <p:grpSpPr>
            <a:xfrm>
              <a:off x="7191545" y="0"/>
              <a:ext cx="5000460" cy="1425988"/>
              <a:chOff x="7191545" y="0"/>
              <a:chExt cx="5000460" cy="1425988"/>
            </a:xfrm>
          </p:grpSpPr>
          <p:sp>
            <p:nvSpPr>
              <p:cNvPr id="17763" name="Google Shape;17763;p15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64" name="Google Shape;17764;p15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65" name="Google Shape;17765;p1540"/>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66" name="Google Shape;17766;p154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67" name="Google Shape;17767;p15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68" name="Google Shape;17768;p154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0933915"/>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matchingName="End 11">
  <p:cSld name="End 11">
    <p:spTree>
      <p:nvGrpSpPr>
        <p:cNvPr id="1" name="Shape 17769"/>
        <p:cNvGrpSpPr/>
        <p:nvPr/>
      </p:nvGrpSpPr>
      <p:grpSpPr>
        <a:xfrm>
          <a:off x="0" y="0"/>
          <a:ext cx="0" cy="0"/>
          <a:chOff x="0" y="0"/>
          <a:chExt cx="0" cy="0"/>
        </a:xfrm>
      </p:grpSpPr>
      <p:grpSp>
        <p:nvGrpSpPr>
          <p:cNvPr id="17770" name="Google Shape;17770;p1541"/>
          <p:cNvGrpSpPr/>
          <p:nvPr/>
        </p:nvGrpSpPr>
        <p:grpSpPr>
          <a:xfrm>
            <a:off x="0" y="0"/>
            <a:ext cx="12191996" cy="2148830"/>
            <a:chOff x="0" y="0"/>
            <a:chExt cx="12191996" cy="2148830"/>
          </a:xfrm>
        </p:grpSpPr>
        <p:sp>
          <p:nvSpPr>
            <p:cNvPr id="17771" name="Google Shape;17771;p15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72" name="Google Shape;17772;p15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773" name="Google Shape;17773;p1541"/>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74" name="Google Shape;17774;p1541"/>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75" name="Google Shape;17775;p15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776" name="Google Shape;17776;p15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43625555"/>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Blank 9">
  <p:cSld name="Blank 9">
    <p:spTree>
      <p:nvGrpSpPr>
        <p:cNvPr id="1" name="Shape 17777"/>
        <p:cNvGrpSpPr/>
        <p:nvPr/>
      </p:nvGrpSpPr>
      <p:grpSpPr>
        <a:xfrm>
          <a:off x="0" y="0"/>
          <a:ext cx="0" cy="0"/>
          <a:chOff x="0" y="0"/>
          <a:chExt cx="0" cy="0"/>
        </a:xfrm>
      </p:grpSpPr>
      <p:sp>
        <p:nvSpPr>
          <p:cNvPr id="17778" name="Google Shape;17778;p154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79" name="Google Shape;17779;p15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80" name="Google Shape;17780;p154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81" name="Google Shape;17781;p1542"/>
          <p:cNvGrpSpPr/>
          <p:nvPr/>
        </p:nvGrpSpPr>
        <p:grpSpPr>
          <a:xfrm>
            <a:off x="7191545" y="0"/>
            <a:ext cx="5000460" cy="1425988"/>
            <a:chOff x="7191545" y="0"/>
            <a:chExt cx="5000460" cy="1425988"/>
          </a:xfrm>
        </p:grpSpPr>
        <p:pic>
          <p:nvPicPr>
            <p:cNvPr id="17782" name="Google Shape;17782;p15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83" name="Google Shape;17783;p1542"/>
            <p:cNvGrpSpPr/>
            <p:nvPr/>
          </p:nvGrpSpPr>
          <p:grpSpPr>
            <a:xfrm>
              <a:off x="7191545" y="0"/>
              <a:ext cx="5000460" cy="1425988"/>
              <a:chOff x="7191545" y="0"/>
              <a:chExt cx="5000460" cy="1425988"/>
            </a:xfrm>
          </p:grpSpPr>
          <p:sp>
            <p:nvSpPr>
              <p:cNvPr id="17784" name="Google Shape;17784;p15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85" name="Google Shape;17785;p15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626831768"/>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7786"/>
        <p:cNvGrpSpPr/>
        <p:nvPr/>
      </p:nvGrpSpPr>
      <p:grpSpPr>
        <a:xfrm>
          <a:off x="0" y="0"/>
          <a:ext cx="0" cy="0"/>
          <a:chOff x="0" y="0"/>
          <a:chExt cx="0" cy="0"/>
        </a:xfrm>
      </p:grpSpPr>
      <p:sp>
        <p:nvSpPr>
          <p:cNvPr id="17787" name="Google Shape;17787;p1543"/>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88" name="Google Shape;17788;p1543"/>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89" name="Google Shape;17789;p1543"/>
          <p:cNvGrpSpPr/>
          <p:nvPr/>
        </p:nvGrpSpPr>
        <p:grpSpPr>
          <a:xfrm>
            <a:off x="2" y="0"/>
            <a:ext cx="1862669" cy="6629400"/>
            <a:chOff x="0" y="0"/>
            <a:chExt cx="1862669" cy="6629400"/>
          </a:xfrm>
        </p:grpSpPr>
        <p:sp>
          <p:nvSpPr>
            <p:cNvPr id="17790" name="Google Shape;17790;p1543"/>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1" name="Google Shape;17791;p1543"/>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792" name="Google Shape;17792;p1543"/>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93" name="Google Shape;17793;p1543"/>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94" name="Google Shape;17794;p1543"/>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795" name="Google Shape;17795;p1543"/>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01669554"/>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796"/>
        <p:cNvGrpSpPr/>
        <p:nvPr/>
      </p:nvGrpSpPr>
      <p:grpSpPr>
        <a:xfrm>
          <a:off x="0" y="0"/>
          <a:ext cx="0" cy="0"/>
          <a:chOff x="0" y="0"/>
          <a:chExt cx="0" cy="0"/>
        </a:xfrm>
      </p:grpSpPr>
      <p:sp>
        <p:nvSpPr>
          <p:cNvPr id="17797" name="Google Shape;17797;p154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8" name="Google Shape;17798;p154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99" name="Google Shape;17799;p1544"/>
          <p:cNvGrpSpPr/>
          <p:nvPr/>
        </p:nvGrpSpPr>
        <p:grpSpPr>
          <a:xfrm>
            <a:off x="2" y="0"/>
            <a:ext cx="1862669" cy="6629400"/>
            <a:chOff x="0" y="0"/>
            <a:chExt cx="1862669" cy="6629400"/>
          </a:xfrm>
        </p:grpSpPr>
        <p:sp>
          <p:nvSpPr>
            <p:cNvPr id="17800" name="Google Shape;17800;p154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1" name="Google Shape;17801;p154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02" name="Google Shape;17802;p154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03" name="Google Shape;17803;p1544"/>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4" name="Google Shape;17804;p154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05" name="Google Shape;17805;p154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81527930"/>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7806"/>
        <p:cNvGrpSpPr/>
        <p:nvPr/>
      </p:nvGrpSpPr>
      <p:grpSpPr>
        <a:xfrm>
          <a:off x="0" y="0"/>
          <a:ext cx="0" cy="0"/>
          <a:chOff x="0" y="0"/>
          <a:chExt cx="0" cy="0"/>
        </a:xfrm>
      </p:grpSpPr>
      <p:sp>
        <p:nvSpPr>
          <p:cNvPr id="17807" name="Google Shape;17807;p1545"/>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8" name="Google Shape;17808;p1545"/>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09" name="Google Shape;17809;p1545"/>
          <p:cNvGrpSpPr/>
          <p:nvPr/>
        </p:nvGrpSpPr>
        <p:grpSpPr>
          <a:xfrm>
            <a:off x="2" y="0"/>
            <a:ext cx="1862669" cy="6629400"/>
            <a:chOff x="0" y="0"/>
            <a:chExt cx="1862669" cy="6629400"/>
          </a:xfrm>
        </p:grpSpPr>
        <p:sp>
          <p:nvSpPr>
            <p:cNvPr id="17810" name="Google Shape;17810;p154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11" name="Google Shape;17811;p154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12" name="Google Shape;17812;p154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13" name="Google Shape;17813;p1545"/>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4" name="Google Shape;17814;p154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15" name="Google Shape;17815;p154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44561674"/>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17816"/>
        <p:cNvGrpSpPr/>
        <p:nvPr/>
      </p:nvGrpSpPr>
      <p:grpSpPr>
        <a:xfrm>
          <a:off x="0" y="0"/>
          <a:ext cx="0" cy="0"/>
          <a:chOff x="0" y="0"/>
          <a:chExt cx="0" cy="0"/>
        </a:xfrm>
      </p:grpSpPr>
      <p:sp>
        <p:nvSpPr>
          <p:cNvPr id="17817" name="Google Shape;17817;p1546"/>
          <p:cNvSpPr/>
          <p:nvPr/>
        </p:nvSpPr>
        <p:spPr>
          <a:xfrm>
            <a:off x="-10579" y="6620934"/>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18" name="Google Shape;17818;p1546"/>
          <p:cNvSpPr txBox="1">
            <a:spLocks noGrp="1"/>
          </p:cNvSpPr>
          <p:nvPr>
            <p:ph type="title"/>
          </p:nvPr>
        </p:nvSpPr>
        <p:spPr>
          <a:xfrm>
            <a:off x="218112" y="224843"/>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9" name="Google Shape;17819;p1546"/>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20" name="Google Shape;17820;p1546"/>
          <p:cNvSpPr txBox="1">
            <a:spLocks noGrp="1"/>
          </p:cNvSpPr>
          <p:nvPr>
            <p:ph type="body" idx="2"/>
          </p:nvPr>
        </p:nvSpPr>
        <p:spPr>
          <a:xfrm>
            <a:off x="3858934" y="5969002"/>
            <a:ext cx="8074901" cy="649818"/>
          </a:xfrm>
          <a:prstGeom prst="rect">
            <a:avLst/>
          </a:prstGeom>
          <a:noFill/>
          <a:ln>
            <a:noFill/>
          </a:ln>
        </p:spPr>
        <p:txBody>
          <a:bodyPr spcFirstLastPara="1" wrap="square" lIns="91400" tIns="45700" rIns="91400" bIns="45700" anchor="b" anchorCtr="0">
            <a:noAutofit/>
          </a:bodyPr>
          <a:lstStyle>
            <a:lvl1pPr marL="304815" lvl="0" indent="-208841" algn="l">
              <a:lnSpc>
                <a:spcPct val="100000"/>
              </a:lnSpc>
              <a:spcBef>
                <a:spcPts val="1000"/>
              </a:spcBef>
              <a:spcAft>
                <a:spcPts val="0"/>
              </a:spcAft>
              <a:buSzPts val="1333"/>
              <a:buChar char="•"/>
              <a:defRPr sz="1333"/>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21" name="Google Shape;17821;p154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22" name="Google Shape;17822;p154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4065178071"/>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matchingName="3_Title Slide_Yale Blue 8">
  <p:cSld name="3_Title Slide_Yale Blue 8">
    <p:spTree>
      <p:nvGrpSpPr>
        <p:cNvPr id="1" name="Shape 17823"/>
        <p:cNvGrpSpPr/>
        <p:nvPr/>
      </p:nvGrpSpPr>
      <p:grpSpPr>
        <a:xfrm>
          <a:off x="0" y="0"/>
          <a:ext cx="0" cy="0"/>
          <a:chOff x="0" y="0"/>
          <a:chExt cx="0" cy="0"/>
        </a:xfrm>
      </p:grpSpPr>
      <p:sp>
        <p:nvSpPr>
          <p:cNvPr id="17824" name="Google Shape;17824;p1547"/>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25" name="Google Shape;17825;p1547"/>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6" name="Google Shape;17826;p154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27" name="Google Shape;17827;p154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8" name="Google Shape;17828;p154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29" name="Google Shape;17829;p1547"/>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0" name="Google Shape;17830;p154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1" name="Google Shape;17831;p1547"/>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32" name="Google Shape;17832;p1547"/>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96996527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matchingName="1_Title Slide 2">
  <p:cSld name="1_Title Slide 2">
    <p:spTree>
      <p:nvGrpSpPr>
        <p:cNvPr id="1" name="Shape 17833"/>
        <p:cNvGrpSpPr/>
        <p:nvPr/>
      </p:nvGrpSpPr>
      <p:grpSpPr>
        <a:xfrm>
          <a:off x="0" y="0"/>
          <a:ext cx="0" cy="0"/>
          <a:chOff x="0" y="0"/>
          <a:chExt cx="0" cy="0"/>
        </a:xfrm>
      </p:grpSpPr>
      <p:sp>
        <p:nvSpPr>
          <p:cNvPr id="17834" name="Google Shape;17834;p1548"/>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5" name="Google Shape;17835;p1548"/>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36" name="Google Shape;17836;p1548"/>
          <p:cNvGrpSpPr/>
          <p:nvPr/>
        </p:nvGrpSpPr>
        <p:grpSpPr>
          <a:xfrm>
            <a:off x="2" y="0"/>
            <a:ext cx="1862669" cy="6629400"/>
            <a:chOff x="0" y="0"/>
            <a:chExt cx="1862669" cy="6629400"/>
          </a:xfrm>
        </p:grpSpPr>
        <p:sp>
          <p:nvSpPr>
            <p:cNvPr id="17837" name="Google Shape;17837;p154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8" name="Google Shape;17838;p1548"/>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39" name="Google Shape;17839;p154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40" name="Google Shape;17840;p1548"/>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1" name="Google Shape;17841;p154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42" name="Google Shape;17842;p154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57438649"/>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matchingName="Table of Content 2">
  <p:cSld name="Table of Content 2">
    <p:spTree>
      <p:nvGrpSpPr>
        <p:cNvPr id="1" name="Shape 17843"/>
        <p:cNvGrpSpPr/>
        <p:nvPr/>
      </p:nvGrpSpPr>
      <p:grpSpPr>
        <a:xfrm>
          <a:off x="0" y="0"/>
          <a:ext cx="0" cy="0"/>
          <a:chOff x="0" y="0"/>
          <a:chExt cx="0" cy="0"/>
        </a:xfrm>
      </p:grpSpPr>
      <p:sp>
        <p:nvSpPr>
          <p:cNvPr id="17844" name="Google Shape;17844;p1549"/>
          <p:cNvSpPr/>
          <p:nvPr/>
        </p:nvSpPr>
        <p:spPr>
          <a:xfrm>
            <a:off x="-10579" y="6620934"/>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45" name="Google Shape;17845;p1549"/>
          <p:cNvSpPr txBox="1">
            <a:spLocks noGrp="1"/>
          </p:cNvSpPr>
          <p:nvPr>
            <p:ph type="title"/>
          </p:nvPr>
        </p:nvSpPr>
        <p:spPr>
          <a:xfrm>
            <a:off x="218112" y="224843"/>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6" name="Google Shape;17846;p1549"/>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47" name="Google Shape;17847;p1549"/>
          <p:cNvSpPr txBox="1">
            <a:spLocks noGrp="1"/>
          </p:cNvSpPr>
          <p:nvPr>
            <p:ph type="body" idx="2"/>
          </p:nvPr>
        </p:nvSpPr>
        <p:spPr>
          <a:xfrm>
            <a:off x="3858934" y="5969002"/>
            <a:ext cx="8074901" cy="649818"/>
          </a:xfrm>
          <a:prstGeom prst="rect">
            <a:avLst/>
          </a:prstGeom>
          <a:noFill/>
          <a:ln>
            <a:noFill/>
          </a:ln>
        </p:spPr>
        <p:txBody>
          <a:bodyPr spcFirstLastPara="1" wrap="square" lIns="91400" tIns="45700" rIns="91400" bIns="45700" anchor="b" anchorCtr="0">
            <a:noAutofit/>
          </a:bodyPr>
          <a:lstStyle>
            <a:lvl1pPr marL="304815" lvl="0" indent="-208841" algn="l">
              <a:lnSpc>
                <a:spcPct val="100000"/>
              </a:lnSpc>
              <a:spcBef>
                <a:spcPts val="1000"/>
              </a:spcBef>
              <a:spcAft>
                <a:spcPts val="0"/>
              </a:spcAft>
              <a:buSzPts val="1333"/>
              <a:buChar char="•"/>
              <a:defRPr sz="1333"/>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48" name="Google Shape;17848;p154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49" name="Google Shape;17849;p154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8846046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153"/>
        <p:cNvGrpSpPr/>
        <p:nvPr/>
      </p:nvGrpSpPr>
      <p:grpSpPr>
        <a:xfrm>
          <a:off x="0" y="0"/>
          <a:ext cx="0" cy="0"/>
          <a:chOff x="0" y="0"/>
          <a:chExt cx="0" cy="0"/>
        </a:xfrm>
      </p:grpSpPr>
      <p:sp>
        <p:nvSpPr>
          <p:cNvPr id="1154" name="Google Shape;1154;p119"/>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 name="Google Shape;1155;p119"/>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lnSpc>
                <a:spcPct val="100000"/>
              </a:lnSpc>
              <a:spcBef>
                <a:spcPts val="360"/>
              </a:spcBef>
              <a:spcAft>
                <a:spcPts val="0"/>
              </a:spcAft>
              <a:buSzPts val="1800"/>
              <a:buChar char="•"/>
              <a:defRPr/>
            </a:lvl1pPr>
            <a:lvl2pPr marL="914400" lvl="1" indent="-320040" algn="l">
              <a:lnSpc>
                <a:spcPct val="100000"/>
              </a:lnSpc>
              <a:spcBef>
                <a:spcPts val="360"/>
              </a:spcBef>
              <a:spcAft>
                <a:spcPts val="0"/>
              </a:spcAft>
              <a:buClr>
                <a:schemeClr val="dk1"/>
              </a:buClr>
              <a:buSzPts val="144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6" name="Google Shape;1156;p119"/>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matchingName="3_Title Slide_Yale Blue 9">
  <p:cSld name="3_Title Slide_Yale Blue 9">
    <p:spTree>
      <p:nvGrpSpPr>
        <p:cNvPr id="1" name="Shape 17850"/>
        <p:cNvGrpSpPr/>
        <p:nvPr/>
      </p:nvGrpSpPr>
      <p:grpSpPr>
        <a:xfrm>
          <a:off x="0" y="0"/>
          <a:ext cx="0" cy="0"/>
          <a:chOff x="0" y="0"/>
          <a:chExt cx="0" cy="0"/>
        </a:xfrm>
      </p:grpSpPr>
      <p:sp>
        <p:nvSpPr>
          <p:cNvPr id="17851" name="Google Shape;17851;p1550"/>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52" name="Google Shape;17852;p1550"/>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3" name="Google Shape;17853;p155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54" name="Google Shape;17854;p155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5" name="Google Shape;17855;p155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56" name="Google Shape;17856;p1550"/>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7" name="Google Shape;17857;p1550"/>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8" name="Google Shape;17858;p1550"/>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59" name="Google Shape;17859;p1550"/>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166393641"/>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matchingName="Title and Bullets Layout 7">
  <p:cSld name="Title and Bullets Layout 7">
    <p:spTree>
      <p:nvGrpSpPr>
        <p:cNvPr id="1" name="Shape 17860"/>
        <p:cNvGrpSpPr/>
        <p:nvPr/>
      </p:nvGrpSpPr>
      <p:grpSpPr>
        <a:xfrm>
          <a:off x="0" y="0"/>
          <a:ext cx="0" cy="0"/>
          <a:chOff x="0" y="0"/>
          <a:chExt cx="0" cy="0"/>
        </a:xfrm>
      </p:grpSpPr>
      <p:sp>
        <p:nvSpPr>
          <p:cNvPr id="17861" name="Google Shape;17861;p1551"/>
          <p:cNvSpPr txBox="1">
            <a:spLocks noGrp="1"/>
          </p:cNvSpPr>
          <p:nvPr>
            <p:ph type="title"/>
          </p:nvPr>
        </p:nvSpPr>
        <p:spPr>
          <a:xfrm>
            <a:off x="848992" y="783843"/>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62" name="Google Shape;17862;p1551"/>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3" name="Google Shape;17863;p155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4" name="Google Shape;17864;p1551"/>
          <p:cNvSpPr txBox="1">
            <a:spLocks noGrp="1"/>
          </p:cNvSpPr>
          <p:nvPr>
            <p:ph type="body" idx="1"/>
          </p:nvPr>
        </p:nvSpPr>
        <p:spPr>
          <a:xfrm>
            <a:off x="848784" y="1615024"/>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65" name="Google Shape;17865;p1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1864291484"/>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matchingName="1_Title and Content 7">
  <p:cSld name="1_Title and Content 7">
    <p:spTree>
      <p:nvGrpSpPr>
        <p:cNvPr id="1" name="Shape 17866"/>
        <p:cNvGrpSpPr/>
        <p:nvPr/>
      </p:nvGrpSpPr>
      <p:grpSpPr>
        <a:xfrm>
          <a:off x="0" y="0"/>
          <a:ext cx="0" cy="0"/>
          <a:chOff x="0" y="0"/>
          <a:chExt cx="0" cy="0"/>
        </a:xfrm>
      </p:grpSpPr>
      <p:sp>
        <p:nvSpPr>
          <p:cNvPr id="17867" name="Google Shape;17867;p1552"/>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868" name="Google Shape;17868;p1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
        <p:nvSpPr>
          <p:cNvPr id="17869" name="Google Shape;17869;p155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0" name="Google Shape;17870;p1552"/>
          <p:cNvSpPr txBox="1">
            <a:spLocks noGrp="1"/>
          </p:cNvSpPr>
          <p:nvPr>
            <p:ph type="title"/>
          </p:nvPr>
        </p:nvSpPr>
        <p:spPr>
          <a:xfrm>
            <a:off x="848992" y="806859"/>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1" name="Google Shape;17871;p1552"/>
          <p:cNvSpPr txBox="1">
            <a:spLocks noGrp="1"/>
          </p:cNvSpPr>
          <p:nvPr>
            <p:ph type="body" idx="1"/>
          </p:nvPr>
        </p:nvSpPr>
        <p:spPr>
          <a:xfrm>
            <a:off x="848992" y="1637856"/>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53315190"/>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matchingName="Two Section | Picture and Copy Layout 7">
  <p:cSld name="Two Section | Picture and Copy Layout 7">
    <p:spTree>
      <p:nvGrpSpPr>
        <p:cNvPr id="1" name="Shape 17872"/>
        <p:cNvGrpSpPr/>
        <p:nvPr/>
      </p:nvGrpSpPr>
      <p:grpSpPr>
        <a:xfrm>
          <a:off x="0" y="0"/>
          <a:ext cx="0" cy="0"/>
          <a:chOff x="0" y="0"/>
          <a:chExt cx="0" cy="0"/>
        </a:xfrm>
      </p:grpSpPr>
      <p:sp>
        <p:nvSpPr>
          <p:cNvPr id="17873" name="Google Shape;17873;p1553"/>
          <p:cNvSpPr/>
          <p:nvPr/>
        </p:nvSpPr>
        <p:spPr>
          <a:xfrm>
            <a:off x="0" y="6313120"/>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4" name="Google Shape;17874;p155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5" name="Google Shape;17875;p155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76" name="Google Shape;17876;p1553"/>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77" name="Google Shape;17877;p1553"/>
          <p:cNvSpPr txBox="1">
            <a:spLocks noGrp="1"/>
          </p:cNvSpPr>
          <p:nvPr>
            <p:ph type="title"/>
          </p:nvPr>
        </p:nvSpPr>
        <p:spPr>
          <a:xfrm>
            <a:off x="5549395" y="1154523"/>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878" name="Google Shape;17878;p1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9" y="6364408"/>
            <a:ext cx="5059329" cy="493593"/>
          </a:xfrm>
          <a:prstGeom prst="rect">
            <a:avLst/>
          </a:prstGeom>
          <a:noFill/>
          <a:ln>
            <a:noFill/>
          </a:ln>
        </p:spPr>
      </p:pic>
    </p:spTree>
    <p:extLst>
      <p:ext uri="{BB962C8B-B14F-4D97-AF65-F5344CB8AC3E}">
        <p14:creationId xmlns:p14="http://schemas.microsoft.com/office/powerpoint/2010/main" val="2381556890"/>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17879"/>
        <p:cNvGrpSpPr/>
        <p:nvPr/>
      </p:nvGrpSpPr>
      <p:grpSpPr>
        <a:xfrm>
          <a:off x="0" y="0"/>
          <a:ext cx="0" cy="0"/>
          <a:chOff x="0" y="0"/>
          <a:chExt cx="0" cy="0"/>
        </a:xfrm>
      </p:grpSpPr>
      <p:sp>
        <p:nvSpPr>
          <p:cNvPr id="17880" name="Google Shape;17880;p155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1" name="Google Shape;17881;p155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82" name="Google Shape;17882;p1554"/>
          <p:cNvGrpSpPr/>
          <p:nvPr/>
        </p:nvGrpSpPr>
        <p:grpSpPr>
          <a:xfrm>
            <a:off x="2" y="0"/>
            <a:ext cx="1862669" cy="6629400"/>
            <a:chOff x="0" y="0"/>
            <a:chExt cx="1862669" cy="6629400"/>
          </a:xfrm>
        </p:grpSpPr>
        <p:sp>
          <p:nvSpPr>
            <p:cNvPr id="17883" name="Google Shape;17883;p155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4" name="Google Shape;17884;p155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85" name="Google Shape;17885;p155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86" name="Google Shape;17886;p1554"/>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87" name="Google Shape;17887;p155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88" name="Google Shape;17888;p155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1349903"/>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matchingName="4_Title Slide_Yale Blue 9">
  <p:cSld name="4_Title Slide_Yale Blue 9">
    <p:spTree>
      <p:nvGrpSpPr>
        <p:cNvPr id="1" name="Shape 17889"/>
        <p:cNvGrpSpPr/>
        <p:nvPr/>
      </p:nvGrpSpPr>
      <p:grpSpPr>
        <a:xfrm>
          <a:off x="0" y="0"/>
          <a:ext cx="0" cy="0"/>
          <a:chOff x="0" y="0"/>
          <a:chExt cx="0" cy="0"/>
        </a:xfrm>
      </p:grpSpPr>
      <p:sp>
        <p:nvSpPr>
          <p:cNvPr id="17890" name="Google Shape;17890;p1555"/>
          <p:cNvSpPr txBox="1">
            <a:spLocks noGrp="1"/>
          </p:cNvSpPr>
          <p:nvPr>
            <p:ph type="body" idx="1"/>
          </p:nvPr>
        </p:nvSpPr>
        <p:spPr>
          <a:xfrm>
            <a:off x="2826558"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891" name="Google Shape;17891;p1555"/>
          <p:cNvSpPr txBox="1">
            <a:spLocks noGrp="1"/>
          </p:cNvSpPr>
          <p:nvPr>
            <p:ph type="title"/>
          </p:nvPr>
        </p:nvSpPr>
        <p:spPr>
          <a:xfrm>
            <a:off x="2826558"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2" name="Google Shape;17892;p155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93" name="Google Shape;17893;p155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4" name="Google Shape;17894;p155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95" name="Google Shape;17895;p1555"/>
          <p:cNvSpPr/>
          <p:nvPr/>
        </p:nvSpPr>
        <p:spPr>
          <a:xfrm rot="10799991">
            <a:off x="-19" y="2000234"/>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6" name="Google Shape;17896;p1555"/>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7" name="Google Shape;17897;p1555"/>
          <p:cNvSpPr txBox="1">
            <a:spLocks noGrp="1"/>
          </p:cNvSpPr>
          <p:nvPr>
            <p:ph type="body" idx="2"/>
          </p:nvPr>
        </p:nvSpPr>
        <p:spPr>
          <a:xfrm>
            <a:off x="2826558"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17898" name="Google Shape;17898;p1555"/>
          <p:cNvPicPr preferRelativeResize="0"/>
          <p:nvPr/>
        </p:nvPicPr>
        <p:blipFill rotWithShape="1">
          <a:blip r:embed="rId2">
            <a:alphaModFix/>
          </a:blip>
          <a:srcRect/>
          <a:stretch/>
        </p:blipFill>
        <p:spPr>
          <a:xfrm>
            <a:off x="2829832" y="4178334"/>
            <a:ext cx="4395959" cy="1140165"/>
          </a:xfrm>
          <a:prstGeom prst="rect">
            <a:avLst/>
          </a:prstGeom>
          <a:noFill/>
          <a:ln>
            <a:noFill/>
          </a:ln>
        </p:spPr>
      </p:pic>
    </p:spTree>
    <p:extLst>
      <p:ext uri="{BB962C8B-B14F-4D97-AF65-F5344CB8AC3E}">
        <p14:creationId xmlns:p14="http://schemas.microsoft.com/office/powerpoint/2010/main" val="3513617883"/>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matchingName="3_Title Slide 2">
  <p:cSld name="3_Title Slide 2">
    <p:spTree>
      <p:nvGrpSpPr>
        <p:cNvPr id="1" name="Shape 17899"/>
        <p:cNvGrpSpPr/>
        <p:nvPr/>
      </p:nvGrpSpPr>
      <p:grpSpPr>
        <a:xfrm>
          <a:off x="0" y="0"/>
          <a:ext cx="0" cy="0"/>
          <a:chOff x="0" y="0"/>
          <a:chExt cx="0" cy="0"/>
        </a:xfrm>
      </p:grpSpPr>
      <p:sp>
        <p:nvSpPr>
          <p:cNvPr id="17900" name="Google Shape;17900;p1556"/>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1" name="Google Shape;17901;p1556"/>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902" name="Google Shape;17902;p1556"/>
          <p:cNvGrpSpPr/>
          <p:nvPr/>
        </p:nvGrpSpPr>
        <p:grpSpPr>
          <a:xfrm>
            <a:off x="2" y="0"/>
            <a:ext cx="1862669" cy="6629400"/>
            <a:chOff x="0" y="0"/>
            <a:chExt cx="1862669" cy="6629400"/>
          </a:xfrm>
        </p:grpSpPr>
        <p:sp>
          <p:nvSpPr>
            <p:cNvPr id="17903" name="Google Shape;17903;p155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4" name="Google Shape;17904;p155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905" name="Google Shape;17905;p155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906" name="Google Shape;17906;p1556"/>
          <p:cNvSpPr txBox="1">
            <a:spLocks noGrp="1"/>
          </p:cNvSpPr>
          <p:nvPr>
            <p:ph type="title"/>
          </p:nvPr>
        </p:nvSpPr>
        <p:spPr>
          <a:xfrm>
            <a:off x="1621872" y="1806426"/>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07" name="Google Shape;17907;p155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08" name="Google Shape;17908;p155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09173290"/>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matchingName="SECTION_HEADER" type="secHead">
  <p:cSld name="SECTION_HEADER">
    <p:spTree>
      <p:nvGrpSpPr>
        <p:cNvPr id="1" name="Shape 17909"/>
        <p:cNvGrpSpPr/>
        <p:nvPr/>
      </p:nvGrpSpPr>
      <p:grpSpPr>
        <a:xfrm>
          <a:off x="0" y="0"/>
          <a:ext cx="0" cy="0"/>
          <a:chOff x="0" y="0"/>
          <a:chExt cx="0" cy="0"/>
        </a:xfrm>
      </p:grpSpPr>
      <p:sp>
        <p:nvSpPr>
          <p:cNvPr id="17910" name="Google Shape;17910;p1557"/>
          <p:cNvSpPr txBox="1">
            <a:spLocks noGrp="1"/>
          </p:cNvSpPr>
          <p:nvPr>
            <p:ph type="title"/>
          </p:nvPr>
        </p:nvSpPr>
        <p:spPr>
          <a:xfrm>
            <a:off x="963082" y="4406907"/>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6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1" name="Google Shape;17911;p1557"/>
          <p:cNvSpPr txBox="1">
            <a:spLocks noGrp="1"/>
          </p:cNvSpPr>
          <p:nvPr>
            <p:ph type="body" idx="1"/>
          </p:nvPr>
        </p:nvSpPr>
        <p:spPr>
          <a:xfrm>
            <a:off x="963082" y="2906714"/>
            <a:ext cx="10363196" cy="1500182"/>
          </a:xfrm>
          <a:prstGeom prst="rect">
            <a:avLst/>
          </a:prstGeom>
          <a:noFill/>
          <a:ln>
            <a:noFill/>
          </a:ln>
        </p:spPr>
        <p:txBody>
          <a:bodyPr spcFirstLastPara="1" wrap="square" lIns="91400" tIns="45700" rIns="91400" bIns="45700" anchor="b" anchorCtr="0">
            <a:noAutofit/>
          </a:bodyPr>
          <a:lstStyle>
            <a:lvl1pPr marL="304815" lvl="0" indent="-152408" algn="l">
              <a:lnSpc>
                <a:spcPct val="100000"/>
              </a:lnSpc>
              <a:spcBef>
                <a:spcPts val="1000"/>
              </a:spcBef>
              <a:spcAft>
                <a:spcPts val="0"/>
              </a:spcAft>
              <a:buSzPts val="2400"/>
              <a:buNone/>
              <a:defRPr sz="2000">
                <a:solidFill>
                  <a:srgbClr val="919497"/>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12" name="Google Shape;17912;p155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13" name="Google Shape;17913;p155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4" name="Google Shape;17914;p155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2668206"/>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matchingName="OBJECT_WITH_CAPTION_TEXT" type="objTx">
  <p:cSld name="OBJECT_WITH_CAPTION_TEXT">
    <p:spTree>
      <p:nvGrpSpPr>
        <p:cNvPr id="1" name="Shape 17915"/>
        <p:cNvGrpSpPr/>
        <p:nvPr/>
      </p:nvGrpSpPr>
      <p:grpSpPr>
        <a:xfrm>
          <a:off x="0" y="0"/>
          <a:ext cx="0" cy="0"/>
          <a:chOff x="0" y="0"/>
          <a:chExt cx="0" cy="0"/>
        </a:xfrm>
      </p:grpSpPr>
      <p:sp>
        <p:nvSpPr>
          <p:cNvPr id="17916" name="Google Shape;17916;p1558"/>
          <p:cNvSpPr txBox="1">
            <a:spLocks noGrp="1"/>
          </p:cNvSpPr>
          <p:nvPr>
            <p:ph type="title"/>
          </p:nvPr>
        </p:nvSpPr>
        <p:spPr>
          <a:xfrm>
            <a:off x="609605"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000"/>
              <a:buFont typeface="Calibri"/>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7" name="Google Shape;17917;p1558"/>
          <p:cNvSpPr txBox="1">
            <a:spLocks noGrp="1"/>
          </p:cNvSpPr>
          <p:nvPr>
            <p:ph type="body" idx="1"/>
          </p:nvPr>
        </p:nvSpPr>
        <p:spPr>
          <a:xfrm>
            <a:off x="4766732" y="273058"/>
            <a:ext cx="6815663" cy="5853110"/>
          </a:xfrm>
          <a:prstGeom prst="rect">
            <a:avLst/>
          </a:prstGeom>
          <a:noFill/>
          <a:ln>
            <a:noFill/>
          </a:ln>
        </p:spPr>
        <p:txBody>
          <a:bodyPr spcFirstLastPara="1" wrap="square" lIns="91400" tIns="45700" rIns="91400" bIns="45700" anchor="t" anchorCtr="0">
            <a:noAutofit/>
          </a:bodyPr>
          <a:lstStyle>
            <a:lvl1pPr marL="304815" lvl="0" indent="-287881" algn="l">
              <a:lnSpc>
                <a:spcPct val="100000"/>
              </a:lnSpc>
              <a:spcBef>
                <a:spcPts val="1000"/>
              </a:spcBef>
              <a:spcAft>
                <a:spcPts val="0"/>
              </a:spcAft>
              <a:buSzPts val="3200"/>
              <a:buChar char="•"/>
              <a:defRPr sz="32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18" name="Google Shape;17918;p1558"/>
          <p:cNvSpPr txBox="1">
            <a:spLocks noGrp="1"/>
          </p:cNvSpPr>
          <p:nvPr>
            <p:ph type="body" idx="2"/>
          </p:nvPr>
        </p:nvSpPr>
        <p:spPr>
          <a:xfrm>
            <a:off x="609605" y="1435105"/>
            <a:ext cx="4011079" cy="469106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4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19" name="Google Shape;17919;p1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20" name="Google Shape;17920;p1558"/>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1" name="Google Shape;17921;p1558"/>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001310698"/>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matchingName="EVERYDAY CONTENT ONLY">
  <p:cSld name="EVERYDAY CONTENT ONLY">
    <p:spTree>
      <p:nvGrpSpPr>
        <p:cNvPr id="1" name="Shape 17922"/>
        <p:cNvGrpSpPr/>
        <p:nvPr/>
      </p:nvGrpSpPr>
      <p:grpSpPr>
        <a:xfrm>
          <a:off x="0" y="0"/>
          <a:ext cx="0" cy="0"/>
          <a:chOff x="0" y="0"/>
          <a:chExt cx="0" cy="0"/>
        </a:xfrm>
      </p:grpSpPr>
      <p:sp>
        <p:nvSpPr>
          <p:cNvPr id="17923" name="Google Shape;17923;p1559"/>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24" name="Google Shape;17924;p1559"/>
          <p:cNvSpPr/>
          <p:nvPr/>
        </p:nvSpPr>
        <p:spPr>
          <a:xfrm>
            <a:off x="6863643"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5" name="Google Shape;17925;p1559"/>
          <p:cNvSpPr txBox="1">
            <a:spLocks noGrp="1"/>
          </p:cNvSpPr>
          <p:nvPr>
            <p:ph type="body" idx="1"/>
          </p:nvPr>
        </p:nvSpPr>
        <p:spPr>
          <a:xfrm>
            <a:off x="508545" y="1707790"/>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26" name="Google Shape;17926;p1559"/>
          <p:cNvSpPr/>
          <p:nvPr/>
        </p:nvSpPr>
        <p:spPr>
          <a:xfrm>
            <a:off x="6863643"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7" name="Google Shape;17927;p1559"/>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8" name="Google Shape;17928;p1559"/>
          <p:cNvSpPr txBox="1">
            <a:spLocks noGrp="1"/>
          </p:cNvSpPr>
          <p:nvPr>
            <p:ph type="body" idx="2"/>
          </p:nvPr>
        </p:nvSpPr>
        <p:spPr>
          <a:xfrm>
            <a:off x="332185" y="953346"/>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29" name="Google Shape;17929;p1559"/>
          <p:cNvCxnSpPr/>
          <p:nvPr/>
        </p:nvCxnSpPr>
        <p:spPr>
          <a:xfrm>
            <a:off x="11311722" y="6447271"/>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30" name="Google Shape;17930;p1559"/>
          <p:cNvSpPr txBox="1">
            <a:spLocks noGrp="1"/>
          </p:cNvSpPr>
          <p:nvPr>
            <p:ph type="sldNum" idx="12"/>
          </p:nvPr>
        </p:nvSpPr>
        <p:spPr>
          <a:xfrm>
            <a:off x="11202597" y="6454532"/>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31" name="Google Shape;17931;p1559"/>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438835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a:spLocks noGrp="1"/>
          </p:cNvSpPr>
          <p:nvPr>
            <p:ph type="pic" idx="2"/>
          </p:nvPr>
        </p:nvSpPr>
        <p:spPr>
          <a:xfrm>
            <a:off x="7118684" y="233915"/>
            <a:ext cx="5073316" cy="5943600"/>
          </a:xfrm>
          <a:prstGeom prst="rect">
            <a:avLst/>
          </a:prstGeom>
          <a:noFill/>
          <a:ln>
            <a:noFill/>
          </a:ln>
        </p:spPr>
        <p:txBody>
          <a:bodyPr/>
          <a:lstStyle/>
          <a:p>
            <a:endParaRPr lang="en-US"/>
          </a:p>
        </p:txBody>
      </p:sp>
      <p:grpSp>
        <p:nvGrpSpPr>
          <p:cNvPr id="19" name="Google Shape;19;p2"/>
          <p:cNvGrpSpPr/>
          <p:nvPr/>
        </p:nvGrpSpPr>
        <p:grpSpPr>
          <a:xfrm>
            <a:off x="0" y="5020348"/>
            <a:ext cx="12192000" cy="1837653"/>
            <a:chOff x="0" y="5020348"/>
            <a:chExt cx="12192000" cy="1837653"/>
          </a:xfrm>
        </p:grpSpPr>
        <p:sp>
          <p:nvSpPr>
            <p:cNvPr id="20" name="Google Shape;20;p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157"/>
        <p:cNvGrpSpPr/>
        <p:nvPr/>
      </p:nvGrpSpPr>
      <p:grpSpPr>
        <a:xfrm>
          <a:off x="0" y="0"/>
          <a:ext cx="0" cy="0"/>
          <a:chOff x="0" y="0"/>
          <a:chExt cx="0" cy="0"/>
        </a:xfrm>
      </p:grpSpPr>
      <p:sp>
        <p:nvSpPr>
          <p:cNvPr id="1158" name="Google Shape;1158;p120"/>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20"/>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20"/>
          <p:cNvGrpSpPr/>
          <p:nvPr/>
        </p:nvGrpSpPr>
        <p:grpSpPr>
          <a:xfrm>
            <a:off x="791245" y="2369595"/>
            <a:ext cx="2416216" cy="1878202"/>
            <a:chOff x="297439" y="2116926"/>
            <a:chExt cx="1826636" cy="1893204"/>
          </a:xfrm>
        </p:grpSpPr>
        <p:pic>
          <p:nvPicPr>
            <p:cNvPr id="1161" name="Google Shape;1161;p120"/>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2" name="Google Shape;1162;p120"/>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17932"/>
        <p:cNvGrpSpPr/>
        <p:nvPr/>
      </p:nvGrpSpPr>
      <p:grpSpPr>
        <a:xfrm>
          <a:off x="0" y="0"/>
          <a:ext cx="0" cy="0"/>
          <a:chOff x="0" y="0"/>
          <a:chExt cx="0" cy="0"/>
        </a:xfrm>
      </p:grpSpPr>
      <p:sp>
        <p:nvSpPr>
          <p:cNvPr id="17933" name="Google Shape;17933;p156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34" name="Google Shape;17934;p156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35" name="Google Shape;17935;p156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36" name="Google Shape;17936;p156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37" name="Google Shape;17937;p15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38" name="Google Shape;17938;p156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39" name="Google Shape;17939;p1560"/>
          <p:cNvGrpSpPr/>
          <p:nvPr/>
        </p:nvGrpSpPr>
        <p:grpSpPr>
          <a:xfrm>
            <a:off x="7191545" y="0"/>
            <a:ext cx="5000460" cy="1425988"/>
            <a:chOff x="7191545" y="0"/>
            <a:chExt cx="5000460" cy="1425988"/>
          </a:xfrm>
        </p:grpSpPr>
        <p:pic>
          <p:nvPicPr>
            <p:cNvPr id="17940" name="Google Shape;17940;p15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41" name="Google Shape;17941;p1560"/>
            <p:cNvGrpSpPr/>
            <p:nvPr/>
          </p:nvGrpSpPr>
          <p:grpSpPr>
            <a:xfrm>
              <a:off x="7191545" y="0"/>
              <a:ext cx="5000460" cy="1425988"/>
              <a:chOff x="7191545" y="0"/>
              <a:chExt cx="5000460" cy="1425988"/>
            </a:xfrm>
          </p:grpSpPr>
          <p:sp>
            <p:nvSpPr>
              <p:cNvPr id="17942" name="Google Shape;17942;p15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43" name="Google Shape;17943;p15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44" name="Google Shape;17944;p156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240395911"/>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matchingName="EVERYDAY CONTENT ONLY 2">
  <p:cSld name="EVERYDAY CONTENT ONLY 2">
    <p:spTree>
      <p:nvGrpSpPr>
        <p:cNvPr id="1" name="Shape 17945"/>
        <p:cNvGrpSpPr/>
        <p:nvPr/>
      </p:nvGrpSpPr>
      <p:grpSpPr>
        <a:xfrm>
          <a:off x="0" y="0"/>
          <a:ext cx="0" cy="0"/>
          <a:chOff x="0" y="0"/>
          <a:chExt cx="0" cy="0"/>
        </a:xfrm>
      </p:grpSpPr>
      <p:sp>
        <p:nvSpPr>
          <p:cNvPr id="17946" name="Google Shape;17946;p156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47" name="Google Shape;17947;p1561"/>
          <p:cNvSpPr/>
          <p:nvPr/>
        </p:nvSpPr>
        <p:spPr>
          <a:xfrm>
            <a:off x="6863643"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48" name="Google Shape;17948;p1561"/>
          <p:cNvSpPr txBox="1">
            <a:spLocks noGrp="1"/>
          </p:cNvSpPr>
          <p:nvPr>
            <p:ph type="body" idx="1"/>
          </p:nvPr>
        </p:nvSpPr>
        <p:spPr>
          <a:xfrm>
            <a:off x="508545" y="1707790"/>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49" name="Google Shape;17949;p1561"/>
          <p:cNvSpPr/>
          <p:nvPr/>
        </p:nvSpPr>
        <p:spPr>
          <a:xfrm>
            <a:off x="6863643"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50" name="Google Shape;17950;p156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51" name="Google Shape;17951;p1561"/>
          <p:cNvSpPr txBox="1">
            <a:spLocks noGrp="1"/>
          </p:cNvSpPr>
          <p:nvPr>
            <p:ph type="body" idx="2"/>
          </p:nvPr>
        </p:nvSpPr>
        <p:spPr>
          <a:xfrm>
            <a:off x="332185" y="953346"/>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52" name="Google Shape;17952;p1561"/>
          <p:cNvCxnSpPr/>
          <p:nvPr/>
        </p:nvCxnSpPr>
        <p:spPr>
          <a:xfrm>
            <a:off x="11311722" y="6447271"/>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53" name="Google Shape;17953;p1561"/>
          <p:cNvSpPr txBox="1">
            <a:spLocks noGrp="1"/>
          </p:cNvSpPr>
          <p:nvPr>
            <p:ph type="sldNum" idx="12"/>
          </p:nvPr>
        </p:nvSpPr>
        <p:spPr>
          <a:xfrm>
            <a:off x="11202597" y="6454532"/>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54" name="Google Shape;17954;p1561"/>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563055815"/>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matchingName="Cover 13">
  <p:cSld name="Cover 13">
    <p:spTree>
      <p:nvGrpSpPr>
        <p:cNvPr id="1" name="Shape 17955"/>
        <p:cNvGrpSpPr/>
        <p:nvPr/>
      </p:nvGrpSpPr>
      <p:grpSpPr>
        <a:xfrm>
          <a:off x="0" y="0"/>
          <a:ext cx="0" cy="0"/>
          <a:chOff x="0" y="0"/>
          <a:chExt cx="0" cy="0"/>
        </a:xfrm>
      </p:grpSpPr>
      <p:sp>
        <p:nvSpPr>
          <p:cNvPr id="17956" name="Google Shape;17956;p1562"/>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57" name="Google Shape;17957;p156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58" name="Google Shape;17958;p156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7959" name="Google Shape;17959;p1562"/>
          <p:cNvGrpSpPr/>
          <p:nvPr/>
        </p:nvGrpSpPr>
        <p:grpSpPr>
          <a:xfrm>
            <a:off x="0" y="5020350"/>
            <a:ext cx="12191996" cy="1837651"/>
            <a:chOff x="0" y="5020348"/>
            <a:chExt cx="12191996" cy="1837651"/>
          </a:xfrm>
        </p:grpSpPr>
        <p:sp>
          <p:nvSpPr>
            <p:cNvPr id="17960" name="Google Shape;17960;p156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61" name="Google Shape;17961;p156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962" name="Google Shape;17962;p156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708750127"/>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matchingName="Divider 14">
  <p:cSld name="Divider 14">
    <p:spTree>
      <p:nvGrpSpPr>
        <p:cNvPr id="1" name="Shape 17963"/>
        <p:cNvGrpSpPr/>
        <p:nvPr/>
      </p:nvGrpSpPr>
      <p:grpSpPr>
        <a:xfrm>
          <a:off x="0" y="0"/>
          <a:ext cx="0" cy="0"/>
          <a:chOff x="0" y="0"/>
          <a:chExt cx="0" cy="0"/>
        </a:xfrm>
      </p:grpSpPr>
      <p:grpSp>
        <p:nvGrpSpPr>
          <p:cNvPr id="17964" name="Google Shape;17964;p1563"/>
          <p:cNvGrpSpPr/>
          <p:nvPr/>
        </p:nvGrpSpPr>
        <p:grpSpPr>
          <a:xfrm>
            <a:off x="0" y="5020350"/>
            <a:ext cx="12191996" cy="1837651"/>
            <a:chOff x="0" y="5020348"/>
            <a:chExt cx="12191996" cy="1837651"/>
          </a:xfrm>
        </p:grpSpPr>
        <p:sp>
          <p:nvSpPr>
            <p:cNvPr id="17965" name="Google Shape;17965;p156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66" name="Google Shape;17966;p156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67" name="Google Shape;17967;p156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7968" name="Google Shape;17968;p156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7969" name="Google Shape;17969;p1563"/>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70" name="Google Shape;17970;p156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55580862"/>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matchingName="Photo Slide 13">
  <p:cSld name="Photo Slide 13">
    <p:spTree>
      <p:nvGrpSpPr>
        <p:cNvPr id="1" name="Shape 17971"/>
        <p:cNvGrpSpPr/>
        <p:nvPr/>
      </p:nvGrpSpPr>
      <p:grpSpPr>
        <a:xfrm>
          <a:off x="0" y="0"/>
          <a:ext cx="0" cy="0"/>
          <a:chOff x="0" y="0"/>
          <a:chExt cx="0" cy="0"/>
        </a:xfrm>
      </p:grpSpPr>
      <p:sp>
        <p:nvSpPr>
          <p:cNvPr id="17972" name="Google Shape;17972;p156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73" name="Google Shape;17973;p1564"/>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974" name="Google Shape;17974;p1564"/>
          <p:cNvGrpSpPr/>
          <p:nvPr/>
        </p:nvGrpSpPr>
        <p:grpSpPr>
          <a:xfrm>
            <a:off x="2" y="5379426"/>
            <a:ext cx="2807363" cy="753895"/>
            <a:chOff x="0" y="5379424"/>
            <a:chExt cx="2807363" cy="753895"/>
          </a:xfrm>
        </p:grpSpPr>
        <p:sp>
          <p:nvSpPr>
            <p:cNvPr id="17975" name="Google Shape;17975;p156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76" name="Google Shape;17976;p156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977" name="Google Shape;17977;p1564"/>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824791751"/>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17978"/>
        <p:cNvGrpSpPr/>
        <p:nvPr/>
      </p:nvGrpSpPr>
      <p:grpSpPr>
        <a:xfrm>
          <a:off x="0" y="0"/>
          <a:ext cx="0" cy="0"/>
          <a:chOff x="0" y="0"/>
          <a:chExt cx="0" cy="0"/>
        </a:xfrm>
      </p:grpSpPr>
      <p:sp>
        <p:nvSpPr>
          <p:cNvPr id="17979" name="Google Shape;17979;p156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80" name="Google Shape;17980;p15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81" name="Google Shape;17981;p1565"/>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82" name="Google Shape;17982;p156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83" name="Google Shape;17983;p15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84" name="Google Shape;17984;p156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85" name="Google Shape;17985;p1565"/>
          <p:cNvGrpSpPr/>
          <p:nvPr/>
        </p:nvGrpSpPr>
        <p:grpSpPr>
          <a:xfrm>
            <a:off x="7191545" y="0"/>
            <a:ext cx="5000460" cy="1425988"/>
            <a:chOff x="7191545" y="0"/>
            <a:chExt cx="5000460" cy="1425988"/>
          </a:xfrm>
        </p:grpSpPr>
        <p:pic>
          <p:nvPicPr>
            <p:cNvPr id="17986" name="Google Shape;17986;p15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87" name="Google Shape;17987;p1565"/>
            <p:cNvGrpSpPr/>
            <p:nvPr/>
          </p:nvGrpSpPr>
          <p:grpSpPr>
            <a:xfrm>
              <a:off x="7191545" y="0"/>
              <a:ext cx="5000460" cy="1425988"/>
              <a:chOff x="7191545" y="0"/>
              <a:chExt cx="5000460" cy="1425988"/>
            </a:xfrm>
          </p:grpSpPr>
          <p:sp>
            <p:nvSpPr>
              <p:cNvPr id="17988" name="Google Shape;17988;p15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89" name="Google Shape;17989;p15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90" name="Google Shape;17990;p1565"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155496597"/>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matchingName="1_EVERYDAY CONTENT ONLY 2">
  <p:cSld name="1_EVERYDAY CONTENT ONLY 2">
    <p:spTree>
      <p:nvGrpSpPr>
        <p:cNvPr id="1" name="Shape 17991"/>
        <p:cNvGrpSpPr/>
        <p:nvPr/>
      </p:nvGrpSpPr>
      <p:grpSpPr>
        <a:xfrm>
          <a:off x="0" y="0"/>
          <a:ext cx="0" cy="0"/>
          <a:chOff x="0" y="0"/>
          <a:chExt cx="0" cy="0"/>
        </a:xfrm>
      </p:grpSpPr>
      <p:sp>
        <p:nvSpPr>
          <p:cNvPr id="17992" name="Google Shape;17992;p1566"/>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93" name="Google Shape;17993;p1566"/>
          <p:cNvSpPr/>
          <p:nvPr/>
        </p:nvSpPr>
        <p:spPr>
          <a:xfrm>
            <a:off x="6863643"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4" name="Google Shape;17994;p1566"/>
          <p:cNvSpPr txBox="1">
            <a:spLocks noGrp="1"/>
          </p:cNvSpPr>
          <p:nvPr>
            <p:ph type="body" idx="1"/>
          </p:nvPr>
        </p:nvSpPr>
        <p:spPr>
          <a:xfrm>
            <a:off x="508545" y="1707790"/>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7995" name="Google Shape;17995;p1566"/>
          <p:cNvSpPr/>
          <p:nvPr/>
        </p:nvSpPr>
        <p:spPr>
          <a:xfrm>
            <a:off x="6863643"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6" name="Google Shape;17996;p1566"/>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97" name="Google Shape;17997;p1566"/>
          <p:cNvSpPr txBox="1">
            <a:spLocks noGrp="1"/>
          </p:cNvSpPr>
          <p:nvPr>
            <p:ph type="body" idx="2"/>
          </p:nvPr>
        </p:nvSpPr>
        <p:spPr>
          <a:xfrm>
            <a:off x="332185" y="953346"/>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7998" name="Google Shape;17998;p1566"/>
          <p:cNvCxnSpPr/>
          <p:nvPr/>
        </p:nvCxnSpPr>
        <p:spPr>
          <a:xfrm>
            <a:off x="11311722" y="6447271"/>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99" name="Google Shape;17999;p1566"/>
          <p:cNvSpPr txBox="1">
            <a:spLocks noGrp="1"/>
          </p:cNvSpPr>
          <p:nvPr>
            <p:ph type="sldNum" idx="12"/>
          </p:nvPr>
        </p:nvSpPr>
        <p:spPr>
          <a:xfrm>
            <a:off x="11202597" y="6454532"/>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8000" name="Google Shape;18000;p1566"/>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423971674"/>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matchingName="1_Cover 13">
  <p:cSld name="1_Cover 13">
    <p:spTree>
      <p:nvGrpSpPr>
        <p:cNvPr id="1" name="Shape 18001"/>
        <p:cNvGrpSpPr/>
        <p:nvPr/>
      </p:nvGrpSpPr>
      <p:grpSpPr>
        <a:xfrm>
          <a:off x="0" y="0"/>
          <a:ext cx="0" cy="0"/>
          <a:chOff x="0" y="0"/>
          <a:chExt cx="0" cy="0"/>
        </a:xfrm>
      </p:grpSpPr>
      <p:sp>
        <p:nvSpPr>
          <p:cNvPr id="18002" name="Google Shape;18002;p1567"/>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03" name="Google Shape;18003;p156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04" name="Google Shape;18004;p156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005" name="Google Shape;18005;p1567"/>
          <p:cNvGrpSpPr/>
          <p:nvPr/>
        </p:nvGrpSpPr>
        <p:grpSpPr>
          <a:xfrm>
            <a:off x="0" y="5020350"/>
            <a:ext cx="12191996" cy="1837651"/>
            <a:chOff x="0" y="5020348"/>
            <a:chExt cx="12191996" cy="1837651"/>
          </a:xfrm>
        </p:grpSpPr>
        <p:sp>
          <p:nvSpPr>
            <p:cNvPr id="18006" name="Google Shape;18006;p156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07" name="Google Shape;18007;p156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008" name="Google Shape;18008;p156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109105120"/>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matchingName="1_Divider 14">
  <p:cSld name="1_Divider 14">
    <p:spTree>
      <p:nvGrpSpPr>
        <p:cNvPr id="1" name="Shape 18009"/>
        <p:cNvGrpSpPr/>
        <p:nvPr/>
      </p:nvGrpSpPr>
      <p:grpSpPr>
        <a:xfrm>
          <a:off x="0" y="0"/>
          <a:ext cx="0" cy="0"/>
          <a:chOff x="0" y="0"/>
          <a:chExt cx="0" cy="0"/>
        </a:xfrm>
      </p:grpSpPr>
      <p:grpSp>
        <p:nvGrpSpPr>
          <p:cNvPr id="18010" name="Google Shape;18010;p1568"/>
          <p:cNvGrpSpPr/>
          <p:nvPr/>
        </p:nvGrpSpPr>
        <p:grpSpPr>
          <a:xfrm>
            <a:off x="0" y="5020350"/>
            <a:ext cx="12191996" cy="1837651"/>
            <a:chOff x="0" y="5020348"/>
            <a:chExt cx="12191996" cy="1837651"/>
          </a:xfrm>
        </p:grpSpPr>
        <p:sp>
          <p:nvSpPr>
            <p:cNvPr id="18011" name="Google Shape;18011;p156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12" name="Google Shape;18012;p156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13" name="Google Shape;18013;p156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014" name="Google Shape;18014;p156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8015" name="Google Shape;18015;p1568"/>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16" name="Google Shape;18016;p156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82498606"/>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matchingName="1_Photo Slide 13">
  <p:cSld name="1_Photo Slide 13">
    <p:spTree>
      <p:nvGrpSpPr>
        <p:cNvPr id="1" name="Shape 18017"/>
        <p:cNvGrpSpPr/>
        <p:nvPr/>
      </p:nvGrpSpPr>
      <p:grpSpPr>
        <a:xfrm>
          <a:off x="0" y="0"/>
          <a:ext cx="0" cy="0"/>
          <a:chOff x="0" y="0"/>
          <a:chExt cx="0" cy="0"/>
        </a:xfrm>
      </p:grpSpPr>
      <p:sp>
        <p:nvSpPr>
          <p:cNvPr id="18018" name="Google Shape;18018;p156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019" name="Google Shape;18019;p1569"/>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020" name="Google Shape;18020;p1569"/>
          <p:cNvGrpSpPr/>
          <p:nvPr/>
        </p:nvGrpSpPr>
        <p:grpSpPr>
          <a:xfrm>
            <a:off x="2" y="5379426"/>
            <a:ext cx="2807363" cy="753895"/>
            <a:chOff x="0" y="5379424"/>
            <a:chExt cx="2807363" cy="753895"/>
          </a:xfrm>
        </p:grpSpPr>
        <p:sp>
          <p:nvSpPr>
            <p:cNvPr id="18021" name="Google Shape;18021;p156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22" name="Google Shape;18022;p156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023" name="Google Shape;18023;p1569"/>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19392896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LM-Title">
  <p:cSld name="LM-Title 2">
    <p:spTree>
      <p:nvGrpSpPr>
        <p:cNvPr id="1" name="Shape 1163"/>
        <p:cNvGrpSpPr/>
        <p:nvPr/>
      </p:nvGrpSpPr>
      <p:grpSpPr>
        <a:xfrm>
          <a:off x="0" y="0"/>
          <a:ext cx="0" cy="0"/>
          <a:chOff x="0" y="0"/>
          <a:chExt cx="0" cy="0"/>
        </a:xfrm>
      </p:grpSpPr>
      <p:sp>
        <p:nvSpPr>
          <p:cNvPr id="1164" name="Google Shape;1164;p121"/>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 name="Google Shape;1165;p121"/>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6" name="Google Shape;1166;p121"/>
          <p:cNvGrpSpPr/>
          <p:nvPr/>
        </p:nvGrpSpPr>
        <p:grpSpPr>
          <a:xfrm>
            <a:off x="791245" y="2369595"/>
            <a:ext cx="2416216" cy="1878202"/>
            <a:chOff x="297439" y="2116926"/>
            <a:chExt cx="1826636" cy="1893204"/>
          </a:xfrm>
        </p:grpSpPr>
        <p:pic>
          <p:nvPicPr>
            <p:cNvPr id="1167" name="Google Shape;1167;p121"/>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8" name="Google Shape;1168;p121"/>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matchingName="Blank 10">
  <p:cSld name="Blank 10">
    <p:spTree>
      <p:nvGrpSpPr>
        <p:cNvPr id="1" name="Shape 18024"/>
        <p:cNvGrpSpPr/>
        <p:nvPr/>
      </p:nvGrpSpPr>
      <p:grpSpPr>
        <a:xfrm>
          <a:off x="0" y="0"/>
          <a:ext cx="0" cy="0"/>
          <a:chOff x="0" y="0"/>
          <a:chExt cx="0" cy="0"/>
        </a:xfrm>
      </p:grpSpPr>
      <p:sp>
        <p:nvSpPr>
          <p:cNvPr id="18025" name="Google Shape;18025;p157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26" name="Google Shape;18026;p15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27" name="Google Shape;18027;p157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28" name="Google Shape;18028;p1570"/>
          <p:cNvGrpSpPr/>
          <p:nvPr/>
        </p:nvGrpSpPr>
        <p:grpSpPr>
          <a:xfrm>
            <a:off x="7191545" y="0"/>
            <a:ext cx="5000460" cy="1425988"/>
            <a:chOff x="7191545" y="0"/>
            <a:chExt cx="5000460" cy="1425988"/>
          </a:xfrm>
        </p:grpSpPr>
        <p:pic>
          <p:nvPicPr>
            <p:cNvPr id="18029" name="Google Shape;18029;p15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30" name="Google Shape;18030;p1570"/>
            <p:cNvGrpSpPr/>
            <p:nvPr/>
          </p:nvGrpSpPr>
          <p:grpSpPr>
            <a:xfrm>
              <a:off x="7191545" y="0"/>
              <a:ext cx="5000460" cy="1425988"/>
              <a:chOff x="7191545" y="0"/>
              <a:chExt cx="5000460" cy="1425988"/>
            </a:xfrm>
          </p:grpSpPr>
          <p:sp>
            <p:nvSpPr>
              <p:cNvPr id="18031" name="Google Shape;18031;p15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32" name="Google Shape;18032;p15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48971099"/>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matchingName="Quotation 18">
  <p:cSld name="Quotation 18">
    <p:spTree>
      <p:nvGrpSpPr>
        <p:cNvPr id="1" name="Shape 18033"/>
        <p:cNvGrpSpPr/>
        <p:nvPr/>
      </p:nvGrpSpPr>
      <p:grpSpPr>
        <a:xfrm>
          <a:off x="0" y="0"/>
          <a:ext cx="0" cy="0"/>
          <a:chOff x="0" y="0"/>
          <a:chExt cx="0" cy="0"/>
        </a:xfrm>
      </p:grpSpPr>
      <p:sp>
        <p:nvSpPr>
          <p:cNvPr id="18034" name="Google Shape;18034;p157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35" name="Google Shape;18035;p15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36" name="Google Shape;18036;p1571"/>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37" name="Google Shape;18037;p157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38" name="Google Shape;18038;p15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39" name="Google Shape;18039;p157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40" name="Google Shape;18040;p1571"/>
          <p:cNvGrpSpPr/>
          <p:nvPr/>
        </p:nvGrpSpPr>
        <p:grpSpPr>
          <a:xfrm>
            <a:off x="7191545" y="0"/>
            <a:ext cx="5000460" cy="1425988"/>
            <a:chOff x="7191545" y="0"/>
            <a:chExt cx="5000460" cy="1425988"/>
          </a:xfrm>
        </p:grpSpPr>
        <p:pic>
          <p:nvPicPr>
            <p:cNvPr id="18041" name="Google Shape;18041;p15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42" name="Google Shape;18042;p1571"/>
            <p:cNvGrpSpPr/>
            <p:nvPr/>
          </p:nvGrpSpPr>
          <p:grpSpPr>
            <a:xfrm>
              <a:off x="7191545" y="0"/>
              <a:ext cx="5000460" cy="1425988"/>
              <a:chOff x="7191545" y="0"/>
              <a:chExt cx="5000460" cy="1425988"/>
            </a:xfrm>
          </p:grpSpPr>
          <p:sp>
            <p:nvSpPr>
              <p:cNvPr id="18043" name="Google Shape;18043;p15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44" name="Google Shape;18044;p15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045" name="Google Shape;18045;p1571"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619444458"/>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matchingName="Two Content 12">
  <p:cSld name="Two Content 12">
    <p:spTree>
      <p:nvGrpSpPr>
        <p:cNvPr id="1" name="Shape 18046"/>
        <p:cNvGrpSpPr/>
        <p:nvPr/>
      </p:nvGrpSpPr>
      <p:grpSpPr>
        <a:xfrm>
          <a:off x="0" y="0"/>
          <a:ext cx="0" cy="0"/>
          <a:chOff x="0" y="0"/>
          <a:chExt cx="0" cy="0"/>
        </a:xfrm>
      </p:grpSpPr>
      <p:sp>
        <p:nvSpPr>
          <p:cNvPr id="18047" name="Google Shape;18047;p157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48" name="Google Shape;18048;p1572"/>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049" name="Google Shape;18049;p1572"/>
          <p:cNvGrpSpPr/>
          <p:nvPr/>
        </p:nvGrpSpPr>
        <p:grpSpPr>
          <a:xfrm>
            <a:off x="7191545" y="0"/>
            <a:ext cx="5000460" cy="1425988"/>
            <a:chOff x="7191545" y="0"/>
            <a:chExt cx="5000460" cy="1425988"/>
          </a:xfrm>
        </p:grpSpPr>
        <p:pic>
          <p:nvPicPr>
            <p:cNvPr id="18050" name="Google Shape;18050;p15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51" name="Google Shape;18051;p1572"/>
            <p:cNvGrpSpPr/>
            <p:nvPr/>
          </p:nvGrpSpPr>
          <p:grpSpPr>
            <a:xfrm>
              <a:off x="7191545" y="0"/>
              <a:ext cx="5000460" cy="1425988"/>
              <a:chOff x="7191545" y="0"/>
              <a:chExt cx="5000460" cy="1425988"/>
            </a:xfrm>
          </p:grpSpPr>
          <p:sp>
            <p:nvSpPr>
              <p:cNvPr id="18052" name="Google Shape;18052;p15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53" name="Google Shape;18053;p15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54" name="Google Shape;18054;p1572"/>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55" name="Google Shape;18055;p1572"/>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56" name="Google Shape;18056;p15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57" name="Google Shape;18057;p157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81376671"/>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matchingName="Comparison 11">
  <p:cSld name="Comparison 11">
    <p:spTree>
      <p:nvGrpSpPr>
        <p:cNvPr id="1" name="Shape 18058"/>
        <p:cNvGrpSpPr/>
        <p:nvPr/>
      </p:nvGrpSpPr>
      <p:grpSpPr>
        <a:xfrm>
          <a:off x="0" y="0"/>
          <a:ext cx="0" cy="0"/>
          <a:chOff x="0" y="0"/>
          <a:chExt cx="0" cy="0"/>
        </a:xfrm>
      </p:grpSpPr>
      <p:grpSp>
        <p:nvGrpSpPr>
          <p:cNvPr id="18059" name="Google Shape;18059;p1573"/>
          <p:cNvGrpSpPr/>
          <p:nvPr/>
        </p:nvGrpSpPr>
        <p:grpSpPr>
          <a:xfrm>
            <a:off x="7191545" y="0"/>
            <a:ext cx="5000460" cy="1425988"/>
            <a:chOff x="7191545" y="0"/>
            <a:chExt cx="5000460" cy="1425988"/>
          </a:xfrm>
        </p:grpSpPr>
        <p:pic>
          <p:nvPicPr>
            <p:cNvPr id="18060" name="Google Shape;18060;p157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61" name="Google Shape;18061;p1573"/>
            <p:cNvGrpSpPr/>
            <p:nvPr/>
          </p:nvGrpSpPr>
          <p:grpSpPr>
            <a:xfrm>
              <a:off x="7191545" y="0"/>
              <a:ext cx="5000460" cy="1425988"/>
              <a:chOff x="7191545" y="0"/>
              <a:chExt cx="5000460" cy="1425988"/>
            </a:xfrm>
          </p:grpSpPr>
          <p:sp>
            <p:nvSpPr>
              <p:cNvPr id="18062" name="Google Shape;18062;p157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63" name="Google Shape;18063;p157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64" name="Google Shape;18064;p157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65" name="Google Shape;18065;p157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6" name="Google Shape;18066;p1573"/>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7" name="Google Shape;18067;p1573"/>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8" name="Google Shape;18068;p1573"/>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69" name="Google Shape;18069;p157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70" name="Google Shape;18070;p157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71" name="Google Shape;18071;p157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44207779"/>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matchingName="Title Only 11">
  <p:cSld name="Title Only 11">
    <p:spTree>
      <p:nvGrpSpPr>
        <p:cNvPr id="1" name="Shape 18072"/>
        <p:cNvGrpSpPr/>
        <p:nvPr/>
      </p:nvGrpSpPr>
      <p:grpSpPr>
        <a:xfrm>
          <a:off x="0" y="0"/>
          <a:ext cx="0" cy="0"/>
          <a:chOff x="0" y="0"/>
          <a:chExt cx="0" cy="0"/>
        </a:xfrm>
      </p:grpSpPr>
      <p:grpSp>
        <p:nvGrpSpPr>
          <p:cNvPr id="18073" name="Google Shape;18073;p1574"/>
          <p:cNvGrpSpPr/>
          <p:nvPr/>
        </p:nvGrpSpPr>
        <p:grpSpPr>
          <a:xfrm>
            <a:off x="7191545" y="0"/>
            <a:ext cx="5000460" cy="1425988"/>
            <a:chOff x="7191545" y="0"/>
            <a:chExt cx="5000460" cy="1425988"/>
          </a:xfrm>
        </p:grpSpPr>
        <p:pic>
          <p:nvPicPr>
            <p:cNvPr id="18074" name="Google Shape;18074;p15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75" name="Google Shape;18075;p1574"/>
            <p:cNvGrpSpPr/>
            <p:nvPr/>
          </p:nvGrpSpPr>
          <p:grpSpPr>
            <a:xfrm>
              <a:off x="7191545" y="0"/>
              <a:ext cx="5000460" cy="1425988"/>
              <a:chOff x="7191545" y="0"/>
              <a:chExt cx="5000460" cy="1425988"/>
            </a:xfrm>
          </p:grpSpPr>
          <p:sp>
            <p:nvSpPr>
              <p:cNvPr id="18076" name="Google Shape;18076;p15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77" name="Google Shape;18077;p15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78" name="Google Shape;18078;p157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79" name="Google Shape;18079;p157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80" name="Google Shape;18080;p15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81" name="Google Shape;18081;p157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80264408"/>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matchingName="End 12">
  <p:cSld name="End 12">
    <p:spTree>
      <p:nvGrpSpPr>
        <p:cNvPr id="1" name="Shape 18082"/>
        <p:cNvGrpSpPr/>
        <p:nvPr/>
      </p:nvGrpSpPr>
      <p:grpSpPr>
        <a:xfrm>
          <a:off x="0" y="0"/>
          <a:ext cx="0" cy="0"/>
          <a:chOff x="0" y="0"/>
          <a:chExt cx="0" cy="0"/>
        </a:xfrm>
      </p:grpSpPr>
      <p:grpSp>
        <p:nvGrpSpPr>
          <p:cNvPr id="18083" name="Google Shape;18083;p1575"/>
          <p:cNvGrpSpPr/>
          <p:nvPr/>
        </p:nvGrpSpPr>
        <p:grpSpPr>
          <a:xfrm>
            <a:off x="0" y="0"/>
            <a:ext cx="12191996" cy="2148830"/>
            <a:chOff x="0" y="0"/>
            <a:chExt cx="12191996" cy="2148830"/>
          </a:xfrm>
        </p:grpSpPr>
        <p:sp>
          <p:nvSpPr>
            <p:cNvPr id="18084" name="Google Shape;18084;p157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85" name="Google Shape;18085;p157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086" name="Google Shape;18086;p1575"/>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87" name="Google Shape;18087;p1575"/>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088" name="Google Shape;18088;p157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089" name="Google Shape;18089;p157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809285910"/>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matchingName="Blank 11">
  <p:cSld name="Blank 11">
    <p:spTree>
      <p:nvGrpSpPr>
        <p:cNvPr id="1" name="Shape 18090"/>
        <p:cNvGrpSpPr/>
        <p:nvPr/>
      </p:nvGrpSpPr>
      <p:grpSpPr>
        <a:xfrm>
          <a:off x="0" y="0"/>
          <a:ext cx="0" cy="0"/>
          <a:chOff x="0" y="0"/>
          <a:chExt cx="0" cy="0"/>
        </a:xfrm>
      </p:grpSpPr>
      <p:sp>
        <p:nvSpPr>
          <p:cNvPr id="18091" name="Google Shape;18091;p157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92" name="Google Shape;18092;p15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93" name="Google Shape;18093;p157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94" name="Google Shape;18094;p1576"/>
          <p:cNvGrpSpPr/>
          <p:nvPr/>
        </p:nvGrpSpPr>
        <p:grpSpPr>
          <a:xfrm>
            <a:off x="7191545" y="0"/>
            <a:ext cx="5000460" cy="1425988"/>
            <a:chOff x="7191545" y="0"/>
            <a:chExt cx="5000460" cy="1425988"/>
          </a:xfrm>
        </p:grpSpPr>
        <p:pic>
          <p:nvPicPr>
            <p:cNvPr id="18095" name="Google Shape;18095;p15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96" name="Google Shape;18096;p1576"/>
            <p:cNvGrpSpPr/>
            <p:nvPr/>
          </p:nvGrpSpPr>
          <p:grpSpPr>
            <a:xfrm>
              <a:off x="7191545" y="0"/>
              <a:ext cx="5000460" cy="1425988"/>
              <a:chOff x="7191545" y="0"/>
              <a:chExt cx="5000460" cy="1425988"/>
            </a:xfrm>
          </p:grpSpPr>
          <p:sp>
            <p:nvSpPr>
              <p:cNvPr id="18097" name="Google Shape;18097;p15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98" name="Google Shape;18098;p15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784294558"/>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matchingName="6_Quotation 2">
  <p:cSld name="6_Quotation 2">
    <p:spTree>
      <p:nvGrpSpPr>
        <p:cNvPr id="1" name="Shape 18099"/>
        <p:cNvGrpSpPr/>
        <p:nvPr/>
      </p:nvGrpSpPr>
      <p:grpSpPr>
        <a:xfrm>
          <a:off x="0" y="0"/>
          <a:ext cx="0" cy="0"/>
          <a:chOff x="0" y="0"/>
          <a:chExt cx="0" cy="0"/>
        </a:xfrm>
      </p:grpSpPr>
      <p:sp>
        <p:nvSpPr>
          <p:cNvPr id="18100" name="Google Shape;18100;p15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01" name="Google Shape;18101;p1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2" name="Google Shape;18102;p1577"/>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03" name="Google Shape;18103;p157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04" name="Google Shape;18104;p1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05" name="Google Shape;18105;p157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06" name="Google Shape;18106;p1577"/>
          <p:cNvGrpSpPr/>
          <p:nvPr/>
        </p:nvGrpSpPr>
        <p:grpSpPr>
          <a:xfrm>
            <a:off x="7191545" y="0"/>
            <a:ext cx="5000460" cy="1425988"/>
            <a:chOff x="7191545" y="0"/>
            <a:chExt cx="5000460" cy="1425988"/>
          </a:xfrm>
        </p:grpSpPr>
        <p:pic>
          <p:nvPicPr>
            <p:cNvPr id="18107" name="Google Shape;18107;p1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08" name="Google Shape;18108;p1577"/>
            <p:cNvGrpSpPr/>
            <p:nvPr/>
          </p:nvGrpSpPr>
          <p:grpSpPr>
            <a:xfrm>
              <a:off x="7191545" y="0"/>
              <a:ext cx="5000460" cy="1425988"/>
              <a:chOff x="7191545" y="0"/>
              <a:chExt cx="5000460" cy="1425988"/>
            </a:xfrm>
          </p:grpSpPr>
          <p:sp>
            <p:nvSpPr>
              <p:cNvPr id="18109" name="Google Shape;18109;p1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0" name="Google Shape;18110;p1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11" name="Google Shape;18111;p1577"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046334128"/>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matchingName="Cover B 3">
  <p:cSld name="Cover B 3">
    <p:spTree>
      <p:nvGrpSpPr>
        <p:cNvPr id="1" name="Shape 18112"/>
        <p:cNvGrpSpPr/>
        <p:nvPr/>
      </p:nvGrpSpPr>
      <p:grpSpPr>
        <a:xfrm>
          <a:off x="0" y="0"/>
          <a:ext cx="0" cy="0"/>
          <a:chOff x="0" y="0"/>
          <a:chExt cx="0" cy="0"/>
        </a:xfrm>
      </p:grpSpPr>
      <p:sp>
        <p:nvSpPr>
          <p:cNvPr id="18113" name="Google Shape;18113;p1578"/>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4" name="Google Shape;18114;p1578"/>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115" name="Google Shape;18115;p1578"/>
          <p:cNvGrpSpPr/>
          <p:nvPr/>
        </p:nvGrpSpPr>
        <p:grpSpPr>
          <a:xfrm>
            <a:off x="0" y="0"/>
            <a:ext cx="6418722" cy="1509820"/>
            <a:chOff x="0" y="0"/>
            <a:chExt cx="6418722" cy="1509820"/>
          </a:xfrm>
        </p:grpSpPr>
        <p:sp>
          <p:nvSpPr>
            <p:cNvPr id="18116" name="Google Shape;18116;p1578"/>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7" name="Google Shape;18117;p1578"/>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8118" name="Google Shape;18118;p15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6" y="136529"/>
            <a:ext cx="1945203" cy="879972"/>
          </a:xfrm>
          <a:prstGeom prst="rect">
            <a:avLst/>
          </a:prstGeom>
          <a:noFill/>
          <a:ln>
            <a:noFill/>
          </a:ln>
        </p:spPr>
      </p:pic>
    </p:spTree>
    <p:extLst>
      <p:ext uri="{BB962C8B-B14F-4D97-AF65-F5344CB8AC3E}">
        <p14:creationId xmlns:p14="http://schemas.microsoft.com/office/powerpoint/2010/main" val="1878553679"/>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matchingName="Cover 14">
  <p:cSld name="Cover 14">
    <p:spTree>
      <p:nvGrpSpPr>
        <p:cNvPr id="1" name="Shape 18119"/>
        <p:cNvGrpSpPr/>
        <p:nvPr/>
      </p:nvGrpSpPr>
      <p:grpSpPr>
        <a:xfrm>
          <a:off x="0" y="0"/>
          <a:ext cx="0" cy="0"/>
          <a:chOff x="0" y="0"/>
          <a:chExt cx="0" cy="0"/>
        </a:xfrm>
      </p:grpSpPr>
      <p:sp>
        <p:nvSpPr>
          <p:cNvPr id="18120" name="Google Shape;18120;p1579"/>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21" name="Google Shape;18121;p157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22" name="Google Shape;18122;p157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123" name="Google Shape;18123;p1579"/>
          <p:cNvGrpSpPr/>
          <p:nvPr/>
        </p:nvGrpSpPr>
        <p:grpSpPr>
          <a:xfrm>
            <a:off x="0" y="5020350"/>
            <a:ext cx="12191996" cy="1837651"/>
            <a:chOff x="0" y="5020348"/>
            <a:chExt cx="12191996" cy="1837651"/>
          </a:xfrm>
        </p:grpSpPr>
        <p:sp>
          <p:nvSpPr>
            <p:cNvPr id="18124" name="Google Shape;18124;p157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25" name="Google Shape;18125;p157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126" name="Google Shape;18126;p157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2897772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169"/>
        <p:cNvGrpSpPr/>
        <p:nvPr/>
      </p:nvGrpSpPr>
      <p:grpSpPr>
        <a:xfrm>
          <a:off x="0" y="0"/>
          <a:ext cx="0" cy="0"/>
          <a:chOff x="0" y="0"/>
          <a:chExt cx="0" cy="0"/>
        </a:xfrm>
      </p:grpSpPr>
      <p:sp>
        <p:nvSpPr>
          <p:cNvPr id="1170" name="Google Shape;1170;p122"/>
          <p:cNvSpPr/>
          <p:nvPr/>
        </p:nvSpPr>
        <p:spPr>
          <a:xfrm>
            <a:off x="0" y="2290794"/>
            <a:ext cx="12192000" cy="4567206"/>
          </a:xfrm>
          <a:prstGeom prst="rect">
            <a:avLst/>
          </a:prstGeom>
          <a:solidFill>
            <a:srgbClr val="8D23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171" name="Google Shape;1171;p122"/>
          <p:cNvCxnSpPr/>
          <p:nvPr/>
        </p:nvCxnSpPr>
        <p:spPr>
          <a:xfrm>
            <a:off x="875819"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172" name="Google Shape;1172;p122" descr="LM_3C_H-300.png"/>
          <p:cNvPicPr preferRelativeResize="0"/>
          <p:nvPr/>
        </p:nvPicPr>
        <p:blipFill rotWithShape="1">
          <a:blip r:embed="rId2">
            <a:alphaModFix/>
          </a:blip>
          <a:srcRect/>
          <a:stretch/>
        </p:blipFill>
        <p:spPr>
          <a:xfrm>
            <a:off x="3848100" y="497976"/>
            <a:ext cx="4584701" cy="1142196"/>
          </a:xfrm>
          <a:prstGeom prst="rect">
            <a:avLst/>
          </a:prstGeom>
          <a:noFill/>
          <a:ln>
            <a:noFill/>
          </a:ln>
        </p:spPr>
      </p:pic>
      <p:pic>
        <p:nvPicPr>
          <p:cNvPr id="1173" name="Google Shape;1173;p122" descr="trinity_health.jpg"/>
          <p:cNvPicPr preferRelativeResize="0"/>
          <p:nvPr/>
        </p:nvPicPr>
        <p:blipFill rotWithShape="1">
          <a:blip r:embed="rId3">
            <a:alphaModFix/>
          </a:blip>
          <a:srcRect/>
          <a:stretch/>
        </p:blipFill>
        <p:spPr>
          <a:xfrm>
            <a:off x="4777705" y="1907926"/>
            <a:ext cx="2604577" cy="192492"/>
          </a:xfrm>
          <a:prstGeom prst="rect">
            <a:avLst/>
          </a:prstGeom>
          <a:noFill/>
          <a:ln>
            <a:noFill/>
          </a:ln>
        </p:spPr>
      </p:pic>
      <p:sp>
        <p:nvSpPr>
          <p:cNvPr id="1174" name="Google Shape;1174;p122"/>
          <p:cNvSpPr txBox="1">
            <a:spLocks noGrp="1"/>
          </p:cNvSpPr>
          <p:nvPr>
            <p:ph type="body" idx="1"/>
          </p:nvPr>
        </p:nvSpPr>
        <p:spPr>
          <a:xfrm>
            <a:off x="875819" y="4031767"/>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122"/>
          <p:cNvSpPr txBox="1">
            <a:spLocks noGrp="1"/>
          </p:cNvSpPr>
          <p:nvPr>
            <p:ph type="body" idx="2"/>
          </p:nvPr>
        </p:nvSpPr>
        <p:spPr>
          <a:xfrm>
            <a:off x="875819" y="4886876"/>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matchingName="Divider 15">
  <p:cSld name="Divider 15">
    <p:spTree>
      <p:nvGrpSpPr>
        <p:cNvPr id="1" name="Shape 18127"/>
        <p:cNvGrpSpPr/>
        <p:nvPr/>
      </p:nvGrpSpPr>
      <p:grpSpPr>
        <a:xfrm>
          <a:off x="0" y="0"/>
          <a:ext cx="0" cy="0"/>
          <a:chOff x="0" y="0"/>
          <a:chExt cx="0" cy="0"/>
        </a:xfrm>
      </p:grpSpPr>
      <p:grpSp>
        <p:nvGrpSpPr>
          <p:cNvPr id="18128" name="Google Shape;18128;p1580"/>
          <p:cNvGrpSpPr/>
          <p:nvPr/>
        </p:nvGrpSpPr>
        <p:grpSpPr>
          <a:xfrm>
            <a:off x="0" y="5020350"/>
            <a:ext cx="12191996" cy="1837651"/>
            <a:chOff x="0" y="5020348"/>
            <a:chExt cx="12191996" cy="1837651"/>
          </a:xfrm>
        </p:grpSpPr>
        <p:sp>
          <p:nvSpPr>
            <p:cNvPr id="18129" name="Google Shape;18129;p158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30" name="Google Shape;18130;p158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31" name="Google Shape;18131;p158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132" name="Google Shape;18132;p158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8133" name="Google Shape;18133;p1580"/>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34" name="Google Shape;18134;p158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2228852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matchingName="Photo Slide 14">
  <p:cSld name="Photo Slide 14">
    <p:spTree>
      <p:nvGrpSpPr>
        <p:cNvPr id="1" name="Shape 18135"/>
        <p:cNvGrpSpPr/>
        <p:nvPr/>
      </p:nvGrpSpPr>
      <p:grpSpPr>
        <a:xfrm>
          <a:off x="0" y="0"/>
          <a:ext cx="0" cy="0"/>
          <a:chOff x="0" y="0"/>
          <a:chExt cx="0" cy="0"/>
        </a:xfrm>
      </p:grpSpPr>
      <p:sp>
        <p:nvSpPr>
          <p:cNvPr id="18136" name="Google Shape;18136;p158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137" name="Google Shape;18137;p1581"/>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138" name="Google Shape;18138;p1581"/>
          <p:cNvGrpSpPr/>
          <p:nvPr/>
        </p:nvGrpSpPr>
        <p:grpSpPr>
          <a:xfrm>
            <a:off x="2" y="5379426"/>
            <a:ext cx="2807363" cy="753895"/>
            <a:chOff x="0" y="5379424"/>
            <a:chExt cx="2807363" cy="753895"/>
          </a:xfrm>
        </p:grpSpPr>
        <p:sp>
          <p:nvSpPr>
            <p:cNvPr id="18139" name="Google Shape;18139;p158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0" name="Google Shape;18140;p158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141" name="Google Shape;18141;p1581"/>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945085222"/>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matchingName="Quotation 19">
  <p:cSld name="Quotation 19">
    <p:spTree>
      <p:nvGrpSpPr>
        <p:cNvPr id="1" name="Shape 18142"/>
        <p:cNvGrpSpPr/>
        <p:nvPr/>
      </p:nvGrpSpPr>
      <p:grpSpPr>
        <a:xfrm>
          <a:off x="0" y="0"/>
          <a:ext cx="0" cy="0"/>
          <a:chOff x="0" y="0"/>
          <a:chExt cx="0" cy="0"/>
        </a:xfrm>
      </p:grpSpPr>
      <p:sp>
        <p:nvSpPr>
          <p:cNvPr id="18143" name="Google Shape;18143;p15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4" name="Google Shape;18144;p15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45" name="Google Shape;18145;p1582"/>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46" name="Google Shape;18146;p158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47" name="Google Shape;18147;p15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48" name="Google Shape;18148;p158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49" name="Google Shape;18149;p1582"/>
          <p:cNvGrpSpPr/>
          <p:nvPr/>
        </p:nvGrpSpPr>
        <p:grpSpPr>
          <a:xfrm>
            <a:off x="7191545" y="0"/>
            <a:ext cx="5000460" cy="1425988"/>
            <a:chOff x="7191545" y="0"/>
            <a:chExt cx="5000460" cy="1425988"/>
          </a:xfrm>
        </p:grpSpPr>
        <p:pic>
          <p:nvPicPr>
            <p:cNvPr id="18150" name="Google Shape;18150;p15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51" name="Google Shape;18151;p1582"/>
            <p:cNvGrpSpPr/>
            <p:nvPr/>
          </p:nvGrpSpPr>
          <p:grpSpPr>
            <a:xfrm>
              <a:off x="7191545" y="0"/>
              <a:ext cx="5000460" cy="1425988"/>
              <a:chOff x="7191545" y="0"/>
              <a:chExt cx="5000460" cy="1425988"/>
            </a:xfrm>
          </p:grpSpPr>
          <p:sp>
            <p:nvSpPr>
              <p:cNvPr id="18152" name="Google Shape;18152;p15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53" name="Google Shape;18153;p15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54" name="Google Shape;18154;p1582"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896121876"/>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matchingName="Quotation 20">
  <p:cSld name="Quotation 20">
    <p:spTree>
      <p:nvGrpSpPr>
        <p:cNvPr id="1" name="Shape 18155"/>
        <p:cNvGrpSpPr/>
        <p:nvPr/>
      </p:nvGrpSpPr>
      <p:grpSpPr>
        <a:xfrm>
          <a:off x="0" y="0"/>
          <a:ext cx="0" cy="0"/>
          <a:chOff x="0" y="0"/>
          <a:chExt cx="0" cy="0"/>
        </a:xfrm>
      </p:grpSpPr>
      <p:sp>
        <p:nvSpPr>
          <p:cNvPr id="18156" name="Google Shape;18156;p158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57" name="Google Shape;18157;p158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8" name="Google Shape;18158;p1583"/>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59" name="Google Shape;18159;p158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60" name="Google Shape;18160;p1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61" name="Google Shape;18161;p158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62" name="Google Shape;18162;p1583"/>
          <p:cNvGrpSpPr/>
          <p:nvPr/>
        </p:nvGrpSpPr>
        <p:grpSpPr>
          <a:xfrm>
            <a:off x="7191545" y="0"/>
            <a:ext cx="5000460" cy="1425988"/>
            <a:chOff x="7191545" y="0"/>
            <a:chExt cx="5000460" cy="1425988"/>
          </a:xfrm>
        </p:grpSpPr>
        <p:pic>
          <p:nvPicPr>
            <p:cNvPr id="18163" name="Google Shape;18163;p1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64" name="Google Shape;18164;p1583"/>
            <p:cNvGrpSpPr/>
            <p:nvPr/>
          </p:nvGrpSpPr>
          <p:grpSpPr>
            <a:xfrm>
              <a:off x="7191545" y="0"/>
              <a:ext cx="5000460" cy="1425988"/>
              <a:chOff x="7191545" y="0"/>
              <a:chExt cx="5000460" cy="1425988"/>
            </a:xfrm>
          </p:grpSpPr>
          <p:sp>
            <p:nvSpPr>
              <p:cNvPr id="18165" name="Google Shape;18165;p1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66" name="Google Shape;18166;p1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67" name="Google Shape;18167;p1583"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272628300"/>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matchingName="Title and Content 15">
  <p:cSld name="Title and Content 15">
    <p:spTree>
      <p:nvGrpSpPr>
        <p:cNvPr id="1" name="Shape 18168"/>
        <p:cNvGrpSpPr/>
        <p:nvPr/>
      </p:nvGrpSpPr>
      <p:grpSpPr>
        <a:xfrm>
          <a:off x="0" y="0"/>
          <a:ext cx="0" cy="0"/>
          <a:chOff x="0" y="0"/>
          <a:chExt cx="0" cy="0"/>
        </a:xfrm>
      </p:grpSpPr>
      <p:grpSp>
        <p:nvGrpSpPr>
          <p:cNvPr id="18169" name="Google Shape;18169;p1584"/>
          <p:cNvGrpSpPr/>
          <p:nvPr/>
        </p:nvGrpSpPr>
        <p:grpSpPr>
          <a:xfrm>
            <a:off x="7191545" y="0"/>
            <a:ext cx="5000460" cy="1425988"/>
            <a:chOff x="7191545" y="0"/>
            <a:chExt cx="5000460" cy="1425988"/>
          </a:xfrm>
        </p:grpSpPr>
        <p:pic>
          <p:nvPicPr>
            <p:cNvPr id="18170" name="Google Shape;18170;p15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71" name="Google Shape;18171;p1584"/>
            <p:cNvGrpSpPr/>
            <p:nvPr/>
          </p:nvGrpSpPr>
          <p:grpSpPr>
            <a:xfrm>
              <a:off x="7191545" y="0"/>
              <a:ext cx="5000460" cy="1425988"/>
              <a:chOff x="7191545" y="0"/>
              <a:chExt cx="5000460" cy="1425988"/>
            </a:xfrm>
          </p:grpSpPr>
          <p:sp>
            <p:nvSpPr>
              <p:cNvPr id="18172" name="Google Shape;18172;p15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73" name="Google Shape;18173;p15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74" name="Google Shape;18174;p158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75" name="Google Shape;18175;p158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76" name="Google Shape;18176;p158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77" name="Google Shape;18177;p15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78" name="Google Shape;18178;p158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21483130"/>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matchingName="Two Content 13">
  <p:cSld name="Two Content 13">
    <p:spTree>
      <p:nvGrpSpPr>
        <p:cNvPr id="1" name="Shape 18179"/>
        <p:cNvGrpSpPr/>
        <p:nvPr/>
      </p:nvGrpSpPr>
      <p:grpSpPr>
        <a:xfrm>
          <a:off x="0" y="0"/>
          <a:ext cx="0" cy="0"/>
          <a:chOff x="0" y="0"/>
          <a:chExt cx="0" cy="0"/>
        </a:xfrm>
      </p:grpSpPr>
      <p:sp>
        <p:nvSpPr>
          <p:cNvPr id="18180" name="Google Shape;18180;p158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81" name="Google Shape;18181;p1585"/>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182" name="Google Shape;18182;p1585"/>
          <p:cNvGrpSpPr/>
          <p:nvPr/>
        </p:nvGrpSpPr>
        <p:grpSpPr>
          <a:xfrm>
            <a:off x="7191545" y="0"/>
            <a:ext cx="5000460" cy="1425988"/>
            <a:chOff x="7191545" y="0"/>
            <a:chExt cx="5000460" cy="1425988"/>
          </a:xfrm>
        </p:grpSpPr>
        <p:pic>
          <p:nvPicPr>
            <p:cNvPr id="18183" name="Google Shape;18183;p15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84" name="Google Shape;18184;p1585"/>
            <p:cNvGrpSpPr/>
            <p:nvPr/>
          </p:nvGrpSpPr>
          <p:grpSpPr>
            <a:xfrm>
              <a:off x="7191545" y="0"/>
              <a:ext cx="5000460" cy="1425988"/>
              <a:chOff x="7191545" y="0"/>
              <a:chExt cx="5000460" cy="1425988"/>
            </a:xfrm>
          </p:grpSpPr>
          <p:sp>
            <p:nvSpPr>
              <p:cNvPr id="18185" name="Google Shape;18185;p15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86" name="Google Shape;18186;p15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87" name="Google Shape;18187;p1585"/>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88" name="Google Shape;18188;p1585"/>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89" name="Google Shape;18189;p15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90" name="Google Shape;18190;p158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3882456"/>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matchingName="Comparison 12">
  <p:cSld name="Comparison 12">
    <p:spTree>
      <p:nvGrpSpPr>
        <p:cNvPr id="1" name="Shape 18191"/>
        <p:cNvGrpSpPr/>
        <p:nvPr/>
      </p:nvGrpSpPr>
      <p:grpSpPr>
        <a:xfrm>
          <a:off x="0" y="0"/>
          <a:ext cx="0" cy="0"/>
          <a:chOff x="0" y="0"/>
          <a:chExt cx="0" cy="0"/>
        </a:xfrm>
      </p:grpSpPr>
      <p:grpSp>
        <p:nvGrpSpPr>
          <p:cNvPr id="18192" name="Google Shape;18192;p1586"/>
          <p:cNvGrpSpPr/>
          <p:nvPr/>
        </p:nvGrpSpPr>
        <p:grpSpPr>
          <a:xfrm>
            <a:off x="7191545" y="0"/>
            <a:ext cx="5000460" cy="1425988"/>
            <a:chOff x="7191545" y="0"/>
            <a:chExt cx="5000460" cy="1425988"/>
          </a:xfrm>
        </p:grpSpPr>
        <p:pic>
          <p:nvPicPr>
            <p:cNvPr id="18193" name="Google Shape;18193;p15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94" name="Google Shape;18194;p1586"/>
            <p:cNvGrpSpPr/>
            <p:nvPr/>
          </p:nvGrpSpPr>
          <p:grpSpPr>
            <a:xfrm>
              <a:off x="7191545" y="0"/>
              <a:ext cx="5000460" cy="1425988"/>
              <a:chOff x="7191545" y="0"/>
              <a:chExt cx="5000460" cy="1425988"/>
            </a:xfrm>
          </p:grpSpPr>
          <p:sp>
            <p:nvSpPr>
              <p:cNvPr id="18195" name="Google Shape;18195;p15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96" name="Google Shape;18196;p15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97" name="Google Shape;18197;p1586"/>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98" name="Google Shape;18198;p158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199" name="Google Shape;18199;p1586"/>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00" name="Google Shape;18200;p1586"/>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01" name="Google Shape;18201;p1586"/>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02" name="Google Shape;18202;p158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03" name="Google Shape;18203;p15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04" name="Google Shape;18204;p158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26716283"/>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matchingName="Title Only 12">
  <p:cSld name="Title Only 12">
    <p:spTree>
      <p:nvGrpSpPr>
        <p:cNvPr id="1" name="Shape 18205"/>
        <p:cNvGrpSpPr/>
        <p:nvPr/>
      </p:nvGrpSpPr>
      <p:grpSpPr>
        <a:xfrm>
          <a:off x="0" y="0"/>
          <a:ext cx="0" cy="0"/>
          <a:chOff x="0" y="0"/>
          <a:chExt cx="0" cy="0"/>
        </a:xfrm>
      </p:grpSpPr>
      <p:grpSp>
        <p:nvGrpSpPr>
          <p:cNvPr id="18206" name="Google Shape;18206;p1587"/>
          <p:cNvGrpSpPr/>
          <p:nvPr/>
        </p:nvGrpSpPr>
        <p:grpSpPr>
          <a:xfrm>
            <a:off x="7191545" y="0"/>
            <a:ext cx="5000460" cy="1425988"/>
            <a:chOff x="7191545" y="0"/>
            <a:chExt cx="5000460" cy="1425988"/>
          </a:xfrm>
        </p:grpSpPr>
        <p:pic>
          <p:nvPicPr>
            <p:cNvPr id="18207" name="Google Shape;18207;p15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08" name="Google Shape;18208;p1587"/>
            <p:cNvGrpSpPr/>
            <p:nvPr/>
          </p:nvGrpSpPr>
          <p:grpSpPr>
            <a:xfrm>
              <a:off x="7191545" y="0"/>
              <a:ext cx="5000460" cy="1425988"/>
              <a:chOff x="7191545" y="0"/>
              <a:chExt cx="5000460" cy="1425988"/>
            </a:xfrm>
          </p:grpSpPr>
          <p:sp>
            <p:nvSpPr>
              <p:cNvPr id="18209" name="Google Shape;18209;p15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10" name="Google Shape;18210;p15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11" name="Google Shape;18211;p1587"/>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12" name="Google Shape;18212;p158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13" name="Google Shape;18213;p15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14" name="Google Shape;18214;p158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36324905"/>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matchingName="End 13">
  <p:cSld name="End 13">
    <p:spTree>
      <p:nvGrpSpPr>
        <p:cNvPr id="1" name="Shape 18215"/>
        <p:cNvGrpSpPr/>
        <p:nvPr/>
      </p:nvGrpSpPr>
      <p:grpSpPr>
        <a:xfrm>
          <a:off x="0" y="0"/>
          <a:ext cx="0" cy="0"/>
          <a:chOff x="0" y="0"/>
          <a:chExt cx="0" cy="0"/>
        </a:xfrm>
      </p:grpSpPr>
      <p:grpSp>
        <p:nvGrpSpPr>
          <p:cNvPr id="18216" name="Google Shape;18216;p1588"/>
          <p:cNvGrpSpPr/>
          <p:nvPr/>
        </p:nvGrpSpPr>
        <p:grpSpPr>
          <a:xfrm>
            <a:off x="0" y="0"/>
            <a:ext cx="12191996" cy="2148830"/>
            <a:chOff x="0" y="0"/>
            <a:chExt cx="12191996" cy="2148830"/>
          </a:xfrm>
        </p:grpSpPr>
        <p:sp>
          <p:nvSpPr>
            <p:cNvPr id="18217" name="Google Shape;18217;p158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18" name="Google Shape;18218;p158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19" name="Google Shape;18219;p1588"/>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20" name="Google Shape;18220;p1588"/>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21" name="Google Shape;18221;p158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22" name="Google Shape;18222;p158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98607128"/>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matchingName="Blank 12">
  <p:cSld name="Blank 12">
    <p:spTree>
      <p:nvGrpSpPr>
        <p:cNvPr id="1" name="Shape 18223"/>
        <p:cNvGrpSpPr/>
        <p:nvPr/>
      </p:nvGrpSpPr>
      <p:grpSpPr>
        <a:xfrm>
          <a:off x="0" y="0"/>
          <a:ext cx="0" cy="0"/>
          <a:chOff x="0" y="0"/>
          <a:chExt cx="0" cy="0"/>
        </a:xfrm>
      </p:grpSpPr>
      <p:sp>
        <p:nvSpPr>
          <p:cNvPr id="18224" name="Google Shape;18224;p158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25" name="Google Shape;18225;p15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26" name="Google Shape;18226;p158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27" name="Google Shape;18227;p1589"/>
          <p:cNvGrpSpPr/>
          <p:nvPr/>
        </p:nvGrpSpPr>
        <p:grpSpPr>
          <a:xfrm>
            <a:off x="7191545" y="0"/>
            <a:ext cx="5000460" cy="1425988"/>
            <a:chOff x="7191545" y="0"/>
            <a:chExt cx="5000460" cy="1425988"/>
          </a:xfrm>
        </p:grpSpPr>
        <p:pic>
          <p:nvPicPr>
            <p:cNvPr id="18228" name="Google Shape;18228;p15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29" name="Google Shape;18229;p1589"/>
            <p:cNvGrpSpPr/>
            <p:nvPr/>
          </p:nvGrpSpPr>
          <p:grpSpPr>
            <a:xfrm>
              <a:off x="7191545" y="0"/>
              <a:ext cx="5000460" cy="1425988"/>
              <a:chOff x="7191545" y="0"/>
              <a:chExt cx="5000460" cy="1425988"/>
            </a:xfrm>
          </p:grpSpPr>
          <p:sp>
            <p:nvSpPr>
              <p:cNvPr id="18230" name="Google Shape;18230;p15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31" name="Google Shape;18231;p15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1487491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176"/>
        <p:cNvGrpSpPr/>
        <p:nvPr/>
      </p:nvGrpSpPr>
      <p:grpSpPr>
        <a:xfrm>
          <a:off x="0" y="0"/>
          <a:ext cx="0" cy="0"/>
          <a:chOff x="0" y="0"/>
          <a:chExt cx="0" cy="0"/>
        </a:xfrm>
      </p:grpSpPr>
      <p:cxnSp>
        <p:nvCxnSpPr>
          <p:cNvPr id="1177" name="Google Shape;1177;p123"/>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78" name="Google Shape;1178;p123"/>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 name="Google Shape;1179;p123"/>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0" name="Google Shape;1180;p123"/>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1" name="Google Shape;1181;p123"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matchingName="1_Quotation 18">
  <p:cSld name="1_Quotation 18">
    <p:spTree>
      <p:nvGrpSpPr>
        <p:cNvPr id="1" name="Shape 18232"/>
        <p:cNvGrpSpPr/>
        <p:nvPr/>
      </p:nvGrpSpPr>
      <p:grpSpPr>
        <a:xfrm>
          <a:off x="0" y="0"/>
          <a:ext cx="0" cy="0"/>
          <a:chOff x="0" y="0"/>
          <a:chExt cx="0" cy="0"/>
        </a:xfrm>
      </p:grpSpPr>
      <p:sp>
        <p:nvSpPr>
          <p:cNvPr id="18233" name="Google Shape;18233;p159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34" name="Google Shape;18234;p159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5" name="Google Shape;18235;p159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36" name="Google Shape;18236;p159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37" name="Google Shape;18237;p1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38" name="Google Shape;18238;p159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39" name="Google Shape;18239;p1590"/>
          <p:cNvGrpSpPr/>
          <p:nvPr/>
        </p:nvGrpSpPr>
        <p:grpSpPr>
          <a:xfrm>
            <a:off x="7191545" y="0"/>
            <a:ext cx="5000460" cy="1425988"/>
            <a:chOff x="7191545" y="0"/>
            <a:chExt cx="5000460" cy="1425988"/>
          </a:xfrm>
        </p:grpSpPr>
        <p:pic>
          <p:nvPicPr>
            <p:cNvPr id="18240" name="Google Shape;18240;p1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41" name="Google Shape;18241;p1590"/>
            <p:cNvGrpSpPr/>
            <p:nvPr/>
          </p:nvGrpSpPr>
          <p:grpSpPr>
            <a:xfrm>
              <a:off x="7191545" y="0"/>
              <a:ext cx="5000460" cy="1425988"/>
              <a:chOff x="7191545" y="0"/>
              <a:chExt cx="5000460" cy="1425988"/>
            </a:xfrm>
          </p:grpSpPr>
          <p:sp>
            <p:nvSpPr>
              <p:cNvPr id="18242" name="Google Shape;18242;p1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43" name="Google Shape;18243;p1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244" name="Google Shape;18244;p159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073327196"/>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matchingName="1_Two Content 12">
  <p:cSld name="1_Two Content 12">
    <p:spTree>
      <p:nvGrpSpPr>
        <p:cNvPr id="1" name="Shape 18245"/>
        <p:cNvGrpSpPr/>
        <p:nvPr/>
      </p:nvGrpSpPr>
      <p:grpSpPr>
        <a:xfrm>
          <a:off x="0" y="0"/>
          <a:ext cx="0" cy="0"/>
          <a:chOff x="0" y="0"/>
          <a:chExt cx="0" cy="0"/>
        </a:xfrm>
      </p:grpSpPr>
      <p:sp>
        <p:nvSpPr>
          <p:cNvPr id="18246" name="Google Shape;18246;p1591"/>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47" name="Google Shape;18247;p1591"/>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248" name="Google Shape;18248;p1591"/>
          <p:cNvGrpSpPr/>
          <p:nvPr/>
        </p:nvGrpSpPr>
        <p:grpSpPr>
          <a:xfrm>
            <a:off x="7191545" y="0"/>
            <a:ext cx="5000460" cy="1425988"/>
            <a:chOff x="7191545" y="0"/>
            <a:chExt cx="5000460" cy="1425988"/>
          </a:xfrm>
        </p:grpSpPr>
        <p:pic>
          <p:nvPicPr>
            <p:cNvPr id="18249" name="Google Shape;18249;p1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50" name="Google Shape;18250;p1591"/>
            <p:cNvGrpSpPr/>
            <p:nvPr/>
          </p:nvGrpSpPr>
          <p:grpSpPr>
            <a:xfrm>
              <a:off x="7191545" y="0"/>
              <a:ext cx="5000460" cy="1425988"/>
              <a:chOff x="7191545" y="0"/>
              <a:chExt cx="5000460" cy="1425988"/>
            </a:xfrm>
          </p:grpSpPr>
          <p:sp>
            <p:nvSpPr>
              <p:cNvPr id="18251" name="Google Shape;18251;p1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52" name="Google Shape;18252;p1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53" name="Google Shape;18253;p1591"/>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54" name="Google Shape;18254;p1591"/>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55" name="Google Shape;18255;p1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56" name="Google Shape;18256;p159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32458370"/>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matchingName="1_Comparison 11">
  <p:cSld name="1_Comparison 11">
    <p:spTree>
      <p:nvGrpSpPr>
        <p:cNvPr id="1" name="Shape 18257"/>
        <p:cNvGrpSpPr/>
        <p:nvPr/>
      </p:nvGrpSpPr>
      <p:grpSpPr>
        <a:xfrm>
          <a:off x="0" y="0"/>
          <a:ext cx="0" cy="0"/>
          <a:chOff x="0" y="0"/>
          <a:chExt cx="0" cy="0"/>
        </a:xfrm>
      </p:grpSpPr>
      <p:grpSp>
        <p:nvGrpSpPr>
          <p:cNvPr id="18258" name="Google Shape;18258;p1592"/>
          <p:cNvGrpSpPr/>
          <p:nvPr/>
        </p:nvGrpSpPr>
        <p:grpSpPr>
          <a:xfrm>
            <a:off x="7191545" y="0"/>
            <a:ext cx="5000460" cy="1425988"/>
            <a:chOff x="7191545" y="0"/>
            <a:chExt cx="5000460" cy="1425988"/>
          </a:xfrm>
        </p:grpSpPr>
        <p:pic>
          <p:nvPicPr>
            <p:cNvPr id="18259" name="Google Shape;18259;p1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60" name="Google Shape;18260;p1592"/>
            <p:cNvGrpSpPr/>
            <p:nvPr/>
          </p:nvGrpSpPr>
          <p:grpSpPr>
            <a:xfrm>
              <a:off x="7191545" y="0"/>
              <a:ext cx="5000460" cy="1425988"/>
              <a:chOff x="7191545" y="0"/>
              <a:chExt cx="5000460" cy="1425988"/>
            </a:xfrm>
          </p:grpSpPr>
          <p:sp>
            <p:nvSpPr>
              <p:cNvPr id="18261" name="Google Shape;18261;p1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62" name="Google Shape;18262;p1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63" name="Google Shape;18263;p159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64" name="Google Shape;18264;p159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5" name="Google Shape;18265;p1592"/>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6" name="Google Shape;18266;p1592"/>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7" name="Google Shape;18267;p1592"/>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68" name="Google Shape;18268;p159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69" name="Google Shape;18269;p1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70" name="Google Shape;18270;p159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54161661"/>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matchingName="1_Title Only 11">
  <p:cSld name="1_Title Only 11">
    <p:spTree>
      <p:nvGrpSpPr>
        <p:cNvPr id="1" name="Shape 18271"/>
        <p:cNvGrpSpPr/>
        <p:nvPr/>
      </p:nvGrpSpPr>
      <p:grpSpPr>
        <a:xfrm>
          <a:off x="0" y="0"/>
          <a:ext cx="0" cy="0"/>
          <a:chOff x="0" y="0"/>
          <a:chExt cx="0" cy="0"/>
        </a:xfrm>
      </p:grpSpPr>
      <p:grpSp>
        <p:nvGrpSpPr>
          <p:cNvPr id="18272" name="Google Shape;18272;p1593"/>
          <p:cNvGrpSpPr/>
          <p:nvPr/>
        </p:nvGrpSpPr>
        <p:grpSpPr>
          <a:xfrm>
            <a:off x="7191545" y="0"/>
            <a:ext cx="5000460" cy="1425988"/>
            <a:chOff x="7191545" y="0"/>
            <a:chExt cx="5000460" cy="1425988"/>
          </a:xfrm>
        </p:grpSpPr>
        <p:pic>
          <p:nvPicPr>
            <p:cNvPr id="18273" name="Google Shape;18273;p159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74" name="Google Shape;18274;p1593"/>
            <p:cNvGrpSpPr/>
            <p:nvPr/>
          </p:nvGrpSpPr>
          <p:grpSpPr>
            <a:xfrm>
              <a:off x="7191545" y="0"/>
              <a:ext cx="5000460" cy="1425988"/>
              <a:chOff x="7191545" y="0"/>
              <a:chExt cx="5000460" cy="1425988"/>
            </a:xfrm>
          </p:grpSpPr>
          <p:sp>
            <p:nvSpPr>
              <p:cNvPr id="18275" name="Google Shape;18275;p159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76" name="Google Shape;18276;p159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77" name="Google Shape;18277;p159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78" name="Google Shape;18278;p1593"/>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79" name="Google Shape;18279;p159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80" name="Google Shape;18280;p159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31076215"/>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matchingName="1_End 12">
  <p:cSld name="1_End 12">
    <p:spTree>
      <p:nvGrpSpPr>
        <p:cNvPr id="1" name="Shape 18281"/>
        <p:cNvGrpSpPr/>
        <p:nvPr/>
      </p:nvGrpSpPr>
      <p:grpSpPr>
        <a:xfrm>
          <a:off x="0" y="0"/>
          <a:ext cx="0" cy="0"/>
          <a:chOff x="0" y="0"/>
          <a:chExt cx="0" cy="0"/>
        </a:xfrm>
      </p:grpSpPr>
      <p:grpSp>
        <p:nvGrpSpPr>
          <p:cNvPr id="18282" name="Google Shape;18282;p1594"/>
          <p:cNvGrpSpPr/>
          <p:nvPr/>
        </p:nvGrpSpPr>
        <p:grpSpPr>
          <a:xfrm>
            <a:off x="0" y="0"/>
            <a:ext cx="12191996" cy="2148830"/>
            <a:chOff x="0" y="0"/>
            <a:chExt cx="12191996" cy="2148830"/>
          </a:xfrm>
        </p:grpSpPr>
        <p:sp>
          <p:nvSpPr>
            <p:cNvPr id="18283" name="Google Shape;18283;p159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84" name="Google Shape;18284;p159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85" name="Google Shape;18285;p1594"/>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86" name="Google Shape;18286;p1594"/>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287" name="Google Shape;18287;p159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88" name="Google Shape;18288;p159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912092086"/>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matchingName="1_Blank 11">
  <p:cSld name="1_Blank 11">
    <p:spTree>
      <p:nvGrpSpPr>
        <p:cNvPr id="1" name="Shape 18289"/>
        <p:cNvGrpSpPr/>
        <p:nvPr/>
      </p:nvGrpSpPr>
      <p:grpSpPr>
        <a:xfrm>
          <a:off x="0" y="0"/>
          <a:ext cx="0" cy="0"/>
          <a:chOff x="0" y="0"/>
          <a:chExt cx="0" cy="0"/>
        </a:xfrm>
      </p:grpSpPr>
      <p:sp>
        <p:nvSpPr>
          <p:cNvPr id="18290" name="Google Shape;18290;p159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91" name="Google Shape;18291;p159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92" name="Google Shape;18292;p159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93" name="Google Shape;18293;p1595"/>
          <p:cNvGrpSpPr/>
          <p:nvPr/>
        </p:nvGrpSpPr>
        <p:grpSpPr>
          <a:xfrm>
            <a:off x="7191545" y="0"/>
            <a:ext cx="5000460" cy="1425988"/>
            <a:chOff x="7191545" y="0"/>
            <a:chExt cx="5000460" cy="1425988"/>
          </a:xfrm>
        </p:grpSpPr>
        <p:pic>
          <p:nvPicPr>
            <p:cNvPr id="18294" name="Google Shape;18294;p159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95" name="Google Shape;18295;p1595"/>
            <p:cNvGrpSpPr/>
            <p:nvPr/>
          </p:nvGrpSpPr>
          <p:grpSpPr>
            <a:xfrm>
              <a:off x="7191545" y="0"/>
              <a:ext cx="5000460" cy="1425988"/>
              <a:chOff x="7191545" y="0"/>
              <a:chExt cx="5000460" cy="1425988"/>
            </a:xfrm>
          </p:grpSpPr>
          <p:sp>
            <p:nvSpPr>
              <p:cNvPr id="18296" name="Google Shape;18296;p159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97" name="Google Shape;18297;p159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899810899"/>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matchingName="7_Quotation 2">
  <p:cSld name="7_Quotation 2">
    <p:spTree>
      <p:nvGrpSpPr>
        <p:cNvPr id="1" name="Shape 18298"/>
        <p:cNvGrpSpPr/>
        <p:nvPr/>
      </p:nvGrpSpPr>
      <p:grpSpPr>
        <a:xfrm>
          <a:off x="0" y="0"/>
          <a:ext cx="0" cy="0"/>
          <a:chOff x="0" y="0"/>
          <a:chExt cx="0" cy="0"/>
        </a:xfrm>
      </p:grpSpPr>
      <p:sp>
        <p:nvSpPr>
          <p:cNvPr id="18299" name="Google Shape;18299;p159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00" name="Google Shape;18300;p159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01" name="Google Shape;18301;p1596"/>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02" name="Google Shape;18302;p1596"/>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03" name="Google Shape;18303;p159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04" name="Google Shape;18304;p1596"/>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05" name="Google Shape;18305;p1596"/>
          <p:cNvGrpSpPr/>
          <p:nvPr/>
        </p:nvGrpSpPr>
        <p:grpSpPr>
          <a:xfrm>
            <a:off x="7191545" y="0"/>
            <a:ext cx="5000460" cy="1425988"/>
            <a:chOff x="7191545" y="0"/>
            <a:chExt cx="5000460" cy="1425988"/>
          </a:xfrm>
        </p:grpSpPr>
        <p:pic>
          <p:nvPicPr>
            <p:cNvPr id="18306" name="Google Shape;18306;p159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07" name="Google Shape;18307;p1596"/>
            <p:cNvGrpSpPr/>
            <p:nvPr/>
          </p:nvGrpSpPr>
          <p:grpSpPr>
            <a:xfrm>
              <a:off x="7191545" y="0"/>
              <a:ext cx="5000460" cy="1425988"/>
              <a:chOff x="7191545" y="0"/>
              <a:chExt cx="5000460" cy="1425988"/>
            </a:xfrm>
          </p:grpSpPr>
          <p:sp>
            <p:nvSpPr>
              <p:cNvPr id="18308" name="Google Shape;18308;p159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09" name="Google Shape;18309;p159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10" name="Google Shape;18310;p1596"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964741637"/>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matchingName="1_Cover 14">
  <p:cSld name="1_Cover 14">
    <p:spTree>
      <p:nvGrpSpPr>
        <p:cNvPr id="1" name="Shape 18311"/>
        <p:cNvGrpSpPr/>
        <p:nvPr/>
      </p:nvGrpSpPr>
      <p:grpSpPr>
        <a:xfrm>
          <a:off x="0" y="0"/>
          <a:ext cx="0" cy="0"/>
          <a:chOff x="0" y="0"/>
          <a:chExt cx="0" cy="0"/>
        </a:xfrm>
      </p:grpSpPr>
      <p:sp>
        <p:nvSpPr>
          <p:cNvPr id="18312" name="Google Shape;18312;p1597"/>
          <p:cNvSpPr/>
          <p:nvPr/>
        </p:nvSpPr>
        <p:spPr>
          <a:xfrm>
            <a:off x="902366" y="129441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13" name="Google Shape;18313;p159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4" name="Google Shape;18314;p159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315" name="Google Shape;18315;p1597"/>
          <p:cNvGrpSpPr/>
          <p:nvPr/>
        </p:nvGrpSpPr>
        <p:grpSpPr>
          <a:xfrm>
            <a:off x="0" y="5020350"/>
            <a:ext cx="12191996" cy="1837651"/>
            <a:chOff x="0" y="5020348"/>
            <a:chExt cx="12191996" cy="1837651"/>
          </a:xfrm>
        </p:grpSpPr>
        <p:sp>
          <p:nvSpPr>
            <p:cNvPr id="18316" name="Google Shape;18316;p159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17" name="Google Shape;18317;p159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318" name="Google Shape;18318;p159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810997064"/>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matchingName="1_Divider 15">
  <p:cSld name="1_Divider 15">
    <p:spTree>
      <p:nvGrpSpPr>
        <p:cNvPr id="1" name="Shape 18319"/>
        <p:cNvGrpSpPr/>
        <p:nvPr/>
      </p:nvGrpSpPr>
      <p:grpSpPr>
        <a:xfrm>
          <a:off x="0" y="0"/>
          <a:ext cx="0" cy="0"/>
          <a:chOff x="0" y="0"/>
          <a:chExt cx="0" cy="0"/>
        </a:xfrm>
      </p:grpSpPr>
      <p:grpSp>
        <p:nvGrpSpPr>
          <p:cNvPr id="18320" name="Google Shape;18320;p1598"/>
          <p:cNvGrpSpPr/>
          <p:nvPr/>
        </p:nvGrpSpPr>
        <p:grpSpPr>
          <a:xfrm>
            <a:off x="0" y="5020350"/>
            <a:ext cx="12191996" cy="1837651"/>
            <a:chOff x="0" y="5020348"/>
            <a:chExt cx="12191996" cy="1837651"/>
          </a:xfrm>
        </p:grpSpPr>
        <p:sp>
          <p:nvSpPr>
            <p:cNvPr id="18321" name="Google Shape;18321;p159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22" name="Google Shape;18322;p159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23" name="Google Shape;18323;p159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18324" name="Google Shape;18324;p159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18325" name="Google Shape;18325;p1598"/>
          <p:cNvSpPr txBox="1">
            <a:spLocks noGrp="1"/>
          </p:cNvSpPr>
          <p:nvPr>
            <p:ph type="title"/>
          </p:nvPr>
        </p:nvSpPr>
        <p:spPr>
          <a:xfrm>
            <a:off x="1413305" y="701749"/>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26" name="Google Shape;18326;p159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5321388"/>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matchingName="1_Photo Slide 14">
  <p:cSld name="1_Photo Slide 14">
    <p:spTree>
      <p:nvGrpSpPr>
        <p:cNvPr id="1" name="Shape 18327"/>
        <p:cNvGrpSpPr/>
        <p:nvPr/>
      </p:nvGrpSpPr>
      <p:grpSpPr>
        <a:xfrm>
          <a:off x="0" y="0"/>
          <a:ext cx="0" cy="0"/>
          <a:chOff x="0" y="0"/>
          <a:chExt cx="0" cy="0"/>
        </a:xfrm>
      </p:grpSpPr>
      <p:sp>
        <p:nvSpPr>
          <p:cNvPr id="18328" name="Google Shape;18328;p159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329" name="Google Shape;18329;p1599"/>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330" name="Google Shape;18330;p1599"/>
          <p:cNvGrpSpPr/>
          <p:nvPr/>
        </p:nvGrpSpPr>
        <p:grpSpPr>
          <a:xfrm>
            <a:off x="2" y="5379426"/>
            <a:ext cx="2807363" cy="753895"/>
            <a:chOff x="0" y="5379424"/>
            <a:chExt cx="2807363" cy="753895"/>
          </a:xfrm>
        </p:grpSpPr>
        <p:sp>
          <p:nvSpPr>
            <p:cNvPr id="18331" name="Google Shape;18331;p159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2" name="Google Shape;18332;p159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333" name="Google Shape;18333;p1599"/>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30446386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2">
    <p:spTree>
      <p:nvGrpSpPr>
        <p:cNvPr id="1" name="Shape 1182"/>
        <p:cNvGrpSpPr/>
        <p:nvPr/>
      </p:nvGrpSpPr>
      <p:grpSpPr>
        <a:xfrm>
          <a:off x="0" y="0"/>
          <a:ext cx="0" cy="0"/>
          <a:chOff x="0" y="0"/>
          <a:chExt cx="0" cy="0"/>
        </a:xfrm>
      </p:grpSpPr>
      <p:cxnSp>
        <p:nvCxnSpPr>
          <p:cNvPr id="1183" name="Google Shape;1183;p124"/>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84" name="Google Shape;1184;p124"/>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24"/>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6" name="Google Shape;1186;p124"/>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7" name="Google Shape;1187;p124"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matchingName="1_Quotation 19">
  <p:cSld name="1_Quotation 19">
    <p:spTree>
      <p:nvGrpSpPr>
        <p:cNvPr id="1" name="Shape 18334"/>
        <p:cNvGrpSpPr/>
        <p:nvPr/>
      </p:nvGrpSpPr>
      <p:grpSpPr>
        <a:xfrm>
          <a:off x="0" y="0"/>
          <a:ext cx="0" cy="0"/>
          <a:chOff x="0" y="0"/>
          <a:chExt cx="0" cy="0"/>
        </a:xfrm>
      </p:grpSpPr>
      <p:sp>
        <p:nvSpPr>
          <p:cNvPr id="18335" name="Google Shape;18335;p16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6" name="Google Shape;18336;p16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37" name="Google Shape;18337;p160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38" name="Google Shape;18338;p160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39" name="Google Shape;18339;p16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40" name="Google Shape;18340;p160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41" name="Google Shape;18341;p1600"/>
          <p:cNvGrpSpPr/>
          <p:nvPr/>
        </p:nvGrpSpPr>
        <p:grpSpPr>
          <a:xfrm>
            <a:off x="7191545" y="0"/>
            <a:ext cx="5000460" cy="1425988"/>
            <a:chOff x="7191545" y="0"/>
            <a:chExt cx="5000460" cy="1425988"/>
          </a:xfrm>
        </p:grpSpPr>
        <p:pic>
          <p:nvPicPr>
            <p:cNvPr id="18342" name="Google Shape;18342;p16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43" name="Google Shape;18343;p1600"/>
            <p:cNvGrpSpPr/>
            <p:nvPr/>
          </p:nvGrpSpPr>
          <p:grpSpPr>
            <a:xfrm>
              <a:off x="7191545" y="0"/>
              <a:ext cx="5000460" cy="1425988"/>
              <a:chOff x="7191545" y="0"/>
              <a:chExt cx="5000460" cy="1425988"/>
            </a:xfrm>
          </p:grpSpPr>
          <p:sp>
            <p:nvSpPr>
              <p:cNvPr id="18344" name="Google Shape;18344;p16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45" name="Google Shape;18345;p16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46" name="Google Shape;18346;p160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246759509"/>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matchingName="1_Quotation 20">
  <p:cSld name="1_Quotation 20">
    <p:spTree>
      <p:nvGrpSpPr>
        <p:cNvPr id="1" name="Shape 18347"/>
        <p:cNvGrpSpPr/>
        <p:nvPr/>
      </p:nvGrpSpPr>
      <p:grpSpPr>
        <a:xfrm>
          <a:off x="0" y="0"/>
          <a:ext cx="0" cy="0"/>
          <a:chOff x="0" y="0"/>
          <a:chExt cx="0" cy="0"/>
        </a:xfrm>
      </p:grpSpPr>
      <p:sp>
        <p:nvSpPr>
          <p:cNvPr id="18348" name="Google Shape;18348;p160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49" name="Google Shape;18349;p16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50" name="Google Shape;18350;p1601"/>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51" name="Google Shape;18351;p1601"/>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52" name="Google Shape;18352;p16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53" name="Google Shape;18353;p1601"/>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54" name="Google Shape;18354;p1601"/>
          <p:cNvGrpSpPr/>
          <p:nvPr/>
        </p:nvGrpSpPr>
        <p:grpSpPr>
          <a:xfrm>
            <a:off x="7191545" y="0"/>
            <a:ext cx="5000460" cy="1425988"/>
            <a:chOff x="7191545" y="0"/>
            <a:chExt cx="5000460" cy="1425988"/>
          </a:xfrm>
        </p:grpSpPr>
        <p:pic>
          <p:nvPicPr>
            <p:cNvPr id="18355" name="Google Shape;18355;p16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56" name="Google Shape;18356;p1601"/>
            <p:cNvGrpSpPr/>
            <p:nvPr/>
          </p:nvGrpSpPr>
          <p:grpSpPr>
            <a:xfrm>
              <a:off x="7191545" y="0"/>
              <a:ext cx="5000460" cy="1425988"/>
              <a:chOff x="7191545" y="0"/>
              <a:chExt cx="5000460" cy="1425988"/>
            </a:xfrm>
          </p:grpSpPr>
          <p:sp>
            <p:nvSpPr>
              <p:cNvPr id="18357" name="Google Shape;18357;p16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58" name="Google Shape;18358;p16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59" name="Google Shape;18359;p1601"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1982901372"/>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matchingName="1_Title and Content 15">
  <p:cSld name="1_Title and Content 15">
    <p:spTree>
      <p:nvGrpSpPr>
        <p:cNvPr id="1" name="Shape 18360"/>
        <p:cNvGrpSpPr/>
        <p:nvPr/>
      </p:nvGrpSpPr>
      <p:grpSpPr>
        <a:xfrm>
          <a:off x="0" y="0"/>
          <a:ext cx="0" cy="0"/>
          <a:chOff x="0" y="0"/>
          <a:chExt cx="0" cy="0"/>
        </a:xfrm>
      </p:grpSpPr>
      <p:grpSp>
        <p:nvGrpSpPr>
          <p:cNvPr id="18361" name="Google Shape;18361;p1602"/>
          <p:cNvGrpSpPr/>
          <p:nvPr/>
        </p:nvGrpSpPr>
        <p:grpSpPr>
          <a:xfrm>
            <a:off x="7191545" y="0"/>
            <a:ext cx="5000460" cy="1425988"/>
            <a:chOff x="7191545" y="0"/>
            <a:chExt cx="5000460" cy="1425988"/>
          </a:xfrm>
        </p:grpSpPr>
        <p:pic>
          <p:nvPicPr>
            <p:cNvPr id="18362" name="Google Shape;18362;p16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63" name="Google Shape;18363;p1602"/>
            <p:cNvGrpSpPr/>
            <p:nvPr/>
          </p:nvGrpSpPr>
          <p:grpSpPr>
            <a:xfrm>
              <a:off x="7191545" y="0"/>
              <a:ext cx="5000460" cy="1425988"/>
              <a:chOff x="7191545" y="0"/>
              <a:chExt cx="5000460" cy="1425988"/>
            </a:xfrm>
          </p:grpSpPr>
          <p:sp>
            <p:nvSpPr>
              <p:cNvPr id="18364" name="Google Shape;18364;p16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65" name="Google Shape;18365;p16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66" name="Google Shape;18366;p160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67" name="Google Shape;18367;p160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68" name="Google Shape;18368;p160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69" name="Google Shape;18369;p16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70" name="Google Shape;18370;p160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24571519"/>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matchingName="1_Two Content 13">
  <p:cSld name="1_Two Content 13">
    <p:spTree>
      <p:nvGrpSpPr>
        <p:cNvPr id="1" name="Shape 18371"/>
        <p:cNvGrpSpPr/>
        <p:nvPr/>
      </p:nvGrpSpPr>
      <p:grpSpPr>
        <a:xfrm>
          <a:off x="0" y="0"/>
          <a:ext cx="0" cy="0"/>
          <a:chOff x="0" y="0"/>
          <a:chExt cx="0" cy="0"/>
        </a:xfrm>
      </p:grpSpPr>
      <p:sp>
        <p:nvSpPr>
          <p:cNvPr id="18372" name="Google Shape;18372;p1603"/>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73" name="Google Shape;18373;p1603"/>
          <p:cNvSpPr txBox="1">
            <a:spLocks noGrp="1"/>
          </p:cNvSpPr>
          <p:nvPr>
            <p:ph type="body" idx="1"/>
          </p:nvPr>
        </p:nvSpPr>
        <p:spPr>
          <a:xfrm>
            <a:off x="609605"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18374" name="Google Shape;18374;p1603"/>
          <p:cNvGrpSpPr/>
          <p:nvPr/>
        </p:nvGrpSpPr>
        <p:grpSpPr>
          <a:xfrm>
            <a:off x="7191545" y="0"/>
            <a:ext cx="5000460" cy="1425988"/>
            <a:chOff x="7191545" y="0"/>
            <a:chExt cx="5000460" cy="1425988"/>
          </a:xfrm>
        </p:grpSpPr>
        <p:pic>
          <p:nvPicPr>
            <p:cNvPr id="18375" name="Google Shape;18375;p16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76" name="Google Shape;18376;p1603"/>
            <p:cNvGrpSpPr/>
            <p:nvPr/>
          </p:nvGrpSpPr>
          <p:grpSpPr>
            <a:xfrm>
              <a:off x="7191545" y="0"/>
              <a:ext cx="5000460" cy="1425988"/>
              <a:chOff x="7191545" y="0"/>
              <a:chExt cx="5000460" cy="1425988"/>
            </a:xfrm>
          </p:grpSpPr>
          <p:sp>
            <p:nvSpPr>
              <p:cNvPr id="18377" name="Google Shape;18377;p16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78" name="Google Shape;18378;p16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79" name="Google Shape;18379;p1603"/>
          <p:cNvSpPr txBox="1">
            <a:spLocks noGrp="1"/>
          </p:cNvSpPr>
          <p:nvPr>
            <p:ph type="body" idx="2"/>
          </p:nvPr>
        </p:nvSpPr>
        <p:spPr>
          <a:xfrm>
            <a:off x="6172202"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80" name="Google Shape;18380;p1603"/>
          <p:cNvSpPr txBox="1">
            <a:spLocks noGrp="1"/>
          </p:cNvSpPr>
          <p:nvPr>
            <p:ph type="sldNum" idx="12"/>
          </p:nvPr>
        </p:nvSpPr>
        <p:spPr>
          <a:xfrm>
            <a:off x="883919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81" name="Google Shape;18381;p16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82" name="Google Shape;18382;p1603"/>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96400579"/>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matchingName="1_Comparison 12">
  <p:cSld name="1_Comparison 12">
    <p:spTree>
      <p:nvGrpSpPr>
        <p:cNvPr id="1" name="Shape 18383"/>
        <p:cNvGrpSpPr/>
        <p:nvPr/>
      </p:nvGrpSpPr>
      <p:grpSpPr>
        <a:xfrm>
          <a:off x="0" y="0"/>
          <a:ext cx="0" cy="0"/>
          <a:chOff x="0" y="0"/>
          <a:chExt cx="0" cy="0"/>
        </a:xfrm>
      </p:grpSpPr>
      <p:grpSp>
        <p:nvGrpSpPr>
          <p:cNvPr id="18384" name="Google Shape;18384;p1604"/>
          <p:cNvGrpSpPr/>
          <p:nvPr/>
        </p:nvGrpSpPr>
        <p:grpSpPr>
          <a:xfrm>
            <a:off x="7191545" y="0"/>
            <a:ext cx="5000460" cy="1425988"/>
            <a:chOff x="7191545" y="0"/>
            <a:chExt cx="5000460" cy="1425988"/>
          </a:xfrm>
        </p:grpSpPr>
        <p:pic>
          <p:nvPicPr>
            <p:cNvPr id="18385" name="Google Shape;18385;p16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86" name="Google Shape;18386;p1604"/>
            <p:cNvGrpSpPr/>
            <p:nvPr/>
          </p:nvGrpSpPr>
          <p:grpSpPr>
            <a:xfrm>
              <a:off x="7191545" y="0"/>
              <a:ext cx="5000460" cy="1425988"/>
              <a:chOff x="7191545" y="0"/>
              <a:chExt cx="5000460" cy="1425988"/>
            </a:xfrm>
          </p:grpSpPr>
          <p:sp>
            <p:nvSpPr>
              <p:cNvPr id="18387" name="Google Shape;18387;p16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88" name="Google Shape;18388;p16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89" name="Google Shape;18389;p1604"/>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90" name="Google Shape;18390;p1604"/>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1" name="Google Shape;18391;p1604"/>
          <p:cNvSpPr txBox="1">
            <a:spLocks noGrp="1"/>
          </p:cNvSpPr>
          <p:nvPr>
            <p:ph type="body" idx="2"/>
          </p:nvPr>
        </p:nvSpPr>
        <p:spPr>
          <a:xfrm>
            <a:off x="609604" y="2505073"/>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2" name="Google Shape;18392;p1604"/>
          <p:cNvSpPr txBox="1">
            <a:spLocks noGrp="1"/>
          </p:cNvSpPr>
          <p:nvPr>
            <p:ph type="body" idx="3"/>
          </p:nvPr>
        </p:nvSpPr>
        <p:spPr>
          <a:xfrm>
            <a:off x="6172202"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3" name="Google Shape;18393;p1604"/>
          <p:cNvSpPr txBox="1">
            <a:spLocks noGrp="1"/>
          </p:cNvSpPr>
          <p:nvPr>
            <p:ph type="body" idx="4"/>
          </p:nvPr>
        </p:nvSpPr>
        <p:spPr>
          <a:xfrm>
            <a:off x="6172202" y="2505073"/>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394" name="Google Shape;18394;p1604"/>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95" name="Google Shape;18395;p16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96" name="Google Shape;18396;p1604"/>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32213084"/>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matchingName="1_Title Only 12">
  <p:cSld name="1_Title Only 12">
    <p:spTree>
      <p:nvGrpSpPr>
        <p:cNvPr id="1" name="Shape 18397"/>
        <p:cNvGrpSpPr/>
        <p:nvPr/>
      </p:nvGrpSpPr>
      <p:grpSpPr>
        <a:xfrm>
          <a:off x="0" y="0"/>
          <a:ext cx="0" cy="0"/>
          <a:chOff x="0" y="0"/>
          <a:chExt cx="0" cy="0"/>
        </a:xfrm>
      </p:grpSpPr>
      <p:grpSp>
        <p:nvGrpSpPr>
          <p:cNvPr id="18398" name="Google Shape;18398;p1605"/>
          <p:cNvGrpSpPr/>
          <p:nvPr/>
        </p:nvGrpSpPr>
        <p:grpSpPr>
          <a:xfrm>
            <a:off x="7191545" y="0"/>
            <a:ext cx="5000460" cy="1425988"/>
            <a:chOff x="7191545" y="0"/>
            <a:chExt cx="5000460" cy="1425988"/>
          </a:xfrm>
        </p:grpSpPr>
        <p:pic>
          <p:nvPicPr>
            <p:cNvPr id="18399" name="Google Shape;18399;p16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00" name="Google Shape;18400;p1605"/>
            <p:cNvGrpSpPr/>
            <p:nvPr/>
          </p:nvGrpSpPr>
          <p:grpSpPr>
            <a:xfrm>
              <a:off x="7191545" y="0"/>
              <a:ext cx="5000460" cy="1425988"/>
              <a:chOff x="7191545" y="0"/>
              <a:chExt cx="5000460" cy="1425988"/>
            </a:xfrm>
          </p:grpSpPr>
          <p:sp>
            <p:nvSpPr>
              <p:cNvPr id="18401" name="Google Shape;18401;p16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02" name="Google Shape;18402;p16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403" name="Google Shape;18403;p1605"/>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04" name="Google Shape;18404;p1605"/>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05" name="Google Shape;18405;p16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06" name="Google Shape;18406;p1605"/>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64611265"/>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matchingName="1_End 13">
  <p:cSld name="1_End 13">
    <p:spTree>
      <p:nvGrpSpPr>
        <p:cNvPr id="1" name="Shape 18407"/>
        <p:cNvGrpSpPr/>
        <p:nvPr/>
      </p:nvGrpSpPr>
      <p:grpSpPr>
        <a:xfrm>
          <a:off x="0" y="0"/>
          <a:ext cx="0" cy="0"/>
          <a:chOff x="0" y="0"/>
          <a:chExt cx="0" cy="0"/>
        </a:xfrm>
      </p:grpSpPr>
      <p:grpSp>
        <p:nvGrpSpPr>
          <p:cNvPr id="18408" name="Google Shape;18408;p1606"/>
          <p:cNvGrpSpPr/>
          <p:nvPr/>
        </p:nvGrpSpPr>
        <p:grpSpPr>
          <a:xfrm>
            <a:off x="0" y="0"/>
            <a:ext cx="12191996" cy="2148830"/>
            <a:chOff x="0" y="0"/>
            <a:chExt cx="12191996" cy="2148830"/>
          </a:xfrm>
        </p:grpSpPr>
        <p:sp>
          <p:nvSpPr>
            <p:cNvPr id="18409" name="Google Shape;18409;p160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10" name="Google Shape;18410;p160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411" name="Google Shape;18411;p1606"/>
          <p:cNvSpPr/>
          <p:nvPr/>
        </p:nvSpPr>
        <p:spPr>
          <a:xfrm>
            <a:off x="902366" y="1517695"/>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12" name="Google Shape;18412;p1606"/>
          <p:cNvSpPr txBox="1">
            <a:spLocks noGrp="1"/>
          </p:cNvSpPr>
          <p:nvPr>
            <p:ph type="body" idx="1"/>
          </p:nvPr>
        </p:nvSpPr>
        <p:spPr>
          <a:xfrm>
            <a:off x="1219197" y="3429002"/>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13" name="Google Shape;18413;p160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414" name="Google Shape;18414;p160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73434323"/>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matchingName="1_Blank 12">
  <p:cSld name="1_Blank 12">
    <p:spTree>
      <p:nvGrpSpPr>
        <p:cNvPr id="1" name="Shape 18415"/>
        <p:cNvGrpSpPr/>
        <p:nvPr/>
      </p:nvGrpSpPr>
      <p:grpSpPr>
        <a:xfrm>
          <a:off x="0" y="0"/>
          <a:ext cx="0" cy="0"/>
          <a:chOff x="0" y="0"/>
          <a:chExt cx="0" cy="0"/>
        </a:xfrm>
      </p:grpSpPr>
      <p:sp>
        <p:nvSpPr>
          <p:cNvPr id="18416" name="Google Shape;18416;p1607"/>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17" name="Google Shape;18417;p160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18" name="Google Shape;18418;p1607"/>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19" name="Google Shape;18419;p1607"/>
          <p:cNvGrpSpPr/>
          <p:nvPr/>
        </p:nvGrpSpPr>
        <p:grpSpPr>
          <a:xfrm>
            <a:off x="7191545" y="0"/>
            <a:ext cx="5000460" cy="1425988"/>
            <a:chOff x="7191545" y="0"/>
            <a:chExt cx="5000460" cy="1425988"/>
          </a:xfrm>
        </p:grpSpPr>
        <p:pic>
          <p:nvPicPr>
            <p:cNvPr id="18420" name="Google Shape;18420;p160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21" name="Google Shape;18421;p1607"/>
            <p:cNvGrpSpPr/>
            <p:nvPr/>
          </p:nvGrpSpPr>
          <p:grpSpPr>
            <a:xfrm>
              <a:off x="7191545" y="0"/>
              <a:ext cx="5000460" cy="1425988"/>
              <a:chOff x="7191545" y="0"/>
              <a:chExt cx="5000460" cy="1425988"/>
            </a:xfrm>
          </p:grpSpPr>
          <p:sp>
            <p:nvSpPr>
              <p:cNvPr id="18422" name="Google Shape;18422;p160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23" name="Google Shape;18423;p160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959553882"/>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18424"/>
        <p:cNvGrpSpPr/>
        <p:nvPr/>
      </p:nvGrpSpPr>
      <p:grpSpPr>
        <a:xfrm>
          <a:off x="0" y="0"/>
          <a:ext cx="0" cy="0"/>
          <a:chOff x="0" y="0"/>
          <a:chExt cx="0" cy="0"/>
        </a:xfrm>
      </p:grpSpPr>
      <p:sp>
        <p:nvSpPr>
          <p:cNvPr id="18425" name="Google Shape;18425;p1608"/>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26" name="Google Shape;18426;p1608"/>
          <p:cNvSpPr/>
          <p:nvPr/>
        </p:nvSpPr>
        <p:spPr>
          <a:xfrm>
            <a:off x="2" y="5100854"/>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7" name="Google Shape;18427;p1608"/>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8428" name="Google Shape;18428;p1608"/>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9" name="Google Shape;18429;p1608"/>
          <p:cNvPicPr preferRelativeResize="0"/>
          <p:nvPr/>
        </p:nvPicPr>
        <p:blipFill rotWithShape="1">
          <a:blip r:embed="rId3">
            <a:alphaModFix/>
          </a:blip>
          <a:srcRect/>
          <a:stretch/>
        </p:blipFill>
        <p:spPr>
          <a:xfrm>
            <a:off x="313960" y="5564126"/>
            <a:ext cx="2025386" cy="911355"/>
          </a:xfrm>
          <a:prstGeom prst="rect">
            <a:avLst/>
          </a:prstGeom>
          <a:noFill/>
          <a:ln>
            <a:noFill/>
          </a:ln>
        </p:spPr>
      </p:pic>
      <p:sp>
        <p:nvSpPr>
          <p:cNvPr id="18430" name="Google Shape;18430;p1608"/>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31" name="Google Shape;18431;p1608"/>
          <p:cNvSpPr txBox="1">
            <a:spLocks noGrp="1"/>
          </p:cNvSpPr>
          <p:nvPr>
            <p:ph type="title"/>
          </p:nvPr>
        </p:nvSpPr>
        <p:spPr>
          <a:xfrm>
            <a:off x="471695" y="365446"/>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2" name="Google Shape;18432;p1608"/>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433" name="Google Shape;18433;p1608"/>
          <p:cNvSpPr txBox="1">
            <a:spLocks noGrp="1"/>
          </p:cNvSpPr>
          <p:nvPr>
            <p:ph type="ftr" idx="11"/>
          </p:nvPr>
        </p:nvSpPr>
        <p:spPr>
          <a:xfrm>
            <a:off x="609603" y="6356353"/>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4" name="Google Shape;18434;p160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8435" name="Google Shape;18435;p1608"/>
          <p:cNvSpPr txBox="1">
            <a:spLocks noGrp="1"/>
          </p:cNvSpPr>
          <p:nvPr>
            <p:ph type="sldNum" idx="12"/>
          </p:nvPr>
        </p:nvSpPr>
        <p:spPr>
          <a:xfrm>
            <a:off x="8839203" y="6356353"/>
            <a:ext cx="2743200" cy="365129"/>
          </a:xfrm>
          <a:prstGeom prst="rect">
            <a:avLst/>
          </a:prstGeom>
          <a:noFill/>
          <a:ln>
            <a:noFill/>
          </a:ln>
        </p:spPr>
        <p:txBody>
          <a:bodyPr spcFirstLastPara="1" wrap="square" lIns="0" tIns="0" rIns="0" bIns="0" anchor="ctr" anchorCtr="0">
            <a:noAutofit/>
          </a:bodyPr>
          <a:lstStyle>
            <a:lvl1pPr marL="38107"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7"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7"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7"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7"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7"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7"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7"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7"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06142438"/>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matchingName="2_Quotation 3">
  <p:cSld name="2_Quotation 3">
    <p:spTree>
      <p:nvGrpSpPr>
        <p:cNvPr id="1" name="Shape 18436"/>
        <p:cNvGrpSpPr/>
        <p:nvPr/>
      </p:nvGrpSpPr>
      <p:grpSpPr>
        <a:xfrm>
          <a:off x="0" y="0"/>
          <a:ext cx="0" cy="0"/>
          <a:chOff x="0" y="0"/>
          <a:chExt cx="0" cy="0"/>
        </a:xfrm>
      </p:grpSpPr>
      <p:sp>
        <p:nvSpPr>
          <p:cNvPr id="18437" name="Google Shape;18437;p160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38" name="Google Shape;18438;p16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9" name="Google Shape;18439;p1609"/>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40" name="Google Shape;18440;p1609"/>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41" name="Google Shape;18441;p16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42" name="Google Shape;18442;p1609"/>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43" name="Google Shape;18443;p1609"/>
          <p:cNvGrpSpPr/>
          <p:nvPr/>
        </p:nvGrpSpPr>
        <p:grpSpPr>
          <a:xfrm>
            <a:off x="7191545" y="0"/>
            <a:ext cx="5000460" cy="1425988"/>
            <a:chOff x="7191545" y="0"/>
            <a:chExt cx="5000460" cy="1425988"/>
          </a:xfrm>
        </p:grpSpPr>
        <p:pic>
          <p:nvPicPr>
            <p:cNvPr id="18444" name="Google Shape;18444;p16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45" name="Google Shape;18445;p1609"/>
            <p:cNvGrpSpPr/>
            <p:nvPr/>
          </p:nvGrpSpPr>
          <p:grpSpPr>
            <a:xfrm>
              <a:off x="7191545" y="0"/>
              <a:ext cx="5000460" cy="1425988"/>
              <a:chOff x="7191545" y="0"/>
              <a:chExt cx="5000460" cy="1425988"/>
            </a:xfrm>
          </p:grpSpPr>
          <p:sp>
            <p:nvSpPr>
              <p:cNvPr id="18446" name="Google Shape;18446;p16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47" name="Google Shape;18447;p16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48" name="Google Shape;18448;p1609"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40584499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88"/>
        <p:cNvGrpSpPr/>
        <p:nvPr/>
      </p:nvGrpSpPr>
      <p:grpSpPr>
        <a:xfrm>
          <a:off x="0" y="0"/>
          <a:ext cx="0" cy="0"/>
          <a:chOff x="0" y="0"/>
          <a:chExt cx="0" cy="0"/>
        </a:xfrm>
      </p:grpSpPr>
      <p:sp>
        <p:nvSpPr>
          <p:cNvPr id="1189" name="Google Shape;1189;p125"/>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190" name="Google Shape;1190;p125"/>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1191" name="Google Shape;1191;p125"/>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 name="Google Shape;1192;p125"/>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3" name="Google Shape;1193;p125"/>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matchingName="5_Quotation 3">
  <p:cSld name="5_Quotation 3">
    <p:spTree>
      <p:nvGrpSpPr>
        <p:cNvPr id="1" name="Shape 18449"/>
        <p:cNvGrpSpPr/>
        <p:nvPr/>
      </p:nvGrpSpPr>
      <p:grpSpPr>
        <a:xfrm>
          <a:off x="0" y="0"/>
          <a:ext cx="0" cy="0"/>
          <a:chOff x="0" y="0"/>
          <a:chExt cx="0" cy="0"/>
        </a:xfrm>
      </p:grpSpPr>
      <p:sp>
        <p:nvSpPr>
          <p:cNvPr id="18450" name="Google Shape;18450;p161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51" name="Google Shape;18451;p16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52" name="Google Shape;18452;p1610"/>
          <p:cNvSpPr txBox="1">
            <a:spLocks noGrp="1"/>
          </p:cNvSpPr>
          <p:nvPr>
            <p:ph type="body" idx="1"/>
          </p:nvPr>
        </p:nvSpPr>
        <p:spPr>
          <a:xfrm>
            <a:off x="1427360" y="5007457"/>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53" name="Google Shape;18453;p1610"/>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54" name="Google Shape;18454;p16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55" name="Google Shape;18455;p1610"/>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56" name="Google Shape;18456;p1610"/>
          <p:cNvGrpSpPr/>
          <p:nvPr/>
        </p:nvGrpSpPr>
        <p:grpSpPr>
          <a:xfrm>
            <a:off x="7191545" y="0"/>
            <a:ext cx="5000460" cy="1425988"/>
            <a:chOff x="7191545" y="0"/>
            <a:chExt cx="5000460" cy="1425988"/>
          </a:xfrm>
        </p:grpSpPr>
        <p:pic>
          <p:nvPicPr>
            <p:cNvPr id="18457" name="Google Shape;18457;p16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58" name="Google Shape;18458;p1610"/>
            <p:cNvGrpSpPr/>
            <p:nvPr/>
          </p:nvGrpSpPr>
          <p:grpSpPr>
            <a:xfrm>
              <a:off x="7191545" y="0"/>
              <a:ext cx="5000460" cy="1425988"/>
              <a:chOff x="7191545" y="0"/>
              <a:chExt cx="5000460" cy="1425988"/>
            </a:xfrm>
          </p:grpSpPr>
          <p:sp>
            <p:nvSpPr>
              <p:cNvPr id="18459" name="Google Shape;18459;p16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60" name="Google Shape;18460;p16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61" name="Google Shape;18461;p1610" descr="Open quotation mark with solid fill"/>
          <p:cNvPicPr preferRelativeResize="0"/>
          <p:nvPr/>
        </p:nvPicPr>
        <p:blipFill rotWithShape="1">
          <a:blip r:embed="rId3">
            <a:alphaModFix/>
          </a:blip>
          <a:srcRect/>
          <a:stretch/>
        </p:blipFill>
        <p:spPr>
          <a:xfrm>
            <a:off x="111513" y="136530"/>
            <a:ext cx="2036761" cy="2036761"/>
          </a:xfrm>
          <a:prstGeom prst="rect">
            <a:avLst/>
          </a:prstGeom>
          <a:noFill/>
          <a:ln>
            <a:noFill/>
          </a:ln>
        </p:spPr>
      </p:pic>
    </p:spTree>
    <p:extLst>
      <p:ext uri="{BB962C8B-B14F-4D97-AF65-F5344CB8AC3E}">
        <p14:creationId xmlns:p14="http://schemas.microsoft.com/office/powerpoint/2010/main" val="3810530550"/>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matchingName="SECTION_TITLE_AND_DESCRIPTION">
  <p:cSld name="SECTION_TITLE_AND_DESCRIPTION">
    <p:spTree>
      <p:nvGrpSpPr>
        <p:cNvPr id="1" name="Shape 18462"/>
        <p:cNvGrpSpPr/>
        <p:nvPr/>
      </p:nvGrpSpPr>
      <p:grpSpPr>
        <a:xfrm>
          <a:off x="0" y="0"/>
          <a:ext cx="0" cy="0"/>
          <a:chOff x="0" y="0"/>
          <a:chExt cx="0" cy="0"/>
        </a:xfrm>
      </p:grpSpPr>
      <p:sp>
        <p:nvSpPr>
          <p:cNvPr id="18463" name="Google Shape;18463;p1611"/>
          <p:cNvSpPr/>
          <p:nvPr/>
        </p:nvSpPr>
        <p:spPr>
          <a:xfrm flipH="1">
            <a:off x="-17263" y="2735665"/>
            <a:ext cx="12226780" cy="4153424"/>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rgbClr val="FFFFFF">
              <a:alpha val="40392"/>
            </a:srgbClr>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64" name="Google Shape;18464;p1611"/>
          <p:cNvSpPr txBox="1">
            <a:spLocks noGrp="1"/>
          </p:cNvSpPr>
          <p:nvPr>
            <p:ph type="title"/>
          </p:nvPr>
        </p:nvSpPr>
        <p:spPr>
          <a:xfrm>
            <a:off x="2540030" y="1086198"/>
            <a:ext cx="7112002" cy="1122398"/>
          </a:xfrm>
          <a:prstGeom prst="rect">
            <a:avLst/>
          </a:prstGeom>
          <a:noFill/>
          <a:ln>
            <a:noFill/>
          </a:ln>
        </p:spPr>
        <p:txBody>
          <a:bodyPr spcFirstLastPara="1" wrap="square" lIns="91400" tIns="91400" rIns="91400" bIns="91400" anchor="b" anchorCtr="1">
            <a:noAutofit/>
          </a:bodyPr>
          <a:lstStyle>
            <a:lvl1pPr lvl="0" algn="ctr">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65" name="Google Shape;18465;p1611"/>
          <p:cNvSpPr txBox="1">
            <a:spLocks noGrp="1"/>
          </p:cNvSpPr>
          <p:nvPr>
            <p:ph type="subTitle" idx="1"/>
          </p:nvPr>
        </p:nvSpPr>
        <p:spPr>
          <a:xfrm>
            <a:off x="2893866" y="2208598"/>
            <a:ext cx="6404402" cy="1786399"/>
          </a:xfrm>
          <a:prstGeom prst="rect">
            <a:avLst/>
          </a:prstGeom>
          <a:noFill/>
          <a:ln>
            <a:noFill/>
          </a:ln>
        </p:spPr>
        <p:txBody>
          <a:bodyPr spcFirstLastPara="1" wrap="square" lIns="91400" tIns="91400" rIns="91400" bIns="91400" anchor="t" anchorCtr="1">
            <a:noAutofit/>
          </a:bodyPr>
          <a:lstStyle>
            <a:lvl1pPr lvl="0" algn="ctr">
              <a:lnSpc>
                <a:spcPct val="100000"/>
              </a:lnSpc>
              <a:spcBef>
                <a:spcPts val="0"/>
              </a:spcBef>
              <a:spcAft>
                <a:spcPts val="0"/>
              </a:spcAft>
              <a:buSzPts val="2400"/>
              <a:buNone/>
              <a:defRPr sz="2133"/>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466" name="Google Shape;18466;p1611"/>
          <p:cNvSpPr/>
          <p:nvPr/>
        </p:nvSpPr>
        <p:spPr>
          <a:xfrm flipH="1">
            <a:off x="279687" y="2690402"/>
            <a:ext cx="273524" cy="273524"/>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rgbClr val="FFFFFF"/>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67" name="Google Shape;18467;p1611"/>
          <p:cNvSpPr/>
          <p:nvPr/>
        </p:nvSpPr>
        <p:spPr>
          <a:xfrm flipH="1">
            <a:off x="11819097" y="3465523"/>
            <a:ext cx="598739" cy="2244687"/>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rgbClr val="A3B74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nvGrpSpPr>
          <p:cNvPr id="18468" name="Google Shape;18468;p1611"/>
          <p:cNvGrpSpPr/>
          <p:nvPr/>
        </p:nvGrpSpPr>
        <p:grpSpPr>
          <a:xfrm>
            <a:off x="11305842" y="2311749"/>
            <a:ext cx="1166042" cy="1974756"/>
            <a:chOff x="11305842" y="2311749"/>
            <a:chExt cx="1166042" cy="1974756"/>
          </a:xfrm>
        </p:grpSpPr>
        <p:sp>
          <p:nvSpPr>
            <p:cNvPr id="18469" name="Google Shape;18469;p1611"/>
            <p:cNvSpPr/>
            <p:nvPr/>
          </p:nvSpPr>
          <p:spPr>
            <a:xfrm flipH="1">
              <a:off x="11594079" y="2311749"/>
              <a:ext cx="691533" cy="674123"/>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0" name="Google Shape;18470;p1611"/>
            <p:cNvSpPr/>
            <p:nvPr/>
          </p:nvSpPr>
          <p:spPr>
            <a:xfrm flipH="1">
              <a:off x="11713171" y="2660501"/>
              <a:ext cx="358106" cy="314901"/>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rgbClr val="6B95FD"/>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1" name="Google Shape;18471;p1611"/>
            <p:cNvSpPr/>
            <p:nvPr/>
          </p:nvSpPr>
          <p:spPr>
            <a:xfrm flipH="1">
              <a:off x="11305842" y="2781933"/>
              <a:ext cx="1166042" cy="150457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sp>
        <p:nvSpPr>
          <p:cNvPr id="18472" name="Google Shape;18472;p1611"/>
          <p:cNvSpPr/>
          <p:nvPr/>
        </p:nvSpPr>
        <p:spPr>
          <a:xfrm>
            <a:off x="9732903" y="713334"/>
            <a:ext cx="232851" cy="151223"/>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3" name="Google Shape;18473;p1611"/>
          <p:cNvSpPr/>
          <p:nvPr/>
        </p:nvSpPr>
        <p:spPr>
          <a:xfrm>
            <a:off x="4209514" y="48627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4" name="Google Shape;18474;p1611"/>
          <p:cNvSpPr/>
          <p:nvPr/>
        </p:nvSpPr>
        <p:spPr>
          <a:xfrm rot="2699990" flipH="1">
            <a:off x="864474" y="864550"/>
            <a:ext cx="163997" cy="256050"/>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5" name="Google Shape;18475;p1611"/>
          <p:cNvSpPr/>
          <p:nvPr/>
        </p:nvSpPr>
        <p:spPr>
          <a:xfrm>
            <a:off x="7362611" y="644440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6" name="Google Shape;18476;p1611"/>
          <p:cNvSpPr/>
          <p:nvPr/>
        </p:nvSpPr>
        <p:spPr>
          <a:xfrm flipH="1">
            <a:off x="4280253" y="6457602"/>
            <a:ext cx="124029" cy="151232"/>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nvGrpSpPr>
          <p:cNvPr id="18477" name="Google Shape;18477;p1611"/>
          <p:cNvGrpSpPr/>
          <p:nvPr/>
        </p:nvGrpSpPr>
        <p:grpSpPr>
          <a:xfrm>
            <a:off x="-291062" y="4128527"/>
            <a:ext cx="1732870" cy="3535929"/>
            <a:chOff x="-291062" y="4128525"/>
            <a:chExt cx="1732870" cy="3535929"/>
          </a:xfrm>
        </p:grpSpPr>
        <p:sp>
          <p:nvSpPr>
            <p:cNvPr id="18478" name="Google Shape;18478;p1611"/>
            <p:cNvSpPr/>
            <p:nvPr/>
          </p:nvSpPr>
          <p:spPr>
            <a:xfrm flipH="1">
              <a:off x="-291062" y="4128525"/>
              <a:ext cx="923928" cy="1046805"/>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18479" name="Google Shape;18479;p1611"/>
            <p:cNvSpPr/>
            <p:nvPr/>
          </p:nvSpPr>
          <p:spPr>
            <a:xfrm flipH="1">
              <a:off x="-140771" y="4831351"/>
              <a:ext cx="1582579" cy="2833103"/>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spTree>
    <p:extLst>
      <p:ext uri="{BB962C8B-B14F-4D97-AF65-F5344CB8AC3E}">
        <p14:creationId xmlns:p14="http://schemas.microsoft.com/office/powerpoint/2010/main" val="1860012125"/>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18480"/>
        <p:cNvGrpSpPr/>
        <p:nvPr/>
      </p:nvGrpSpPr>
      <p:grpSpPr>
        <a:xfrm>
          <a:off x="0" y="0"/>
          <a:ext cx="0" cy="0"/>
          <a:chOff x="0" y="0"/>
          <a:chExt cx="0" cy="0"/>
        </a:xfrm>
      </p:grpSpPr>
      <p:grpSp>
        <p:nvGrpSpPr>
          <p:cNvPr id="18481" name="Google Shape;18481;p1612"/>
          <p:cNvGrpSpPr/>
          <p:nvPr/>
        </p:nvGrpSpPr>
        <p:grpSpPr>
          <a:xfrm>
            <a:off x="7191545" y="0"/>
            <a:ext cx="5000460" cy="1425988"/>
            <a:chOff x="7191545" y="0"/>
            <a:chExt cx="5000460" cy="1425988"/>
          </a:xfrm>
        </p:grpSpPr>
        <p:pic>
          <p:nvPicPr>
            <p:cNvPr id="18482" name="Google Shape;18482;p1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83" name="Google Shape;18483;p1612"/>
            <p:cNvGrpSpPr/>
            <p:nvPr/>
          </p:nvGrpSpPr>
          <p:grpSpPr>
            <a:xfrm>
              <a:off x="7191545" y="0"/>
              <a:ext cx="5000460" cy="1425988"/>
              <a:chOff x="7191545" y="0"/>
              <a:chExt cx="5000460" cy="1425988"/>
            </a:xfrm>
          </p:grpSpPr>
          <p:sp>
            <p:nvSpPr>
              <p:cNvPr id="18484" name="Google Shape;18484;p1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85" name="Google Shape;18485;p1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486" name="Google Shape;18486;p1612"/>
          <p:cNvSpPr txBox="1">
            <a:spLocks noGrp="1"/>
          </p:cNvSpPr>
          <p:nvPr>
            <p:ph type="title"/>
          </p:nvPr>
        </p:nvSpPr>
        <p:spPr>
          <a:xfrm>
            <a:off x="609603" y="365131"/>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87" name="Google Shape;18487;p161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18488" name="Google Shape;18488;p1612"/>
          <p:cNvSpPr txBox="1">
            <a:spLocks noGrp="1"/>
          </p:cNvSpPr>
          <p:nvPr>
            <p:ph type="sldNum" idx="12"/>
          </p:nvPr>
        </p:nvSpPr>
        <p:spPr>
          <a:xfrm>
            <a:off x="8839203" y="6356353"/>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89" name="Google Shape;18489;p1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90" name="Google Shape;18490;p1612"/>
          <p:cNvSpPr txBox="1">
            <a:spLocks noGrp="1"/>
          </p:cNvSpPr>
          <p:nvPr>
            <p:ph type="ftr" idx="11"/>
          </p:nvPr>
        </p:nvSpPr>
        <p:spPr>
          <a:xfrm>
            <a:off x="609603" y="6356353"/>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35418796"/>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8491"/>
        <p:cNvGrpSpPr/>
        <p:nvPr/>
      </p:nvGrpSpPr>
      <p:grpSpPr>
        <a:xfrm>
          <a:off x="0" y="0"/>
          <a:ext cx="0" cy="0"/>
          <a:chOff x="0" y="0"/>
          <a:chExt cx="0" cy="0"/>
        </a:xfrm>
      </p:grpSpPr>
      <p:sp>
        <p:nvSpPr>
          <p:cNvPr id="18492" name="Google Shape;18492;p1613"/>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18493" name="Google Shape;18493;p1613"/>
          <p:cNvCxnSpPr/>
          <p:nvPr/>
        </p:nvCxnSpPr>
        <p:spPr>
          <a:xfrm>
            <a:off x="457202"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494" name="Google Shape;18494;p1613"/>
          <p:cNvGrpSpPr/>
          <p:nvPr/>
        </p:nvGrpSpPr>
        <p:grpSpPr>
          <a:xfrm>
            <a:off x="2" y="5379426"/>
            <a:ext cx="2807363" cy="753895"/>
            <a:chOff x="0" y="5379424"/>
            <a:chExt cx="2807363" cy="753895"/>
          </a:xfrm>
        </p:grpSpPr>
        <p:sp>
          <p:nvSpPr>
            <p:cNvPr id="18495" name="Google Shape;18495;p161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sp>
          <p:nvSpPr>
            <p:cNvPr id="18496" name="Google Shape;18496;p161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grpSp>
      <p:sp>
        <p:nvSpPr>
          <p:cNvPr id="18497" name="Google Shape;18497;p1613"/>
          <p:cNvSpPr>
            <a:spLocks noGrp="1"/>
          </p:cNvSpPr>
          <p:nvPr>
            <p:ph type="pic" idx="2"/>
          </p:nvPr>
        </p:nvSpPr>
        <p:spPr>
          <a:xfrm>
            <a:off x="2807363" y="457200"/>
            <a:ext cx="8915400" cy="5943600"/>
          </a:xfrm>
          <a:prstGeom prst="rect">
            <a:avLst/>
          </a:prstGeom>
          <a:noFill/>
          <a:ln>
            <a:noFill/>
          </a:ln>
        </p:spPr>
      </p:sp>
      <p:pic>
        <p:nvPicPr>
          <p:cNvPr id="18498" name="Google Shape;18498;p1613"/>
          <p:cNvPicPr preferRelativeResize="0"/>
          <p:nvPr/>
        </p:nvPicPr>
        <p:blipFill rotWithShape="1">
          <a:blip r:embed="rId2">
            <a:alphaModFix/>
          </a:blip>
          <a:srcRect/>
          <a:stretch/>
        </p:blipFill>
        <p:spPr>
          <a:xfrm>
            <a:off x="513346" y="4385535"/>
            <a:ext cx="2025313" cy="911940"/>
          </a:xfrm>
          <a:prstGeom prst="rect">
            <a:avLst/>
          </a:prstGeom>
          <a:noFill/>
          <a:ln>
            <a:noFill/>
          </a:ln>
        </p:spPr>
      </p:pic>
    </p:spTree>
    <p:extLst>
      <p:ext uri="{BB962C8B-B14F-4D97-AF65-F5344CB8AC3E}">
        <p14:creationId xmlns:p14="http://schemas.microsoft.com/office/powerpoint/2010/main" val="732471327"/>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matchingName="1_Photo Slide">
  <p:cSld name="2_Photo Slide">
    <p:spTree>
      <p:nvGrpSpPr>
        <p:cNvPr id="1" name="Shape 15706"/>
        <p:cNvGrpSpPr/>
        <p:nvPr/>
      </p:nvGrpSpPr>
      <p:grpSpPr>
        <a:xfrm>
          <a:off x="0" y="0"/>
          <a:ext cx="0" cy="0"/>
          <a:chOff x="0" y="0"/>
          <a:chExt cx="0" cy="0"/>
        </a:xfrm>
      </p:grpSpPr>
      <p:sp>
        <p:nvSpPr>
          <p:cNvPr id="15707" name="Google Shape;15707;p1334"/>
          <p:cNvSpPr txBox="1">
            <a:spLocks noGrp="1"/>
          </p:cNvSpPr>
          <p:nvPr>
            <p:ph type="body" idx="1"/>
          </p:nvPr>
        </p:nvSpPr>
        <p:spPr>
          <a:xfrm>
            <a:off x="457202" y="1146258"/>
            <a:ext cx="2350169" cy="2971798"/>
          </a:xfrm>
          <a:prstGeom prst="rect">
            <a:avLst/>
          </a:prstGeom>
          <a:noFill/>
          <a:ln>
            <a:noFill/>
          </a:ln>
        </p:spPr>
        <p:txBody>
          <a:bodyPr spcFirstLastPara="1" wrap="square" lIns="91425" tIns="45700" rIns="91425" bIns="45700" anchor="t" anchorCtr="0">
            <a:noAutofit/>
          </a:bodyPr>
          <a:lstStyle>
            <a:lvl1pPr marL="304831" lvl="0" indent="-152416" algn="l">
              <a:lnSpc>
                <a:spcPct val="100000"/>
              </a:lnSpc>
              <a:spcBef>
                <a:spcPts val="1000"/>
              </a:spcBef>
              <a:spcAft>
                <a:spcPts val="0"/>
              </a:spcAft>
              <a:buSzPts val="2400"/>
              <a:buNone/>
              <a:defRPr b="0">
                <a:solidFill>
                  <a:schemeClr val="dk1"/>
                </a:solidFill>
              </a:defRPr>
            </a:lvl1pPr>
            <a:lvl2pPr marL="609660" lvl="1" indent="-304831" algn="l">
              <a:lnSpc>
                <a:spcPct val="90000"/>
              </a:lnSpc>
              <a:spcBef>
                <a:spcPts val="500"/>
              </a:spcBef>
              <a:spcAft>
                <a:spcPts val="0"/>
              </a:spcAft>
              <a:buSzPts val="3600"/>
              <a:buChar char="•"/>
              <a:defRPr/>
            </a:lvl2pPr>
            <a:lvl3pPr marL="914492" lvl="2" indent="-279428" algn="l">
              <a:lnSpc>
                <a:spcPct val="90000"/>
              </a:lnSpc>
              <a:spcBef>
                <a:spcPts val="500"/>
              </a:spcBef>
              <a:spcAft>
                <a:spcPts val="0"/>
              </a:spcAft>
              <a:buSzPts val="3000"/>
              <a:buChar char="•"/>
              <a:defRPr/>
            </a:lvl3pPr>
            <a:lvl4pPr marL="1219322" lvl="3" indent="-266727" algn="l">
              <a:lnSpc>
                <a:spcPct val="90000"/>
              </a:lnSpc>
              <a:spcBef>
                <a:spcPts val="500"/>
              </a:spcBef>
              <a:spcAft>
                <a:spcPts val="0"/>
              </a:spcAft>
              <a:buSzPts val="2700"/>
              <a:buChar char="•"/>
              <a:defRPr/>
            </a:lvl4pPr>
            <a:lvl5pPr marL="1524152" lvl="4" indent="-266727" algn="l">
              <a:lnSpc>
                <a:spcPct val="90000"/>
              </a:lnSpc>
              <a:spcBef>
                <a:spcPts val="500"/>
              </a:spcBef>
              <a:spcAft>
                <a:spcPts val="0"/>
              </a:spcAft>
              <a:buSzPts val="2700"/>
              <a:buChar char="•"/>
              <a:defRPr/>
            </a:lvl5pPr>
            <a:lvl6pPr marL="1828983" lvl="5" indent="-266727" algn="l">
              <a:lnSpc>
                <a:spcPct val="90000"/>
              </a:lnSpc>
              <a:spcBef>
                <a:spcPts val="500"/>
              </a:spcBef>
              <a:spcAft>
                <a:spcPts val="0"/>
              </a:spcAft>
              <a:buSzPts val="2700"/>
              <a:buChar char="•"/>
              <a:defRPr/>
            </a:lvl6pPr>
            <a:lvl7pPr marL="2133814" lvl="6" indent="-266727" algn="l">
              <a:lnSpc>
                <a:spcPct val="90000"/>
              </a:lnSpc>
              <a:spcBef>
                <a:spcPts val="500"/>
              </a:spcBef>
              <a:spcAft>
                <a:spcPts val="0"/>
              </a:spcAft>
              <a:buSzPts val="2700"/>
              <a:buChar char="•"/>
              <a:defRPr/>
            </a:lvl7pPr>
            <a:lvl8pPr marL="2438644" lvl="7" indent="-266727" algn="l">
              <a:lnSpc>
                <a:spcPct val="90000"/>
              </a:lnSpc>
              <a:spcBef>
                <a:spcPts val="500"/>
              </a:spcBef>
              <a:spcAft>
                <a:spcPts val="0"/>
              </a:spcAft>
              <a:buSzPts val="2700"/>
              <a:buChar char="•"/>
              <a:defRPr/>
            </a:lvl8pPr>
            <a:lvl9pPr marL="2743475" lvl="8" indent="-266727" algn="l">
              <a:lnSpc>
                <a:spcPct val="90000"/>
              </a:lnSpc>
              <a:spcBef>
                <a:spcPts val="500"/>
              </a:spcBef>
              <a:spcAft>
                <a:spcPts val="0"/>
              </a:spcAft>
              <a:buSzPts val="2700"/>
              <a:buChar char="•"/>
              <a:defRPr/>
            </a:lvl9pPr>
          </a:lstStyle>
          <a:p>
            <a:endParaRPr/>
          </a:p>
        </p:txBody>
      </p:sp>
      <p:cxnSp>
        <p:nvCxnSpPr>
          <p:cNvPr id="15708" name="Google Shape;15708;p1334"/>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15709" name="Google Shape;15709;p1334"/>
          <p:cNvGrpSpPr/>
          <p:nvPr/>
        </p:nvGrpSpPr>
        <p:grpSpPr>
          <a:xfrm>
            <a:off x="0" y="5379429"/>
            <a:ext cx="2807368" cy="753891"/>
            <a:chOff x="0" y="5379426"/>
            <a:chExt cx="2807368" cy="753891"/>
          </a:xfrm>
        </p:grpSpPr>
        <p:sp>
          <p:nvSpPr>
            <p:cNvPr id="15710" name="Google Shape;15710;p13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7B7B7B"/>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100"/>
                <a:buFont typeface="Arial"/>
                <a:buNone/>
              </a:pPr>
              <a:endParaRPr sz="1400" b="0" i="0" u="none" strike="noStrike" cap="none">
                <a:solidFill>
                  <a:schemeClr val="lt1"/>
                </a:solidFill>
                <a:latin typeface="Arial"/>
                <a:ea typeface="Arial"/>
                <a:cs typeface="Arial"/>
                <a:sym typeface="Arial"/>
              </a:endParaRPr>
            </a:p>
          </p:txBody>
        </p:sp>
        <p:sp>
          <p:nvSpPr>
            <p:cNvPr id="15711" name="Google Shape;15711;p13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100"/>
                <a:buFont typeface="Arial"/>
                <a:buNone/>
              </a:pPr>
              <a:endParaRPr sz="1400" b="0" i="0" u="none" strike="noStrike" cap="none">
                <a:solidFill>
                  <a:schemeClr val="lt1"/>
                </a:solidFill>
                <a:latin typeface="Arial"/>
                <a:ea typeface="Arial"/>
                <a:cs typeface="Arial"/>
                <a:sym typeface="Arial"/>
              </a:endParaRPr>
            </a:p>
          </p:txBody>
        </p:sp>
      </p:grpSp>
      <p:sp>
        <p:nvSpPr>
          <p:cNvPr id="15712" name="Google Shape;15712;p1334"/>
          <p:cNvSpPr>
            <a:spLocks noGrp="1"/>
          </p:cNvSpPr>
          <p:nvPr>
            <p:ph type="pic" idx="2"/>
          </p:nvPr>
        </p:nvSpPr>
        <p:spPr>
          <a:xfrm>
            <a:off x="2807368" y="457202"/>
            <a:ext cx="8915400" cy="5943598"/>
          </a:xfrm>
          <a:prstGeom prst="rect">
            <a:avLst/>
          </a:prstGeom>
          <a:noFill/>
          <a:ln>
            <a:noFill/>
          </a:ln>
        </p:spPr>
      </p:sp>
      <p:pic>
        <p:nvPicPr>
          <p:cNvPr id="15713" name="Google Shape;15713;p13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1" y="4385538"/>
            <a:ext cx="2025315" cy="911940"/>
          </a:xfrm>
          <a:prstGeom prst="rect">
            <a:avLst/>
          </a:prstGeom>
          <a:noFill/>
          <a:ln>
            <a:noFill/>
          </a:ln>
        </p:spPr>
      </p:pic>
    </p:spTree>
    <p:extLst>
      <p:ext uri="{BB962C8B-B14F-4D97-AF65-F5344CB8AC3E}">
        <p14:creationId xmlns:p14="http://schemas.microsoft.com/office/powerpoint/2010/main" val="4264016809"/>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matchingName="Title and Content 2">
  <p:cSld name="2_Title and Content 2">
    <p:spTree>
      <p:nvGrpSpPr>
        <p:cNvPr id="1" name="Shape 15714"/>
        <p:cNvGrpSpPr/>
        <p:nvPr/>
      </p:nvGrpSpPr>
      <p:grpSpPr>
        <a:xfrm>
          <a:off x="0" y="0"/>
          <a:ext cx="0" cy="0"/>
          <a:chOff x="0" y="0"/>
          <a:chExt cx="0" cy="0"/>
        </a:xfrm>
      </p:grpSpPr>
      <p:grpSp>
        <p:nvGrpSpPr>
          <p:cNvPr id="15715" name="Google Shape;15715;p1335"/>
          <p:cNvGrpSpPr/>
          <p:nvPr/>
        </p:nvGrpSpPr>
        <p:grpSpPr>
          <a:xfrm>
            <a:off x="7191545" y="0"/>
            <a:ext cx="5000460" cy="1425988"/>
            <a:chOff x="7191545" y="0"/>
            <a:chExt cx="5000460" cy="1425988"/>
          </a:xfrm>
        </p:grpSpPr>
        <p:pic>
          <p:nvPicPr>
            <p:cNvPr id="15716" name="Google Shape;15716;p13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17" name="Google Shape;15717;p1335"/>
            <p:cNvGrpSpPr/>
            <p:nvPr/>
          </p:nvGrpSpPr>
          <p:grpSpPr>
            <a:xfrm>
              <a:off x="7191545" y="0"/>
              <a:ext cx="5000460" cy="1425988"/>
              <a:chOff x="7191545" y="0"/>
              <a:chExt cx="5000460" cy="1425988"/>
            </a:xfrm>
          </p:grpSpPr>
          <p:sp>
            <p:nvSpPr>
              <p:cNvPr id="15718" name="Google Shape;15718;p13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19" name="Google Shape;15719;p13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20" name="Google Shape;15720;p1335"/>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1" name="Google Shape;15721;p1335"/>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722" name="Google Shape;15722;p133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23" name="Google Shape;15723;p13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24" name="Google Shape;15724;p133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24375087"/>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matchingName="1_OBJECT">
  <p:cSld name="2_OBJECT">
    <p:spTree>
      <p:nvGrpSpPr>
        <p:cNvPr id="1" name="Shape 15725"/>
        <p:cNvGrpSpPr/>
        <p:nvPr/>
      </p:nvGrpSpPr>
      <p:grpSpPr>
        <a:xfrm>
          <a:off x="0" y="0"/>
          <a:ext cx="0" cy="0"/>
          <a:chOff x="0" y="0"/>
          <a:chExt cx="0" cy="0"/>
        </a:xfrm>
      </p:grpSpPr>
      <p:grpSp>
        <p:nvGrpSpPr>
          <p:cNvPr id="15726" name="Google Shape;15726;p1336"/>
          <p:cNvGrpSpPr/>
          <p:nvPr/>
        </p:nvGrpSpPr>
        <p:grpSpPr>
          <a:xfrm>
            <a:off x="7191545" y="0"/>
            <a:ext cx="5000460" cy="1425988"/>
            <a:chOff x="7191545" y="0"/>
            <a:chExt cx="5000460" cy="1425988"/>
          </a:xfrm>
        </p:grpSpPr>
        <p:pic>
          <p:nvPicPr>
            <p:cNvPr id="15727" name="Google Shape;15727;p13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28" name="Google Shape;15728;p1336"/>
            <p:cNvGrpSpPr/>
            <p:nvPr/>
          </p:nvGrpSpPr>
          <p:grpSpPr>
            <a:xfrm>
              <a:off x="7191545" y="0"/>
              <a:ext cx="5000460" cy="1425988"/>
              <a:chOff x="7191545" y="0"/>
              <a:chExt cx="5000460" cy="1425988"/>
            </a:xfrm>
          </p:grpSpPr>
          <p:sp>
            <p:nvSpPr>
              <p:cNvPr id="15729" name="Google Shape;15729;p13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30" name="Google Shape;15730;p13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31" name="Google Shape;15731;p1336"/>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32" name="Google Shape;15732;p133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733" name="Google Shape;15733;p133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34" name="Google Shape;15734;p13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35" name="Google Shape;15735;p133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89391754"/>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matchingName="TWO_OBJECTS" type="twoObj">
  <p:cSld name="1_TWO_OBJECTS">
    <p:spTree>
      <p:nvGrpSpPr>
        <p:cNvPr id="1" name="Shape 15744"/>
        <p:cNvGrpSpPr/>
        <p:nvPr/>
      </p:nvGrpSpPr>
      <p:grpSpPr>
        <a:xfrm>
          <a:off x="0" y="0"/>
          <a:ext cx="0" cy="0"/>
          <a:chOff x="0" y="0"/>
          <a:chExt cx="0" cy="0"/>
        </a:xfrm>
      </p:grpSpPr>
      <p:sp>
        <p:nvSpPr>
          <p:cNvPr id="15745" name="Google Shape;15745;p1338"/>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46" name="Google Shape;15746;p1338"/>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5747" name="Google Shape;15747;p1338"/>
          <p:cNvGrpSpPr/>
          <p:nvPr/>
        </p:nvGrpSpPr>
        <p:grpSpPr>
          <a:xfrm>
            <a:off x="7191545" y="0"/>
            <a:ext cx="5000460" cy="1425988"/>
            <a:chOff x="7191545" y="0"/>
            <a:chExt cx="5000460" cy="1425988"/>
          </a:xfrm>
        </p:grpSpPr>
        <p:pic>
          <p:nvPicPr>
            <p:cNvPr id="15748" name="Google Shape;15748;p13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49" name="Google Shape;15749;p1338"/>
            <p:cNvGrpSpPr/>
            <p:nvPr/>
          </p:nvGrpSpPr>
          <p:grpSpPr>
            <a:xfrm>
              <a:off x="7191545" y="0"/>
              <a:ext cx="5000460" cy="1425988"/>
              <a:chOff x="7191545" y="0"/>
              <a:chExt cx="5000460" cy="1425988"/>
            </a:xfrm>
          </p:grpSpPr>
          <p:sp>
            <p:nvSpPr>
              <p:cNvPr id="15750" name="Google Shape;15750;p13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51" name="Google Shape;15751;p13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52" name="Google Shape;15752;p1338"/>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753" name="Google Shape;15753;p1338"/>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54" name="Google Shape;15754;p13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55" name="Google Shape;15755;p133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04319608"/>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756"/>
        <p:cNvGrpSpPr/>
        <p:nvPr/>
      </p:nvGrpSpPr>
      <p:grpSpPr>
        <a:xfrm>
          <a:off x="0" y="0"/>
          <a:ext cx="0" cy="0"/>
          <a:chOff x="0" y="0"/>
          <a:chExt cx="0" cy="0"/>
        </a:xfrm>
      </p:grpSpPr>
      <p:sp>
        <p:nvSpPr>
          <p:cNvPr id="15757" name="Google Shape;15757;p133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58" name="Google Shape;15758;p1339"/>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5759" name="Google Shape;15759;p1339"/>
          <p:cNvGrpSpPr/>
          <p:nvPr/>
        </p:nvGrpSpPr>
        <p:grpSpPr>
          <a:xfrm>
            <a:off x="7191545" y="0"/>
            <a:ext cx="5000460" cy="1425988"/>
            <a:chOff x="7191545" y="0"/>
            <a:chExt cx="5000460" cy="1425988"/>
          </a:xfrm>
        </p:grpSpPr>
        <p:pic>
          <p:nvPicPr>
            <p:cNvPr id="15760" name="Google Shape;15760;p13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61" name="Google Shape;15761;p1339"/>
            <p:cNvGrpSpPr/>
            <p:nvPr/>
          </p:nvGrpSpPr>
          <p:grpSpPr>
            <a:xfrm>
              <a:off x="7191545" y="0"/>
              <a:ext cx="5000460" cy="1425988"/>
              <a:chOff x="7191545" y="0"/>
              <a:chExt cx="5000460" cy="1425988"/>
            </a:xfrm>
          </p:grpSpPr>
          <p:sp>
            <p:nvSpPr>
              <p:cNvPr id="15762" name="Google Shape;15762;p13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63" name="Google Shape;15763;p13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64" name="Google Shape;15764;p1339"/>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765" name="Google Shape;15765;p1339"/>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66" name="Google Shape;15766;p13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67" name="Google Shape;15767;p133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46357071"/>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matchingName="Title and Content 3">
  <p:cSld name="2_Title and Content 3">
    <p:spTree>
      <p:nvGrpSpPr>
        <p:cNvPr id="1" name="Shape 15768"/>
        <p:cNvGrpSpPr/>
        <p:nvPr/>
      </p:nvGrpSpPr>
      <p:grpSpPr>
        <a:xfrm>
          <a:off x="0" y="0"/>
          <a:ext cx="0" cy="0"/>
          <a:chOff x="0" y="0"/>
          <a:chExt cx="0" cy="0"/>
        </a:xfrm>
      </p:grpSpPr>
      <p:grpSp>
        <p:nvGrpSpPr>
          <p:cNvPr id="15769" name="Google Shape;15769;p1340"/>
          <p:cNvGrpSpPr/>
          <p:nvPr/>
        </p:nvGrpSpPr>
        <p:grpSpPr>
          <a:xfrm>
            <a:off x="7191545" y="0"/>
            <a:ext cx="5000460" cy="1425988"/>
            <a:chOff x="7191545" y="0"/>
            <a:chExt cx="5000460" cy="1425988"/>
          </a:xfrm>
        </p:grpSpPr>
        <p:pic>
          <p:nvPicPr>
            <p:cNvPr id="15770" name="Google Shape;15770;p13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71" name="Google Shape;15771;p1340"/>
            <p:cNvGrpSpPr/>
            <p:nvPr/>
          </p:nvGrpSpPr>
          <p:grpSpPr>
            <a:xfrm>
              <a:off x="7191545" y="0"/>
              <a:ext cx="5000460" cy="1425988"/>
              <a:chOff x="7191545" y="0"/>
              <a:chExt cx="5000460" cy="1425988"/>
            </a:xfrm>
          </p:grpSpPr>
          <p:sp>
            <p:nvSpPr>
              <p:cNvPr id="15772" name="Google Shape;15772;p13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73" name="Google Shape;15773;p13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74" name="Google Shape;15774;p134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75" name="Google Shape;15775;p134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776" name="Google Shape;15776;p134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77" name="Google Shape;15777;p13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78" name="Google Shape;15778;p134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120957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194"/>
        <p:cNvGrpSpPr/>
        <p:nvPr/>
      </p:nvGrpSpPr>
      <p:grpSpPr>
        <a:xfrm>
          <a:off x="0" y="0"/>
          <a:ext cx="0" cy="0"/>
          <a:chOff x="0" y="0"/>
          <a:chExt cx="0" cy="0"/>
        </a:xfrm>
      </p:grpSpPr>
      <p:sp>
        <p:nvSpPr>
          <p:cNvPr id="1195" name="Google Shape;1195;p126"/>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196" name="Google Shape;1196;p126"/>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7" name="Google Shape;1197;p126"/>
          <p:cNvSpPr>
            <a:spLocks noGrp="1"/>
          </p:cNvSpPr>
          <p:nvPr>
            <p:ph type="pic" idx="3"/>
          </p:nvPr>
        </p:nvSpPr>
        <p:spPr>
          <a:xfrm>
            <a:off x="6325200" y="1828800"/>
            <a:ext cx="5410800" cy="4388400"/>
          </a:xfrm>
          <a:prstGeom prst="rect">
            <a:avLst/>
          </a:prstGeom>
          <a:noFill/>
          <a:ln>
            <a:noFill/>
          </a:ln>
        </p:spPr>
      </p:sp>
      <p:sp>
        <p:nvSpPr>
          <p:cNvPr id="1198" name="Google Shape;1198;p126"/>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99" name="Google Shape;1199;p126"/>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0" name="Google Shape;1200;p126"/>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1" name="Google Shape;1201;p126"/>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matchingName="Photo Slide">
  <p:cSld name="2_Photo Slide">
    <p:spTree>
      <p:nvGrpSpPr>
        <p:cNvPr id="1" name="Shape 15779"/>
        <p:cNvGrpSpPr/>
        <p:nvPr/>
      </p:nvGrpSpPr>
      <p:grpSpPr>
        <a:xfrm>
          <a:off x="0" y="0"/>
          <a:ext cx="0" cy="0"/>
          <a:chOff x="0" y="0"/>
          <a:chExt cx="0" cy="0"/>
        </a:xfrm>
      </p:grpSpPr>
      <p:sp>
        <p:nvSpPr>
          <p:cNvPr id="15780" name="Google Shape;15780;p134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5781" name="Google Shape;15781;p1341"/>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782" name="Google Shape;15782;p1341"/>
          <p:cNvGrpSpPr/>
          <p:nvPr/>
        </p:nvGrpSpPr>
        <p:grpSpPr>
          <a:xfrm>
            <a:off x="3" y="5379427"/>
            <a:ext cx="2807363" cy="753895"/>
            <a:chOff x="0" y="5379424"/>
            <a:chExt cx="2807363" cy="753895"/>
          </a:xfrm>
        </p:grpSpPr>
        <p:sp>
          <p:nvSpPr>
            <p:cNvPr id="15783" name="Google Shape;15783;p134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784" name="Google Shape;15784;p134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785" name="Google Shape;15785;p1341"/>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694851622"/>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matchingName="Title and Content 5">
  <p:cSld name="4_Title and Content 5">
    <p:spTree>
      <p:nvGrpSpPr>
        <p:cNvPr id="1" name="Shape 15786"/>
        <p:cNvGrpSpPr/>
        <p:nvPr/>
      </p:nvGrpSpPr>
      <p:grpSpPr>
        <a:xfrm>
          <a:off x="0" y="0"/>
          <a:ext cx="0" cy="0"/>
          <a:chOff x="0" y="0"/>
          <a:chExt cx="0" cy="0"/>
        </a:xfrm>
      </p:grpSpPr>
      <p:grpSp>
        <p:nvGrpSpPr>
          <p:cNvPr id="15787" name="Google Shape;15787;p1342"/>
          <p:cNvGrpSpPr/>
          <p:nvPr/>
        </p:nvGrpSpPr>
        <p:grpSpPr>
          <a:xfrm>
            <a:off x="7191545" y="0"/>
            <a:ext cx="5000460" cy="1425988"/>
            <a:chOff x="7191545" y="0"/>
            <a:chExt cx="5000460" cy="1425988"/>
          </a:xfrm>
        </p:grpSpPr>
        <p:pic>
          <p:nvPicPr>
            <p:cNvPr id="15788" name="Google Shape;15788;p13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89" name="Google Shape;15789;p1342"/>
            <p:cNvGrpSpPr/>
            <p:nvPr/>
          </p:nvGrpSpPr>
          <p:grpSpPr>
            <a:xfrm>
              <a:off x="7191545" y="0"/>
              <a:ext cx="5000460" cy="1425988"/>
              <a:chOff x="7191545" y="0"/>
              <a:chExt cx="5000460" cy="1425988"/>
            </a:xfrm>
          </p:grpSpPr>
          <p:sp>
            <p:nvSpPr>
              <p:cNvPr id="15790" name="Google Shape;15790;p13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91" name="Google Shape;15791;p13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92" name="Google Shape;15792;p134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93" name="Google Shape;15793;p134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794" name="Google Shape;15794;p134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95" name="Google Shape;15795;p13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96" name="Google Shape;15796;p134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92150617"/>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matchingName="Title and Content 7">
  <p:cSld name="2_Title and Content 7">
    <p:spTree>
      <p:nvGrpSpPr>
        <p:cNvPr id="1" name="Shape 15805"/>
        <p:cNvGrpSpPr/>
        <p:nvPr/>
      </p:nvGrpSpPr>
      <p:grpSpPr>
        <a:xfrm>
          <a:off x="0" y="0"/>
          <a:ext cx="0" cy="0"/>
          <a:chOff x="0" y="0"/>
          <a:chExt cx="0" cy="0"/>
        </a:xfrm>
      </p:grpSpPr>
      <p:grpSp>
        <p:nvGrpSpPr>
          <p:cNvPr id="15806" name="Google Shape;15806;p1344"/>
          <p:cNvGrpSpPr/>
          <p:nvPr/>
        </p:nvGrpSpPr>
        <p:grpSpPr>
          <a:xfrm>
            <a:off x="7191545" y="0"/>
            <a:ext cx="5000460" cy="1425988"/>
            <a:chOff x="7191545" y="0"/>
            <a:chExt cx="5000460" cy="1425988"/>
          </a:xfrm>
        </p:grpSpPr>
        <p:pic>
          <p:nvPicPr>
            <p:cNvPr id="15807" name="Google Shape;15807;p13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08" name="Google Shape;15808;p1344"/>
            <p:cNvGrpSpPr/>
            <p:nvPr/>
          </p:nvGrpSpPr>
          <p:grpSpPr>
            <a:xfrm>
              <a:off x="7191545" y="0"/>
              <a:ext cx="5000460" cy="1425988"/>
              <a:chOff x="7191545" y="0"/>
              <a:chExt cx="5000460" cy="1425988"/>
            </a:xfrm>
          </p:grpSpPr>
          <p:sp>
            <p:nvSpPr>
              <p:cNvPr id="15809" name="Google Shape;15809;p13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10" name="Google Shape;15810;p13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11" name="Google Shape;15811;p1344"/>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2" name="Google Shape;15812;p134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13" name="Google Shape;15813;p134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14" name="Google Shape;15814;p13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15" name="Google Shape;15815;p134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20855735"/>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matchingName="Photo Slide 2">
  <p:cSld name="2_Photo Slide 2">
    <p:spTree>
      <p:nvGrpSpPr>
        <p:cNvPr id="1" name="Shape 15832"/>
        <p:cNvGrpSpPr/>
        <p:nvPr/>
      </p:nvGrpSpPr>
      <p:grpSpPr>
        <a:xfrm>
          <a:off x="0" y="0"/>
          <a:ext cx="0" cy="0"/>
          <a:chOff x="0" y="0"/>
          <a:chExt cx="0" cy="0"/>
        </a:xfrm>
      </p:grpSpPr>
      <p:sp>
        <p:nvSpPr>
          <p:cNvPr id="15833" name="Google Shape;15833;p134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5834" name="Google Shape;15834;p1347"/>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835" name="Google Shape;15835;p1347"/>
          <p:cNvGrpSpPr/>
          <p:nvPr/>
        </p:nvGrpSpPr>
        <p:grpSpPr>
          <a:xfrm>
            <a:off x="3" y="5379427"/>
            <a:ext cx="2807363" cy="753895"/>
            <a:chOff x="0" y="5379424"/>
            <a:chExt cx="2807363" cy="753895"/>
          </a:xfrm>
        </p:grpSpPr>
        <p:sp>
          <p:nvSpPr>
            <p:cNvPr id="15836" name="Google Shape;15836;p134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37" name="Google Shape;15837;p134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838" name="Google Shape;15838;p1347"/>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2864944519"/>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matchingName="Quotation">
  <p:cSld name="8_Quotation">
    <p:spTree>
      <p:nvGrpSpPr>
        <p:cNvPr id="1" name="Shape 15839"/>
        <p:cNvGrpSpPr/>
        <p:nvPr/>
      </p:nvGrpSpPr>
      <p:grpSpPr>
        <a:xfrm>
          <a:off x="0" y="0"/>
          <a:ext cx="0" cy="0"/>
          <a:chOff x="0" y="0"/>
          <a:chExt cx="0" cy="0"/>
        </a:xfrm>
      </p:grpSpPr>
      <p:sp>
        <p:nvSpPr>
          <p:cNvPr id="15840" name="Google Shape;15840;p13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41" name="Google Shape;15841;p13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42" name="Google Shape;15842;p134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43" name="Google Shape;15843;p134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44" name="Google Shape;15844;p13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45" name="Google Shape;15845;p134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46" name="Google Shape;15846;p1348"/>
          <p:cNvGrpSpPr/>
          <p:nvPr/>
        </p:nvGrpSpPr>
        <p:grpSpPr>
          <a:xfrm>
            <a:off x="7191545" y="0"/>
            <a:ext cx="5000460" cy="1425988"/>
            <a:chOff x="7191545" y="0"/>
            <a:chExt cx="5000460" cy="1425988"/>
          </a:xfrm>
        </p:grpSpPr>
        <p:pic>
          <p:nvPicPr>
            <p:cNvPr id="15847" name="Google Shape;15847;p13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48" name="Google Shape;15848;p1348"/>
            <p:cNvGrpSpPr/>
            <p:nvPr/>
          </p:nvGrpSpPr>
          <p:grpSpPr>
            <a:xfrm>
              <a:off x="7191545" y="0"/>
              <a:ext cx="5000460" cy="1425988"/>
              <a:chOff x="7191545" y="0"/>
              <a:chExt cx="5000460" cy="1425988"/>
            </a:xfrm>
          </p:grpSpPr>
          <p:sp>
            <p:nvSpPr>
              <p:cNvPr id="15849" name="Google Shape;15849;p13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50" name="Google Shape;15850;p13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851" name="Google Shape;15851;p134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910198093"/>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matchingName="Title and Content 8">
  <p:cSld name="2_Title and Content 8">
    <p:spTree>
      <p:nvGrpSpPr>
        <p:cNvPr id="1" name="Shape 15852"/>
        <p:cNvGrpSpPr/>
        <p:nvPr/>
      </p:nvGrpSpPr>
      <p:grpSpPr>
        <a:xfrm>
          <a:off x="0" y="0"/>
          <a:ext cx="0" cy="0"/>
          <a:chOff x="0" y="0"/>
          <a:chExt cx="0" cy="0"/>
        </a:xfrm>
      </p:grpSpPr>
      <p:grpSp>
        <p:nvGrpSpPr>
          <p:cNvPr id="15853" name="Google Shape;15853;p1349"/>
          <p:cNvGrpSpPr/>
          <p:nvPr/>
        </p:nvGrpSpPr>
        <p:grpSpPr>
          <a:xfrm>
            <a:off x="7191545" y="0"/>
            <a:ext cx="5000460" cy="1425988"/>
            <a:chOff x="7191545" y="0"/>
            <a:chExt cx="5000460" cy="1425988"/>
          </a:xfrm>
        </p:grpSpPr>
        <p:pic>
          <p:nvPicPr>
            <p:cNvPr id="15854" name="Google Shape;15854;p13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55" name="Google Shape;15855;p1349"/>
            <p:cNvGrpSpPr/>
            <p:nvPr/>
          </p:nvGrpSpPr>
          <p:grpSpPr>
            <a:xfrm>
              <a:off x="7191545" y="0"/>
              <a:ext cx="5000460" cy="1425988"/>
              <a:chOff x="7191545" y="0"/>
              <a:chExt cx="5000460" cy="1425988"/>
            </a:xfrm>
          </p:grpSpPr>
          <p:sp>
            <p:nvSpPr>
              <p:cNvPr id="15856" name="Google Shape;15856;p13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57" name="Google Shape;15857;p13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58" name="Google Shape;15858;p134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9" name="Google Shape;15859;p134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60" name="Google Shape;15860;p134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61" name="Google Shape;15861;p13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62" name="Google Shape;15862;p134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75269049"/>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matchingName="Two Content 2">
  <p:cSld name="2_Two Content 2">
    <p:spTree>
      <p:nvGrpSpPr>
        <p:cNvPr id="1" name="Shape 15863"/>
        <p:cNvGrpSpPr/>
        <p:nvPr/>
      </p:nvGrpSpPr>
      <p:grpSpPr>
        <a:xfrm>
          <a:off x="0" y="0"/>
          <a:ext cx="0" cy="0"/>
          <a:chOff x="0" y="0"/>
          <a:chExt cx="0" cy="0"/>
        </a:xfrm>
      </p:grpSpPr>
      <p:sp>
        <p:nvSpPr>
          <p:cNvPr id="15864" name="Google Shape;15864;p135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65" name="Google Shape;15865;p1350"/>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5866" name="Google Shape;15866;p1350"/>
          <p:cNvGrpSpPr/>
          <p:nvPr/>
        </p:nvGrpSpPr>
        <p:grpSpPr>
          <a:xfrm>
            <a:off x="7191545" y="0"/>
            <a:ext cx="5000460" cy="1425988"/>
            <a:chOff x="7191545" y="0"/>
            <a:chExt cx="5000460" cy="1425988"/>
          </a:xfrm>
        </p:grpSpPr>
        <p:pic>
          <p:nvPicPr>
            <p:cNvPr id="15867" name="Google Shape;15867;p13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68" name="Google Shape;15868;p1350"/>
            <p:cNvGrpSpPr/>
            <p:nvPr/>
          </p:nvGrpSpPr>
          <p:grpSpPr>
            <a:xfrm>
              <a:off x="7191545" y="0"/>
              <a:ext cx="5000460" cy="1425988"/>
              <a:chOff x="7191545" y="0"/>
              <a:chExt cx="5000460" cy="1425988"/>
            </a:xfrm>
          </p:grpSpPr>
          <p:sp>
            <p:nvSpPr>
              <p:cNvPr id="15869" name="Google Shape;15869;p13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70" name="Google Shape;15870;p13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71" name="Google Shape;15871;p1350"/>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72" name="Google Shape;15872;p1350"/>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73" name="Google Shape;15873;p13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74" name="Google Shape;15874;p135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94377066"/>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matchingName="TWO_OBJECTS_WITH_TEXT" type="twoTxTwoObj">
  <p:cSld name="2_TWO_OBJECTS_WITH_TEXT">
    <p:spTree>
      <p:nvGrpSpPr>
        <p:cNvPr id="1" name="Shape 15875"/>
        <p:cNvGrpSpPr/>
        <p:nvPr/>
      </p:nvGrpSpPr>
      <p:grpSpPr>
        <a:xfrm>
          <a:off x="0" y="0"/>
          <a:ext cx="0" cy="0"/>
          <a:chOff x="0" y="0"/>
          <a:chExt cx="0" cy="0"/>
        </a:xfrm>
      </p:grpSpPr>
      <p:grpSp>
        <p:nvGrpSpPr>
          <p:cNvPr id="15876" name="Google Shape;15876;p1351"/>
          <p:cNvGrpSpPr/>
          <p:nvPr/>
        </p:nvGrpSpPr>
        <p:grpSpPr>
          <a:xfrm>
            <a:off x="7191545" y="0"/>
            <a:ext cx="5000460" cy="1425988"/>
            <a:chOff x="7191545" y="0"/>
            <a:chExt cx="5000460" cy="1425988"/>
          </a:xfrm>
        </p:grpSpPr>
        <p:pic>
          <p:nvPicPr>
            <p:cNvPr id="15877" name="Google Shape;15877;p13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78" name="Google Shape;15878;p1351"/>
            <p:cNvGrpSpPr/>
            <p:nvPr/>
          </p:nvGrpSpPr>
          <p:grpSpPr>
            <a:xfrm>
              <a:off x="7191545" y="0"/>
              <a:ext cx="5000460" cy="1425988"/>
              <a:chOff x="7191545" y="0"/>
              <a:chExt cx="5000460" cy="1425988"/>
            </a:xfrm>
          </p:grpSpPr>
          <p:sp>
            <p:nvSpPr>
              <p:cNvPr id="15879" name="Google Shape;15879;p13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80" name="Google Shape;15880;p13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81" name="Google Shape;15881;p135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82" name="Google Shape;15882;p135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83" name="Google Shape;15883;p1351"/>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84" name="Google Shape;15884;p1351"/>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85" name="Google Shape;15885;p1351"/>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86" name="Google Shape;15886;p135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87" name="Google Shape;15887;p13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88" name="Google Shape;15888;p135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2492812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matchingName="End">
  <p:cSld name="2_End">
    <p:spTree>
      <p:nvGrpSpPr>
        <p:cNvPr id="1" name="Shape 15889"/>
        <p:cNvGrpSpPr/>
        <p:nvPr/>
      </p:nvGrpSpPr>
      <p:grpSpPr>
        <a:xfrm>
          <a:off x="0" y="0"/>
          <a:ext cx="0" cy="0"/>
          <a:chOff x="0" y="0"/>
          <a:chExt cx="0" cy="0"/>
        </a:xfrm>
      </p:grpSpPr>
      <p:grpSp>
        <p:nvGrpSpPr>
          <p:cNvPr id="15890" name="Google Shape;15890;p1352"/>
          <p:cNvGrpSpPr/>
          <p:nvPr/>
        </p:nvGrpSpPr>
        <p:grpSpPr>
          <a:xfrm>
            <a:off x="0" y="0"/>
            <a:ext cx="12191996" cy="2148830"/>
            <a:chOff x="0" y="0"/>
            <a:chExt cx="12191996" cy="2148830"/>
          </a:xfrm>
        </p:grpSpPr>
        <p:sp>
          <p:nvSpPr>
            <p:cNvPr id="15891" name="Google Shape;15891;p135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92" name="Google Shape;15892;p135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893" name="Google Shape;15893;p1352"/>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94" name="Google Shape;15894;p1352"/>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895" name="Google Shape;15895;p135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896" name="Google Shape;15896;p135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44289381"/>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matchingName="Quotation 2">
  <p:cSld name="8_Quotation 2">
    <p:spTree>
      <p:nvGrpSpPr>
        <p:cNvPr id="1" name="Shape 15897"/>
        <p:cNvGrpSpPr/>
        <p:nvPr/>
      </p:nvGrpSpPr>
      <p:grpSpPr>
        <a:xfrm>
          <a:off x="0" y="0"/>
          <a:ext cx="0" cy="0"/>
          <a:chOff x="0" y="0"/>
          <a:chExt cx="0" cy="0"/>
        </a:xfrm>
      </p:grpSpPr>
      <p:sp>
        <p:nvSpPr>
          <p:cNvPr id="15898" name="Google Shape;15898;p13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99" name="Google Shape;15899;p13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00" name="Google Shape;15900;p1353"/>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01" name="Google Shape;15901;p135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02" name="Google Shape;15902;p13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03" name="Google Shape;15903;p135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904" name="Google Shape;15904;p1353"/>
          <p:cNvGrpSpPr/>
          <p:nvPr/>
        </p:nvGrpSpPr>
        <p:grpSpPr>
          <a:xfrm>
            <a:off x="7191545" y="0"/>
            <a:ext cx="5000460" cy="1425988"/>
            <a:chOff x="7191545" y="0"/>
            <a:chExt cx="5000460" cy="1425988"/>
          </a:xfrm>
        </p:grpSpPr>
        <p:pic>
          <p:nvPicPr>
            <p:cNvPr id="15905" name="Google Shape;15905;p13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06" name="Google Shape;15906;p1353"/>
            <p:cNvGrpSpPr/>
            <p:nvPr/>
          </p:nvGrpSpPr>
          <p:grpSpPr>
            <a:xfrm>
              <a:off x="7191545" y="0"/>
              <a:ext cx="5000460" cy="1425988"/>
              <a:chOff x="7191545" y="0"/>
              <a:chExt cx="5000460" cy="1425988"/>
            </a:xfrm>
          </p:grpSpPr>
          <p:sp>
            <p:nvSpPr>
              <p:cNvPr id="15907" name="Google Shape;15907;p13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08" name="Google Shape;15908;p13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909" name="Google Shape;15909;p1353"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4340810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202"/>
        <p:cNvGrpSpPr/>
        <p:nvPr/>
      </p:nvGrpSpPr>
      <p:grpSpPr>
        <a:xfrm>
          <a:off x="0" y="0"/>
          <a:ext cx="0" cy="0"/>
          <a:chOff x="0" y="0"/>
          <a:chExt cx="0" cy="0"/>
        </a:xfrm>
      </p:grpSpPr>
      <p:pic>
        <p:nvPicPr>
          <p:cNvPr id="1203" name="Google Shape;1203;p127"/>
          <p:cNvPicPr preferRelativeResize="0"/>
          <p:nvPr/>
        </p:nvPicPr>
        <p:blipFill rotWithShape="1">
          <a:blip r:embed="rId2">
            <a:alphaModFix/>
          </a:blip>
          <a:srcRect/>
          <a:stretch/>
        </p:blipFill>
        <p:spPr>
          <a:xfrm>
            <a:off x="0" y="5295900"/>
            <a:ext cx="12192000" cy="1562099"/>
          </a:xfrm>
          <a:prstGeom prst="rect">
            <a:avLst/>
          </a:prstGeom>
          <a:noFill/>
          <a:ln>
            <a:noFill/>
          </a:ln>
        </p:spPr>
      </p:pic>
      <p:sp>
        <p:nvSpPr>
          <p:cNvPr id="1204" name="Google Shape;1204;p127"/>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205" name="Google Shape;1205;p127"/>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206" name="Google Shape;1206;p127"/>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07" name="Google Shape;1207;p127"/>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8" name="Google Shape;1208;p127"/>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9" name="Google Shape;1209;p127"/>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210" name="Google Shape;1210;p127"/>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matchingName="1_Photo Slide 2">
  <p:cSld name="2_Photo Slide 2">
    <p:spTree>
      <p:nvGrpSpPr>
        <p:cNvPr id="1" name="Shape 15926"/>
        <p:cNvGrpSpPr/>
        <p:nvPr/>
      </p:nvGrpSpPr>
      <p:grpSpPr>
        <a:xfrm>
          <a:off x="0" y="0"/>
          <a:ext cx="0" cy="0"/>
          <a:chOff x="0" y="0"/>
          <a:chExt cx="0" cy="0"/>
        </a:xfrm>
      </p:grpSpPr>
      <p:sp>
        <p:nvSpPr>
          <p:cNvPr id="15927" name="Google Shape;15927;p13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5928" name="Google Shape;15928;p1356"/>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929" name="Google Shape;15929;p1356"/>
          <p:cNvGrpSpPr/>
          <p:nvPr/>
        </p:nvGrpSpPr>
        <p:grpSpPr>
          <a:xfrm>
            <a:off x="3" y="5379427"/>
            <a:ext cx="2807363" cy="753895"/>
            <a:chOff x="0" y="5379424"/>
            <a:chExt cx="2807363" cy="753895"/>
          </a:xfrm>
        </p:grpSpPr>
        <p:sp>
          <p:nvSpPr>
            <p:cNvPr id="15930" name="Google Shape;15930;p13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31" name="Google Shape;15931;p13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932" name="Google Shape;15932;p1356"/>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232116027"/>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matchingName="1_Quotation">
  <p:cSld name="8_Quotation">
    <p:spTree>
      <p:nvGrpSpPr>
        <p:cNvPr id="1" name="Shape 15933"/>
        <p:cNvGrpSpPr/>
        <p:nvPr/>
      </p:nvGrpSpPr>
      <p:grpSpPr>
        <a:xfrm>
          <a:off x="0" y="0"/>
          <a:ext cx="0" cy="0"/>
          <a:chOff x="0" y="0"/>
          <a:chExt cx="0" cy="0"/>
        </a:xfrm>
      </p:grpSpPr>
      <p:sp>
        <p:nvSpPr>
          <p:cNvPr id="15934" name="Google Shape;15934;p13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35" name="Google Shape;15935;p13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36" name="Google Shape;15936;p1357"/>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37" name="Google Shape;15937;p135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38" name="Google Shape;15938;p13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39" name="Google Shape;15939;p135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940" name="Google Shape;15940;p1357"/>
          <p:cNvGrpSpPr/>
          <p:nvPr/>
        </p:nvGrpSpPr>
        <p:grpSpPr>
          <a:xfrm>
            <a:off x="7191545" y="0"/>
            <a:ext cx="5000460" cy="1425988"/>
            <a:chOff x="7191545" y="0"/>
            <a:chExt cx="5000460" cy="1425988"/>
          </a:xfrm>
        </p:grpSpPr>
        <p:pic>
          <p:nvPicPr>
            <p:cNvPr id="15941" name="Google Shape;15941;p13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42" name="Google Shape;15942;p1357"/>
            <p:cNvGrpSpPr/>
            <p:nvPr/>
          </p:nvGrpSpPr>
          <p:grpSpPr>
            <a:xfrm>
              <a:off x="7191545" y="0"/>
              <a:ext cx="5000460" cy="1425988"/>
              <a:chOff x="7191545" y="0"/>
              <a:chExt cx="5000460" cy="1425988"/>
            </a:xfrm>
          </p:grpSpPr>
          <p:sp>
            <p:nvSpPr>
              <p:cNvPr id="15943" name="Google Shape;15943;p13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44" name="Google Shape;15944;p13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945" name="Google Shape;15945;p1357"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164869646"/>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matchingName="1_Title and Content 8">
  <p:cSld name="2_Title and Content 8">
    <p:spTree>
      <p:nvGrpSpPr>
        <p:cNvPr id="1" name="Shape 15946"/>
        <p:cNvGrpSpPr/>
        <p:nvPr/>
      </p:nvGrpSpPr>
      <p:grpSpPr>
        <a:xfrm>
          <a:off x="0" y="0"/>
          <a:ext cx="0" cy="0"/>
          <a:chOff x="0" y="0"/>
          <a:chExt cx="0" cy="0"/>
        </a:xfrm>
      </p:grpSpPr>
      <p:grpSp>
        <p:nvGrpSpPr>
          <p:cNvPr id="15947" name="Google Shape;15947;p1358"/>
          <p:cNvGrpSpPr/>
          <p:nvPr/>
        </p:nvGrpSpPr>
        <p:grpSpPr>
          <a:xfrm>
            <a:off x="7191545" y="0"/>
            <a:ext cx="5000460" cy="1425988"/>
            <a:chOff x="7191545" y="0"/>
            <a:chExt cx="5000460" cy="1425988"/>
          </a:xfrm>
        </p:grpSpPr>
        <p:pic>
          <p:nvPicPr>
            <p:cNvPr id="15948" name="Google Shape;15948;p13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49" name="Google Shape;15949;p1358"/>
            <p:cNvGrpSpPr/>
            <p:nvPr/>
          </p:nvGrpSpPr>
          <p:grpSpPr>
            <a:xfrm>
              <a:off x="7191545" y="0"/>
              <a:ext cx="5000460" cy="1425988"/>
              <a:chOff x="7191545" y="0"/>
              <a:chExt cx="5000460" cy="1425988"/>
            </a:xfrm>
          </p:grpSpPr>
          <p:sp>
            <p:nvSpPr>
              <p:cNvPr id="15950" name="Google Shape;15950;p13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51" name="Google Shape;15951;p13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52" name="Google Shape;15952;p1358"/>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3" name="Google Shape;15953;p1358"/>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54" name="Google Shape;15954;p135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55" name="Google Shape;15955;p13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56" name="Google Shape;15956;p135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7600741"/>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matchingName="1_Two Content 2">
  <p:cSld name="2_Two Content 2">
    <p:spTree>
      <p:nvGrpSpPr>
        <p:cNvPr id="1" name="Shape 15957"/>
        <p:cNvGrpSpPr/>
        <p:nvPr/>
      </p:nvGrpSpPr>
      <p:grpSpPr>
        <a:xfrm>
          <a:off x="0" y="0"/>
          <a:ext cx="0" cy="0"/>
          <a:chOff x="0" y="0"/>
          <a:chExt cx="0" cy="0"/>
        </a:xfrm>
      </p:grpSpPr>
      <p:sp>
        <p:nvSpPr>
          <p:cNvPr id="15958" name="Google Shape;15958;p135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9" name="Google Shape;15959;p1359"/>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5960" name="Google Shape;15960;p1359"/>
          <p:cNvGrpSpPr/>
          <p:nvPr/>
        </p:nvGrpSpPr>
        <p:grpSpPr>
          <a:xfrm>
            <a:off x="7191545" y="0"/>
            <a:ext cx="5000460" cy="1425988"/>
            <a:chOff x="7191545" y="0"/>
            <a:chExt cx="5000460" cy="1425988"/>
          </a:xfrm>
        </p:grpSpPr>
        <p:pic>
          <p:nvPicPr>
            <p:cNvPr id="15961" name="Google Shape;15961;p13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62" name="Google Shape;15962;p1359"/>
            <p:cNvGrpSpPr/>
            <p:nvPr/>
          </p:nvGrpSpPr>
          <p:grpSpPr>
            <a:xfrm>
              <a:off x="7191545" y="0"/>
              <a:ext cx="5000460" cy="1425988"/>
              <a:chOff x="7191545" y="0"/>
              <a:chExt cx="5000460" cy="1425988"/>
            </a:xfrm>
          </p:grpSpPr>
          <p:sp>
            <p:nvSpPr>
              <p:cNvPr id="15963" name="Google Shape;15963;p13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64" name="Google Shape;15964;p13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65" name="Google Shape;15965;p1359"/>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66" name="Google Shape;15966;p1359"/>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67" name="Google Shape;15967;p13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68" name="Google Shape;15968;p135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32026521"/>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matchingName="1_TWO_OBJECTS_WITH_TEXT">
  <p:cSld name="2_TWO_OBJECTS_WITH_TEXT">
    <p:spTree>
      <p:nvGrpSpPr>
        <p:cNvPr id="1" name="Shape 15969"/>
        <p:cNvGrpSpPr/>
        <p:nvPr/>
      </p:nvGrpSpPr>
      <p:grpSpPr>
        <a:xfrm>
          <a:off x="0" y="0"/>
          <a:ext cx="0" cy="0"/>
          <a:chOff x="0" y="0"/>
          <a:chExt cx="0" cy="0"/>
        </a:xfrm>
      </p:grpSpPr>
      <p:grpSp>
        <p:nvGrpSpPr>
          <p:cNvPr id="15970" name="Google Shape;15970;p1360"/>
          <p:cNvGrpSpPr/>
          <p:nvPr/>
        </p:nvGrpSpPr>
        <p:grpSpPr>
          <a:xfrm>
            <a:off x="7191545" y="0"/>
            <a:ext cx="5000460" cy="1425988"/>
            <a:chOff x="7191545" y="0"/>
            <a:chExt cx="5000460" cy="1425988"/>
          </a:xfrm>
        </p:grpSpPr>
        <p:pic>
          <p:nvPicPr>
            <p:cNvPr id="15971" name="Google Shape;15971;p13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72" name="Google Shape;15972;p1360"/>
            <p:cNvGrpSpPr/>
            <p:nvPr/>
          </p:nvGrpSpPr>
          <p:grpSpPr>
            <a:xfrm>
              <a:off x="7191545" y="0"/>
              <a:ext cx="5000460" cy="1425988"/>
              <a:chOff x="7191545" y="0"/>
              <a:chExt cx="5000460" cy="1425988"/>
            </a:xfrm>
          </p:grpSpPr>
          <p:sp>
            <p:nvSpPr>
              <p:cNvPr id="15973" name="Google Shape;15973;p13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74" name="Google Shape;15974;p13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75" name="Google Shape;15975;p136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6" name="Google Shape;15976;p1360"/>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77" name="Google Shape;15977;p1360"/>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78" name="Google Shape;15978;p1360"/>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79" name="Google Shape;15979;p1360"/>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80" name="Google Shape;15980;p136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81" name="Google Shape;15981;p13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82" name="Google Shape;15982;p136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1380706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matchingName="1_End">
  <p:cSld name="2_End">
    <p:spTree>
      <p:nvGrpSpPr>
        <p:cNvPr id="1" name="Shape 15993"/>
        <p:cNvGrpSpPr/>
        <p:nvPr/>
      </p:nvGrpSpPr>
      <p:grpSpPr>
        <a:xfrm>
          <a:off x="0" y="0"/>
          <a:ext cx="0" cy="0"/>
          <a:chOff x="0" y="0"/>
          <a:chExt cx="0" cy="0"/>
        </a:xfrm>
      </p:grpSpPr>
      <p:grpSp>
        <p:nvGrpSpPr>
          <p:cNvPr id="15994" name="Google Shape;15994;p1362"/>
          <p:cNvGrpSpPr/>
          <p:nvPr/>
        </p:nvGrpSpPr>
        <p:grpSpPr>
          <a:xfrm>
            <a:off x="0" y="0"/>
            <a:ext cx="12191996" cy="2148830"/>
            <a:chOff x="0" y="0"/>
            <a:chExt cx="12191996" cy="2148830"/>
          </a:xfrm>
        </p:grpSpPr>
        <p:sp>
          <p:nvSpPr>
            <p:cNvPr id="15995" name="Google Shape;15995;p136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96" name="Google Shape;15996;p136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997" name="Google Shape;15997;p1362"/>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98" name="Google Shape;15998;p1362"/>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5999" name="Google Shape;15999;p136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000" name="Google Shape;16000;p136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53107668"/>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matchingName="1_Quotation 2">
  <p:cSld name="8_Quotation 2">
    <p:spTree>
      <p:nvGrpSpPr>
        <p:cNvPr id="1" name="Shape 16010"/>
        <p:cNvGrpSpPr/>
        <p:nvPr/>
      </p:nvGrpSpPr>
      <p:grpSpPr>
        <a:xfrm>
          <a:off x="0" y="0"/>
          <a:ext cx="0" cy="0"/>
          <a:chOff x="0" y="0"/>
          <a:chExt cx="0" cy="0"/>
        </a:xfrm>
      </p:grpSpPr>
      <p:sp>
        <p:nvSpPr>
          <p:cNvPr id="16011" name="Google Shape;16011;p136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12" name="Google Shape;16012;p13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13" name="Google Shape;16013;p1364"/>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14" name="Google Shape;16014;p136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15" name="Google Shape;16015;p13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16" name="Google Shape;16016;p136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7" name="Google Shape;16017;p1364"/>
          <p:cNvGrpSpPr/>
          <p:nvPr/>
        </p:nvGrpSpPr>
        <p:grpSpPr>
          <a:xfrm>
            <a:off x="7191545" y="0"/>
            <a:ext cx="5000460" cy="1425988"/>
            <a:chOff x="7191545" y="0"/>
            <a:chExt cx="5000460" cy="1425988"/>
          </a:xfrm>
        </p:grpSpPr>
        <p:pic>
          <p:nvPicPr>
            <p:cNvPr id="16018" name="Google Shape;16018;p13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19" name="Google Shape;16019;p1364"/>
            <p:cNvGrpSpPr/>
            <p:nvPr/>
          </p:nvGrpSpPr>
          <p:grpSpPr>
            <a:xfrm>
              <a:off x="7191545" y="0"/>
              <a:ext cx="5000460" cy="1425988"/>
              <a:chOff x="7191545" y="0"/>
              <a:chExt cx="5000460" cy="1425988"/>
            </a:xfrm>
          </p:grpSpPr>
          <p:sp>
            <p:nvSpPr>
              <p:cNvPr id="16020" name="Google Shape;16020;p13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21" name="Google Shape;16021;p13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22" name="Google Shape;16022;p1364"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088547726"/>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matchingName="Photo Slide 3">
  <p:cSld name="1_Photo Slide 3">
    <p:spTree>
      <p:nvGrpSpPr>
        <p:cNvPr id="1" name="Shape 16039"/>
        <p:cNvGrpSpPr/>
        <p:nvPr/>
      </p:nvGrpSpPr>
      <p:grpSpPr>
        <a:xfrm>
          <a:off x="0" y="0"/>
          <a:ext cx="0" cy="0"/>
          <a:chOff x="0" y="0"/>
          <a:chExt cx="0" cy="0"/>
        </a:xfrm>
      </p:grpSpPr>
      <p:sp>
        <p:nvSpPr>
          <p:cNvPr id="16040" name="Google Shape;16040;p13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041" name="Google Shape;16041;p1367"/>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042" name="Google Shape;16042;p1367"/>
          <p:cNvGrpSpPr/>
          <p:nvPr/>
        </p:nvGrpSpPr>
        <p:grpSpPr>
          <a:xfrm>
            <a:off x="3" y="5379427"/>
            <a:ext cx="2807363" cy="753895"/>
            <a:chOff x="0" y="5379424"/>
            <a:chExt cx="2807363" cy="753895"/>
          </a:xfrm>
        </p:grpSpPr>
        <p:sp>
          <p:nvSpPr>
            <p:cNvPr id="16043" name="Google Shape;16043;p13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4" name="Google Shape;16044;p13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045" name="Google Shape;16045;p1367"/>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42424504"/>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matchingName="Quotation 3">
  <p:cSld name="6_Quotation 3">
    <p:spTree>
      <p:nvGrpSpPr>
        <p:cNvPr id="1" name="Shape 16046"/>
        <p:cNvGrpSpPr/>
        <p:nvPr/>
      </p:nvGrpSpPr>
      <p:grpSpPr>
        <a:xfrm>
          <a:off x="0" y="0"/>
          <a:ext cx="0" cy="0"/>
          <a:chOff x="0" y="0"/>
          <a:chExt cx="0" cy="0"/>
        </a:xfrm>
      </p:grpSpPr>
      <p:sp>
        <p:nvSpPr>
          <p:cNvPr id="16047" name="Google Shape;16047;p13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8" name="Google Shape;16048;p13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9" name="Google Shape;16049;p136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50" name="Google Shape;16050;p136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51" name="Google Shape;16051;p13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52" name="Google Shape;16052;p136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53" name="Google Shape;16053;p1368"/>
          <p:cNvGrpSpPr/>
          <p:nvPr/>
        </p:nvGrpSpPr>
        <p:grpSpPr>
          <a:xfrm>
            <a:off x="7191545" y="0"/>
            <a:ext cx="5000460" cy="1425988"/>
            <a:chOff x="7191545" y="0"/>
            <a:chExt cx="5000460" cy="1425988"/>
          </a:xfrm>
        </p:grpSpPr>
        <p:pic>
          <p:nvPicPr>
            <p:cNvPr id="16054" name="Google Shape;16054;p13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55" name="Google Shape;16055;p1368"/>
            <p:cNvGrpSpPr/>
            <p:nvPr/>
          </p:nvGrpSpPr>
          <p:grpSpPr>
            <a:xfrm>
              <a:off x="7191545" y="0"/>
              <a:ext cx="5000460" cy="1425988"/>
              <a:chOff x="7191545" y="0"/>
              <a:chExt cx="5000460" cy="1425988"/>
            </a:xfrm>
          </p:grpSpPr>
          <p:sp>
            <p:nvSpPr>
              <p:cNvPr id="16056" name="Google Shape;16056;p13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57" name="Google Shape;16057;p13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58" name="Google Shape;16058;p136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507541518"/>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matchingName="1_Quotation 3">
  <p:cSld name="6_Quotation 3">
    <p:spTree>
      <p:nvGrpSpPr>
        <p:cNvPr id="1" name="Shape 16059"/>
        <p:cNvGrpSpPr/>
        <p:nvPr/>
      </p:nvGrpSpPr>
      <p:grpSpPr>
        <a:xfrm>
          <a:off x="0" y="0"/>
          <a:ext cx="0" cy="0"/>
          <a:chOff x="0" y="0"/>
          <a:chExt cx="0" cy="0"/>
        </a:xfrm>
      </p:grpSpPr>
      <p:sp>
        <p:nvSpPr>
          <p:cNvPr id="16060" name="Google Shape;16060;p136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61" name="Google Shape;16061;p136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62" name="Google Shape;16062;p136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63" name="Google Shape;16063;p136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64" name="Google Shape;16064;p13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65" name="Google Shape;16065;p136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66" name="Google Shape;16066;p1369"/>
          <p:cNvGrpSpPr/>
          <p:nvPr/>
        </p:nvGrpSpPr>
        <p:grpSpPr>
          <a:xfrm>
            <a:off x="7191545" y="0"/>
            <a:ext cx="5000460" cy="1425988"/>
            <a:chOff x="7191545" y="0"/>
            <a:chExt cx="5000460" cy="1425988"/>
          </a:xfrm>
        </p:grpSpPr>
        <p:pic>
          <p:nvPicPr>
            <p:cNvPr id="16067" name="Google Shape;16067;p13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68" name="Google Shape;16068;p1369"/>
            <p:cNvGrpSpPr/>
            <p:nvPr/>
          </p:nvGrpSpPr>
          <p:grpSpPr>
            <a:xfrm>
              <a:off x="7191545" y="0"/>
              <a:ext cx="5000460" cy="1425988"/>
              <a:chOff x="7191545" y="0"/>
              <a:chExt cx="5000460" cy="1425988"/>
            </a:xfrm>
          </p:grpSpPr>
          <p:sp>
            <p:nvSpPr>
              <p:cNvPr id="16069" name="Google Shape;16069;p13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0" name="Google Shape;16070;p13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71" name="Google Shape;16071;p136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876650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29737792"/>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matchingName="Two Content 3">
  <p:cSld name="1_Two Content 3">
    <p:spTree>
      <p:nvGrpSpPr>
        <p:cNvPr id="1" name="Shape 16072"/>
        <p:cNvGrpSpPr/>
        <p:nvPr/>
      </p:nvGrpSpPr>
      <p:grpSpPr>
        <a:xfrm>
          <a:off x="0" y="0"/>
          <a:ext cx="0" cy="0"/>
          <a:chOff x="0" y="0"/>
          <a:chExt cx="0" cy="0"/>
        </a:xfrm>
      </p:grpSpPr>
      <p:sp>
        <p:nvSpPr>
          <p:cNvPr id="16073" name="Google Shape;16073;p137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74" name="Google Shape;16074;p1370"/>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6075" name="Google Shape;16075;p1370"/>
          <p:cNvGrpSpPr/>
          <p:nvPr/>
        </p:nvGrpSpPr>
        <p:grpSpPr>
          <a:xfrm>
            <a:off x="7191545" y="0"/>
            <a:ext cx="5000460" cy="1425988"/>
            <a:chOff x="7191545" y="0"/>
            <a:chExt cx="5000460" cy="1425988"/>
          </a:xfrm>
        </p:grpSpPr>
        <p:pic>
          <p:nvPicPr>
            <p:cNvPr id="16076" name="Google Shape;16076;p13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77" name="Google Shape;16077;p1370"/>
            <p:cNvGrpSpPr/>
            <p:nvPr/>
          </p:nvGrpSpPr>
          <p:grpSpPr>
            <a:xfrm>
              <a:off x="7191545" y="0"/>
              <a:ext cx="5000460" cy="1425988"/>
              <a:chOff x="7191545" y="0"/>
              <a:chExt cx="5000460" cy="1425988"/>
            </a:xfrm>
          </p:grpSpPr>
          <p:sp>
            <p:nvSpPr>
              <p:cNvPr id="16078" name="Google Shape;16078;p13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9" name="Google Shape;16079;p13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80" name="Google Shape;16080;p1370"/>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81" name="Google Shape;16081;p1370"/>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82" name="Google Shape;16082;p13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83" name="Google Shape;16083;p137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61416211"/>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084"/>
        <p:cNvGrpSpPr/>
        <p:nvPr/>
      </p:nvGrpSpPr>
      <p:grpSpPr>
        <a:xfrm>
          <a:off x="0" y="0"/>
          <a:ext cx="0" cy="0"/>
          <a:chOff x="0" y="0"/>
          <a:chExt cx="0" cy="0"/>
        </a:xfrm>
      </p:grpSpPr>
      <p:grpSp>
        <p:nvGrpSpPr>
          <p:cNvPr id="16085" name="Google Shape;16085;p1371"/>
          <p:cNvGrpSpPr/>
          <p:nvPr/>
        </p:nvGrpSpPr>
        <p:grpSpPr>
          <a:xfrm>
            <a:off x="7191545" y="0"/>
            <a:ext cx="5000460" cy="1425988"/>
            <a:chOff x="7191545" y="0"/>
            <a:chExt cx="5000460" cy="1425988"/>
          </a:xfrm>
        </p:grpSpPr>
        <p:pic>
          <p:nvPicPr>
            <p:cNvPr id="16086" name="Google Shape;16086;p13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87" name="Google Shape;16087;p1371"/>
            <p:cNvGrpSpPr/>
            <p:nvPr/>
          </p:nvGrpSpPr>
          <p:grpSpPr>
            <a:xfrm>
              <a:off x="7191545" y="0"/>
              <a:ext cx="5000460" cy="1425988"/>
              <a:chOff x="7191545" y="0"/>
              <a:chExt cx="5000460" cy="1425988"/>
            </a:xfrm>
          </p:grpSpPr>
          <p:sp>
            <p:nvSpPr>
              <p:cNvPr id="16088" name="Google Shape;16088;p13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89" name="Google Shape;16089;p13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90" name="Google Shape;16090;p137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91" name="Google Shape;16091;p13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92" name="Google Shape;16092;p1371"/>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93" name="Google Shape;16093;p1371"/>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94" name="Google Shape;16094;p1371"/>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095" name="Google Shape;16095;p137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96" name="Google Shape;16096;p13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97" name="Google Shape;16097;p137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91690624"/>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matchingName="End 2">
  <p:cSld name="1_End 2">
    <p:spTree>
      <p:nvGrpSpPr>
        <p:cNvPr id="1" name="Shape 16108"/>
        <p:cNvGrpSpPr/>
        <p:nvPr/>
      </p:nvGrpSpPr>
      <p:grpSpPr>
        <a:xfrm>
          <a:off x="0" y="0"/>
          <a:ext cx="0" cy="0"/>
          <a:chOff x="0" y="0"/>
          <a:chExt cx="0" cy="0"/>
        </a:xfrm>
      </p:grpSpPr>
      <p:grpSp>
        <p:nvGrpSpPr>
          <p:cNvPr id="16109" name="Google Shape;16109;p1373"/>
          <p:cNvGrpSpPr/>
          <p:nvPr/>
        </p:nvGrpSpPr>
        <p:grpSpPr>
          <a:xfrm>
            <a:off x="0" y="0"/>
            <a:ext cx="12191996" cy="2148830"/>
            <a:chOff x="0" y="0"/>
            <a:chExt cx="12191996" cy="2148830"/>
          </a:xfrm>
        </p:grpSpPr>
        <p:sp>
          <p:nvSpPr>
            <p:cNvPr id="16110" name="Google Shape;16110;p13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11" name="Google Shape;16111;p13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112" name="Google Shape;16112;p1373"/>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3" name="Google Shape;16113;p1373"/>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114" name="Google Shape;16114;p13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115" name="Google Shape;16115;p13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5058631"/>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matchingName="2_Quotation">
  <p:cSld name="8_Quotation">
    <p:spTree>
      <p:nvGrpSpPr>
        <p:cNvPr id="1" name="Shape 16116"/>
        <p:cNvGrpSpPr/>
        <p:nvPr/>
      </p:nvGrpSpPr>
      <p:grpSpPr>
        <a:xfrm>
          <a:off x="0" y="0"/>
          <a:ext cx="0" cy="0"/>
          <a:chOff x="0" y="0"/>
          <a:chExt cx="0" cy="0"/>
        </a:xfrm>
      </p:grpSpPr>
      <p:sp>
        <p:nvSpPr>
          <p:cNvPr id="16117" name="Google Shape;16117;p137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8" name="Google Shape;16118;p137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19" name="Google Shape;16119;p1374"/>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120" name="Google Shape;16120;p137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21" name="Google Shape;16121;p13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22" name="Google Shape;16122;p137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23" name="Google Shape;16123;p1374"/>
          <p:cNvGrpSpPr/>
          <p:nvPr/>
        </p:nvGrpSpPr>
        <p:grpSpPr>
          <a:xfrm>
            <a:off x="7191545" y="0"/>
            <a:ext cx="5000460" cy="1425988"/>
            <a:chOff x="7191545" y="0"/>
            <a:chExt cx="5000460" cy="1425988"/>
          </a:xfrm>
        </p:grpSpPr>
        <p:pic>
          <p:nvPicPr>
            <p:cNvPr id="16124" name="Google Shape;16124;p13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25" name="Google Shape;16125;p1374"/>
            <p:cNvGrpSpPr/>
            <p:nvPr/>
          </p:nvGrpSpPr>
          <p:grpSpPr>
            <a:xfrm>
              <a:off x="7191545" y="0"/>
              <a:ext cx="5000460" cy="1425988"/>
              <a:chOff x="7191545" y="0"/>
              <a:chExt cx="5000460" cy="1425988"/>
            </a:xfrm>
          </p:grpSpPr>
          <p:sp>
            <p:nvSpPr>
              <p:cNvPr id="16126" name="Google Shape;16126;p13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27" name="Google Shape;16127;p13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28" name="Google Shape;16128;p1374"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323060690"/>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matchingName="3_Quotation">
  <p:cSld name="8_Quotation">
    <p:spTree>
      <p:nvGrpSpPr>
        <p:cNvPr id="1" name="Shape 16129"/>
        <p:cNvGrpSpPr/>
        <p:nvPr/>
      </p:nvGrpSpPr>
      <p:grpSpPr>
        <a:xfrm>
          <a:off x="0" y="0"/>
          <a:ext cx="0" cy="0"/>
          <a:chOff x="0" y="0"/>
          <a:chExt cx="0" cy="0"/>
        </a:xfrm>
      </p:grpSpPr>
      <p:sp>
        <p:nvSpPr>
          <p:cNvPr id="16130" name="Google Shape;16130;p13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31" name="Google Shape;16131;p13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32" name="Google Shape;16132;p137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133" name="Google Shape;16133;p137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34" name="Google Shape;16134;p13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35" name="Google Shape;16135;p137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36" name="Google Shape;16136;p1375"/>
          <p:cNvGrpSpPr/>
          <p:nvPr/>
        </p:nvGrpSpPr>
        <p:grpSpPr>
          <a:xfrm>
            <a:off x="7191545" y="0"/>
            <a:ext cx="5000460" cy="1425988"/>
            <a:chOff x="7191545" y="0"/>
            <a:chExt cx="5000460" cy="1425988"/>
          </a:xfrm>
        </p:grpSpPr>
        <p:pic>
          <p:nvPicPr>
            <p:cNvPr id="16137" name="Google Shape;16137;p13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38" name="Google Shape;16138;p1375"/>
            <p:cNvGrpSpPr/>
            <p:nvPr/>
          </p:nvGrpSpPr>
          <p:grpSpPr>
            <a:xfrm>
              <a:off x="7191545" y="0"/>
              <a:ext cx="5000460" cy="1425988"/>
              <a:chOff x="7191545" y="0"/>
              <a:chExt cx="5000460" cy="1425988"/>
            </a:xfrm>
          </p:grpSpPr>
          <p:sp>
            <p:nvSpPr>
              <p:cNvPr id="16139" name="Google Shape;16139;p13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40" name="Google Shape;16140;p13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41" name="Google Shape;16141;p137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613182667"/>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matchingName="4_Quotation">
  <p:cSld name="8_Quotation">
    <p:spTree>
      <p:nvGrpSpPr>
        <p:cNvPr id="1" name="Shape 16142"/>
        <p:cNvGrpSpPr/>
        <p:nvPr/>
      </p:nvGrpSpPr>
      <p:grpSpPr>
        <a:xfrm>
          <a:off x="0" y="0"/>
          <a:ext cx="0" cy="0"/>
          <a:chOff x="0" y="0"/>
          <a:chExt cx="0" cy="0"/>
        </a:xfrm>
      </p:grpSpPr>
      <p:sp>
        <p:nvSpPr>
          <p:cNvPr id="16143" name="Google Shape;16143;p137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44" name="Google Shape;16144;p13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5" name="Google Shape;16145;p137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146" name="Google Shape;16146;p137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47" name="Google Shape;16147;p13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48" name="Google Shape;16148;p137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49" name="Google Shape;16149;p1376"/>
          <p:cNvGrpSpPr/>
          <p:nvPr/>
        </p:nvGrpSpPr>
        <p:grpSpPr>
          <a:xfrm>
            <a:off x="7191545" y="0"/>
            <a:ext cx="5000460" cy="1425988"/>
            <a:chOff x="7191545" y="0"/>
            <a:chExt cx="5000460" cy="1425988"/>
          </a:xfrm>
        </p:grpSpPr>
        <p:pic>
          <p:nvPicPr>
            <p:cNvPr id="16150" name="Google Shape;16150;p13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51" name="Google Shape;16151;p1376"/>
            <p:cNvGrpSpPr/>
            <p:nvPr/>
          </p:nvGrpSpPr>
          <p:grpSpPr>
            <a:xfrm>
              <a:off x="7191545" y="0"/>
              <a:ext cx="5000460" cy="1425988"/>
              <a:chOff x="7191545" y="0"/>
              <a:chExt cx="5000460" cy="1425988"/>
            </a:xfrm>
          </p:grpSpPr>
          <p:sp>
            <p:nvSpPr>
              <p:cNvPr id="16152" name="Google Shape;16152;p13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53" name="Google Shape;16153;p13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54" name="Google Shape;16154;p137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788146169"/>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matchingName="5_Quotation">
  <p:cSld name="8_Quotation">
    <p:spTree>
      <p:nvGrpSpPr>
        <p:cNvPr id="1" name="Shape 16155"/>
        <p:cNvGrpSpPr/>
        <p:nvPr/>
      </p:nvGrpSpPr>
      <p:grpSpPr>
        <a:xfrm>
          <a:off x="0" y="0"/>
          <a:ext cx="0" cy="0"/>
          <a:chOff x="0" y="0"/>
          <a:chExt cx="0" cy="0"/>
        </a:xfrm>
      </p:grpSpPr>
      <p:sp>
        <p:nvSpPr>
          <p:cNvPr id="16156" name="Google Shape;16156;p13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57" name="Google Shape;16157;p13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58" name="Google Shape;16158;p1377"/>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159" name="Google Shape;16159;p137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60" name="Google Shape;16160;p13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61" name="Google Shape;16161;p137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62" name="Google Shape;16162;p1377"/>
          <p:cNvGrpSpPr/>
          <p:nvPr/>
        </p:nvGrpSpPr>
        <p:grpSpPr>
          <a:xfrm>
            <a:off x="7191545" y="0"/>
            <a:ext cx="5000460" cy="1425988"/>
            <a:chOff x="7191545" y="0"/>
            <a:chExt cx="5000460" cy="1425988"/>
          </a:xfrm>
        </p:grpSpPr>
        <p:pic>
          <p:nvPicPr>
            <p:cNvPr id="16163" name="Google Shape;16163;p13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64" name="Google Shape;16164;p1377"/>
            <p:cNvGrpSpPr/>
            <p:nvPr/>
          </p:nvGrpSpPr>
          <p:grpSpPr>
            <a:xfrm>
              <a:off x="7191545" y="0"/>
              <a:ext cx="5000460" cy="1425988"/>
              <a:chOff x="7191545" y="0"/>
              <a:chExt cx="5000460" cy="1425988"/>
            </a:xfrm>
          </p:grpSpPr>
          <p:sp>
            <p:nvSpPr>
              <p:cNvPr id="16165" name="Google Shape;16165;p13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66" name="Google Shape;16166;p13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67" name="Google Shape;16167;p1377"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936866067"/>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matchingName="Photo Slide 4">
  <p:cSld name="1_Photo Slide 4">
    <p:spTree>
      <p:nvGrpSpPr>
        <p:cNvPr id="1" name="Shape 16184"/>
        <p:cNvGrpSpPr/>
        <p:nvPr/>
      </p:nvGrpSpPr>
      <p:grpSpPr>
        <a:xfrm>
          <a:off x="0" y="0"/>
          <a:ext cx="0" cy="0"/>
          <a:chOff x="0" y="0"/>
          <a:chExt cx="0" cy="0"/>
        </a:xfrm>
      </p:grpSpPr>
      <p:sp>
        <p:nvSpPr>
          <p:cNvPr id="16185" name="Google Shape;16185;p138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186" name="Google Shape;16186;p1380"/>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187" name="Google Shape;16187;p1380"/>
          <p:cNvGrpSpPr/>
          <p:nvPr/>
        </p:nvGrpSpPr>
        <p:grpSpPr>
          <a:xfrm>
            <a:off x="3" y="5379427"/>
            <a:ext cx="2807363" cy="753895"/>
            <a:chOff x="0" y="5379424"/>
            <a:chExt cx="2807363" cy="753895"/>
          </a:xfrm>
        </p:grpSpPr>
        <p:sp>
          <p:nvSpPr>
            <p:cNvPr id="16188" name="Google Shape;16188;p138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89" name="Google Shape;16189;p138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190" name="Google Shape;16190;p1380"/>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2266656514"/>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matchingName="Quotation 4">
  <p:cSld name="2_Quotation 4">
    <p:spTree>
      <p:nvGrpSpPr>
        <p:cNvPr id="1" name="Shape 16191"/>
        <p:cNvGrpSpPr/>
        <p:nvPr/>
      </p:nvGrpSpPr>
      <p:grpSpPr>
        <a:xfrm>
          <a:off x="0" y="0"/>
          <a:ext cx="0" cy="0"/>
          <a:chOff x="0" y="0"/>
          <a:chExt cx="0" cy="0"/>
        </a:xfrm>
      </p:grpSpPr>
      <p:sp>
        <p:nvSpPr>
          <p:cNvPr id="16192" name="Google Shape;16192;p138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93" name="Google Shape;16193;p138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94" name="Google Shape;16194;p1381"/>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195" name="Google Shape;16195;p138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96" name="Google Shape;16196;p1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97" name="Google Shape;16197;p138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98" name="Google Shape;16198;p1381"/>
          <p:cNvGrpSpPr/>
          <p:nvPr/>
        </p:nvGrpSpPr>
        <p:grpSpPr>
          <a:xfrm>
            <a:off x="7191545" y="0"/>
            <a:ext cx="5000460" cy="1425988"/>
            <a:chOff x="7191545" y="0"/>
            <a:chExt cx="5000460" cy="1425988"/>
          </a:xfrm>
        </p:grpSpPr>
        <p:pic>
          <p:nvPicPr>
            <p:cNvPr id="16199" name="Google Shape;16199;p1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00" name="Google Shape;16200;p1381"/>
            <p:cNvGrpSpPr/>
            <p:nvPr/>
          </p:nvGrpSpPr>
          <p:grpSpPr>
            <a:xfrm>
              <a:off x="7191545" y="0"/>
              <a:ext cx="5000460" cy="1425988"/>
              <a:chOff x="7191545" y="0"/>
              <a:chExt cx="5000460" cy="1425988"/>
            </a:xfrm>
          </p:grpSpPr>
          <p:sp>
            <p:nvSpPr>
              <p:cNvPr id="16201" name="Google Shape;16201;p1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02" name="Google Shape;16202;p1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03" name="Google Shape;16203;p1381"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020532368"/>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matchingName="1_Quotation 4">
  <p:cSld name="2_Quotation 4">
    <p:spTree>
      <p:nvGrpSpPr>
        <p:cNvPr id="1" name="Shape 16204"/>
        <p:cNvGrpSpPr/>
        <p:nvPr/>
      </p:nvGrpSpPr>
      <p:grpSpPr>
        <a:xfrm>
          <a:off x="0" y="0"/>
          <a:ext cx="0" cy="0"/>
          <a:chOff x="0" y="0"/>
          <a:chExt cx="0" cy="0"/>
        </a:xfrm>
      </p:grpSpPr>
      <p:sp>
        <p:nvSpPr>
          <p:cNvPr id="16205" name="Google Shape;16205;p13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06" name="Google Shape;16206;p13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7" name="Google Shape;16207;p1382"/>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08" name="Google Shape;16208;p138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09" name="Google Shape;16209;p13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10" name="Google Shape;16210;p138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11" name="Google Shape;16211;p1382"/>
          <p:cNvGrpSpPr/>
          <p:nvPr/>
        </p:nvGrpSpPr>
        <p:grpSpPr>
          <a:xfrm>
            <a:off x="7191545" y="0"/>
            <a:ext cx="5000460" cy="1425988"/>
            <a:chOff x="7191545" y="0"/>
            <a:chExt cx="5000460" cy="1425988"/>
          </a:xfrm>
        </p:grpSpPr>
        <p:pic>
          <p:nvPicPr>
            <p:cNvPr id="16212" name="Google Shape;16212;p13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13" name="Google Shape;16213;p1382"/>
            <p:cNvGrpSpPr/>
            <p:nvPr/>
          </p:nvGrpSpPr>
          <p:grpSpPr>
            <a:xfrm>
              <a:off x="7191545" y="0"/>
              <a:ext cx="5000460" cy="1425988"/>
              <a:chOff x="7191545" y="0"/>
              <a:chExt cx="5000460" cy="1425988"/>
            </a:xfrm>
          </p:grpSpPr>
          <p:sp>
            <p:nvSpPr>
              <p:cNvPr id="16214" name="Google Shape;16214;p13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15" name="Google Shape;16215;p13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16" name="Google Shape;16216;p1382"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7846011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 name="Google Shape;26;p3"/>
          <p:cNvGrpSpPr/>
          <p:nvPr/>
        </p:nvGrpSpPr>
        <p:grpSpPr>
          <a:xfrm>
            <a:off x="7191542" y="1"/>
            <a:ext cx="5000459" cy="1425992"/>
            <a:chOff x="7191542" y="1"/>
            <a:chExt cx="5000459" cy="1425992"/>
          </a:xfrm>
        </p:grpSpPr>
        <p:pic>
          <p:nvPicPr>
            <p:cNvPr id="27" name="Google Shape;27;p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 name="Google Shape;28;p3"/>
            <p:cNvGrpSpPr/>
            <p:nvPr/>
          </p:nvGrpSpPr>
          <p:grpSpPr>
            <a:xfrm>
              <a:off x="7191542" y="1"/>
              <a:ext cx="5000459" cy="1425992"/>
              <a:chOff x="7186272" y="0"/>
              <a:chExt cx="5005729" cy="1427495"/>
            </a:xfrm>
          </p:grpSpPr>
          <p:sp>
            <p:nvSpPr>
              <p:cNvPr id="29" name="Google Shape;29;p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30;p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 name="Google Shape;31;p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 name="Google Shape;33;p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 name="Google Shape;34;p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5931622"/>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matchingName="Comparison 2">
  <p:cSld name="1_Comparison 2">
    <p:spTree>
      <p:nvGrpSpPr>
        <p:cNvPr id="1" name="Shape 16217"/>
        <p:cNvGrpSpPr/>
        <p:nvPr/>
      </p:nvGrpSpPr>
      <p:grpSpPr>
        <a:xfrm>
          <a:off x="0" y="0"/>
          <a:ext cx="0" cy="0"/>
          <a:chOff x="0" y="0"/>
          <a:chExt cx="0" cy="0"/>
        </a:xfrm>
      </p:grpSpPr>
      <p:grpSp>
        <p:nvGrpSpPr>
          <p:cNvPr id="16218" name="Google Shape;16218;p1383"/>
          <p:cNvGrpSpPr/>
          <p:nvPr/>
        </p:nvGrpSpPr>
        <p:grpSpPr>
          <a:xfrm>
            <a:off x="7191545" y="0"/>
            <a:ext cx="5000460" cy="1425988"/>
            <a:chOff x="7191545" y="0"/>
            <a:chExt cx="5000460" cy="1425988"/>
          </a:xfrm>
        </p:grpSpPr>
        <p:pic>
          <p:nvPicPr>
            <p:cNvPr id="16219" name="Google Shape;16219;p1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20" name="Google Shape;16220;p1383"/>
            <p:cNvGrpSpPr/>
            <p:nvPr/>
          </p:nvGrpSpPr>
          <p:grpSpPr>
            <a:xfrm>
              <a:off x="7191545" y="0"/>
              <a:ext cx="5000460" cy="1425988"/>
              <a:chOff x="7191545" y="0"/>
              <a:chExt cx="5000460" cy="1425988"/>
            </a:xfrm>
          </p:grpSpPr>
          <p:sp>
            <p:nvSpPr>
              <p:cNvPr id="16221" name="Google Shape;16221;p1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22" name="Google Shape;16222;p1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23" name="Google Shape;16223;p1383"/>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24" name="Google Shape;16224;p138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25" name="Google Shape;16225;p1383"/>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26" name="Google Shape;16226;p1383"/>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27" name="Google Shape;16227;p1383"/>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28" name="Google Shape;16228;p138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29" name="Google Shape;16229;p1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30" name="Google Shape;16230;p138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65001850"/>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matchingName="Photo Slide 5">
  <p:cSld name="2_Photo Slide 5">
    <p:spTree>
      <p:nvGrpSpPr>
        <p:cNvPr id="1" name="Shape 16257"/>
        <p:cNvGrpSpPr/>
        <p:nvPr/>
      </p:nvGrpSpPr>
      <p:grpSpPr>
        <a:xfrm>
          <a:off x="0" y="0"/>
          <a:ext cx="0" cy="0"/>
          <a:chOff x="0" y="0"/>
          <a:chExt cx="0" cy="0"/>
        </a:xfrm>
      </p:grpSpPr>
      <p:sp>
        <p:nvSpPr>
          <p:cNvPr id="16258" name="Google Shape;16258;p138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259" name="Google Shape;16259;p1387"/>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260" name="Google Shape;16260;p1387"/>
          <p:cNvGrpSpPr/>
          <p:nvPr/>
        </p:nvGrpSpPr>
        <p:grpSpPr>
          <a:xfrm>
            <a:off x="3" y="5379427"/>
            <a:ext cx="2807363" cy="753895"/>
            <a:chOff x="0" y="5379424"/>
            <a:chExt cx="2807363" cy="753895"/>
          </a:xfrm>
        </p:grpSpPr>
        <p:sp>
          <p:nvSpPr>
            <p:cNvPr id="16261" name="Google Shape;16261;p138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2" name="Google Shape;16262;p138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263" name="Google Shape;16263;p1387"/>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103892470"/>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matchingName="Quotation 5">
  <p:cSld name="2_Quotation 5">
    <p:spTree>
      <p:nvGrpSpPr>
        <p:cNvPr id="1" name="Shape 16264"/>
        <p:cNvGrpSpPr/>
        <p:nvPr/>
      </p:nvGrpSpPr>
      <p:grpSpPr>
        <a:xfrm>
          <a:off x="0" y="0"/>
          <a:ext cx="0" cy="0"/>
          <a:chOff x="0" y="0"/>
          <a:chExt cx="0" cy="0"/>
        </a:xfrm>
      </p:grpSpPr>
      <p:sp>
        <p:nvSpPr>
          <p:cNvPr id="16265" name="Google Shape;16265;p138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6" name="Google Shape;16266;p13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67" name="Google Shape;16267;p138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68" name="Google Shape;16268;p138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69" name="Google Shape;16269;p13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70" name="Google Shape;16270;p138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71" name="Google Shape;16271;p1388"/>
          <p:cNvGrpSpPr/>
          <p:nvPr/>
        </p:nvGrpSpPr>
        <p:grpSpPr>
          <a:xfrm>
            <a:off x="7191545" y="0"/>
            <a:ext cx="5000460" cy="1425988"/>
            <a:chOff x="7191545" y="0"/>
            <a:chExt cx="5000460" cy="1425988"/>
          </a:xfrm>
        </p:grpSpPr>
        <p:pic>
          <p:nvPicPr>
            <p:cNvPr id="16272" name="Google Shape;16272;p13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73" name="Google Shape;16273;p1388"/>
            <p:cNvGrpSpPr/>
            <p:nvPr/>
          </p:nvGrpSpPr>
          <p:grpSpPr>
            <a:xfrm>
              <a:off x="7191545" y="0"/>
              <a:ext cx="5000460" cy="1425988"/>
              <a:chOff x="7191545" y="0"/>
              <a:chExt cx="5000460" cy="1425988"/>
            </a:xfrm>
          </p:grpSpPr>
          <p:sp>
            <p:nvSpPr>
              <p:cNvPr id="16274" name="Google Shape;16274;p13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75" name="Google Shape;16275;p13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76" name="Google Shape;16276;p138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979941433"/>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matchingName="Quotation 6">
  <p:cSld name="2_Quotation 6">
    <p:spTree>
      <p:nvGrpSpPr>
        <p:cNvPr id="1" name="Shape 16277"/>
        <p:cNvGrpSpPr/>
        <p:nvPr/>
      </p:nvGrpSpPr>
      <p:grpSpPr>
        <a:xfrm>
          <a:off x="0" y="0"/>
          <a:ext cx="0" cy="0"/>
          <a:chOff x="0" y="0"/>
          <a:chExt cx="0" cy="0"/>
        </a:xfrm>
      </p:grpSpPr>
      <p:sp>
        <p:nvSpPr>
          <p:cNvPr id="16278" name="Google Shape;16278;p138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79" name="Google Shape;16279;p138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80" name="Google Shape;16280;p138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81" name="Google Shape;16281;p138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82" name="Google Shape;16282;p13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83" name="Google Shape;16283;p138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84" name="Google Shape;16284;p1389"/>
          <p:cNvGrpSpPr/>
          <p:nvPr/>
        </p:nvGrpSpPr>
        <p:grpSpPr>
          <a:xfrm>
            <a:off x="7191545" y="0"/>
            <a:ext cx="5000460" cy="1425988"/>
            <a:chOff x="7191545" y="0"/>
            <a:chExt cx="5000460" cy="1425988"/>
          </a:xfrm>
        </p:grpSpPr>
        <p:pic>
          <p:nvPicPr>
            <p:cNvPr id="16285" name="Google Shape;16285;p13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86" name="Google Shape;16286;p1389"/>
            <p:cNvGrpSpPr/>
            <p:nvPr/>
          </p:nvGrpSpPr>
          <p:grpSpPr>
            <a:xfrm>
              <a:off x="7191545" y="0"/>
              <a:ext cx="5000460" cy="1425988"/>
              <a:chOff x="7191545" y="0"/>
              <a:chExt cx="5000460" cy="1425988"/>
            </a:xfrm>
          </p:grpSpPr>
          <p:sp>
            <p:nvSpPr>
              <p:cNvPr id="16287" name="Google Shape;16287;p13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88" name="Google Shape;16288;p13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89" name="Google Shape;16289;p138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617671046"/>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matchingName="Two Content 4">
  <p:cSld name="2_Two Content 4">
    <p:spTree>
      <p:nvGrpSpPr>
        <p:cNvPr id="1" name="Shape 16290"/>
        <p:cNvGrpSpPr/>
        <p:nvPr/>
      </p:nvGrpSpPr>
      <p:grpSpPr>
        <a:xfrm>
          <a:off x="0" y="0"/>
          <a:ext cx="0" cy="0"/>
          <a:chOff x="0" y="0"/>
          <a:chExt cx="0" cy="0"/>
        </a:xfrm>
      </p:grpSpPr>
      <p:sp>
        <p:nvSpPr>
          <p:cNvPr id="16291" name="Google Shape;16291;p139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92" name="Google Shape;16292;p1390"/>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6293" name="Google Shape;16293;p1390"/>
          <p:cNvGrpSpPr/>
          <p:nvPr/>
        </p:nvGrpSpPr>
        <p:grpSpPr>
          <a:xfrm>
            <a:off x="7191545" y="0"/>
            <a:ext cx="5000460" cy="1425988"/>
            <a:chOff x="7191545" y="0"/>
            <a:chExt cx="5000460" cy="1425988"/>
          </a:xfrm>
        </p:grpSpPr>
        <p:pic>
          <p:nvPicPr>
            <p:cNvPr id="16294" name="Google Shape;16294;p1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95" name="Google Shape;16295;p1390"/>
            <p:cNvGrpSpPr/>
            <p:nvPr/>
          </p:nvGrpSpPr>
          <p:grpSpPr>
            <a:xfrm>
              <a:off x="7191545" y="0"/>
              <a:ext cx="5000460" cy="1425988"/>
              <a:chOff x="7191545" y="0"/>
              <a:chExt cx="5000460" cy="1425988"/>
            </a:xfrm>
          </p:grpSpPr>
          <p:sp>
            <p:nvSpPr>
              <p:cNvPr id="16296" name="Google Shape;16296;p1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97" name="Google Shape;16297;p1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98" name="Google Shape;16298;p1390"/>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299" name="Google Shape;16299;p1390"/>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00" name="Google Shape;16300;p1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01" name="Google Shape;16301;p139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69310261"/>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matchingName="Comparison 3">
  <p:cSld name="2_Comparison 3">
    <p:spTree>
      <p:nvGrpSpPr>
        <p:cNvPr id="1" name="Shape 16302"/>
        <p:cNvGrpSpPr/>
        <p:nvPr/>
      </p:nvGrpSpPr>
      <p:grpSpPr>
        <a:xfrm>
          <a:off x="0" y="0"/>
          <a:ext cx="0" cy="0"/>
          <a:chOff x="0" y="0"/>
          <a:chExt cx="0" cy="0"/>
        </a:xfrm>
      </p:grpSpPr>
      <p:grpSp>
        <p:nvGrpSpPr>
          <p:cNvPr id="16303" name="Google Shape;16303;p1391"/>
          <p:cNvGrpSpPr/>
          <p:nvPr/>
        </p:nvGrpSpPr>
        <p:grpSpPr>
          <a:xfrm>
            <a:off x="7191545" y="0"/>
            <a:ext cx="5000460" cy="1425988"/>
            <a:chOff x="7191545" y="0"/>
            <a:chExt cx="5000460" cy="1425988"/>
          </a:xfrm>
        </p:grpSpPr>
        <p:pic>
          <p:nvPicPr>
            <p:cNvPr id="16304" name="Google Shape;16304;p1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05" name="Google Shape;16305;p1391"/>
            <p:cNvGrpSpPr/>
            <p:nvPr/>
          </p:nvGrpSpPr>
          <p:grpSpPr>
            <a:xfrm>
              <a:off x="7191545" y="0"/>
              <a:ext cx="5000460" cy="1425988"/>
              <a:chOff x="7191545" y="0"/>
              <a:chExt cx="5000460" cy="1425988"/>
            </a:xfrm>
          </p:grpSpPr>
          <p:sp>
            <p:nvSpPr>
              <p:cNvPr id="16306" name="Google Shape;16306;p1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07" name="Google Shape;16307;p1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308" name="Google Shape;16308;p139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09" name="Google Shape;16309;p139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10" name="Google Shape;16310;p1391"/>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11" name="Google Shape;16311;p1391"/>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12" name="Google Shape;16312;p1391"/>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13" name="Google Shape;16313;p139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14" name="Google Shape;16314;p1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15" name="Google Shape;16315;p139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2027600"/>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matchingName="End 3">
  <p:cSld name="2_End 3">
    <p:spTree>
      <p:nvGrpSpPr>
        <p:cNvPr id="1" name="Shape 16326"/>
        <p:cNvGrpSpPr/>
        <p:nvPr/>
      </p:nvGrpSpPr>
      <p:grpSpPr>
        <a:xfrm>
          <a:off x="0" y="0"/>
          <a:ext cx="0" cy="0"/>
          <a:chOff x="0" y="0"/>
          <a:chExt cx="0" cy="0"/>
        </a:xfrm>
      </p:grpSpPr>
      <p:grpSp>
        <p:nvGrpSpPr>
          <p:cNvPr id="16327" name="Google Shape;16327;p1393"/>
          <p:cNvGrpSpPr/>
          <p:nvPr/>
        </p:nvGrpSpPr>
        <p:grpSpPr>
          <a:xfrm>
            <a:off x="0" y="0"/>
            <a:ext cx="12191996" cy="2148830"/>
            <a:chOff x="0" y="0"/>
            <a:chExt cx="12191996" cy="2148830"/>
          </a:xfrm>
        </p:grpSpPr>
        <p:sp>
          <p:nvSpPr>
            <p:cNvPr id="16328" name="Google Shape;16328;p13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29" name="Google Shape;16329;p13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330" name="Google Shape;16330;p1393"/>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31" name="Google Shape;16331;p1393"/>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32" name="Google Shape;16332;p139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333" name="Google Shape;16333;p13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987929870"/>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6343"/>
        <p:cNvGrpSpPr/>
        <p:nvPr/>
      </p:nvGrpSpPr>
      <p:grpSpPr>
        <a:xfrm>
          <a:off x="0" y="0"/>
          <a:ext cx="0" cy="0"/>
          <a:chOff x="0" y="0"/>
          <a:chExt cx="0" cy="0"/>
        </a:xfrm>
      </p:grpSpPr>
      <p:sp>
        <p:nvSpPr>
          <p:cNvPr id="16344" name="Google Shape;16344;p1395"/>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45" name="Google Shape;16345;p1395"/>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346" name="Google Shape;16346;p1395"/>
          <p:cNvGrpSpPr/>
          <p:nvPr/>
        </p:nvGrpSpPr>
        <p:grpSpPr>
          <a:xfrm>
            <a:off x="0" y="0"/>
            <a:ext cx="6418722" cy="1509820"/>
            <a:chOff x="0" y="0"/>
            <a:chExt cx="6418722" cy="1509820"/>
          </a:xfrm>
        </p:grpSpPr>
        <p:sp>
          <p:nvSpPr>
            <p:cNvPr id="16347" name="Google Shape;16347;p1395"/>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48" name="Google Shape;16348;p1395"/>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6349" name="Google Shape;16349;p1395"/>
          <p:cNvPicPr preferRelativeResize="0"/>
          <p:nvPr/>
        </p:nvPicPr>
        <p:blipFill rotWithShape="1">
          <a:blip r:embed="rId2">
            <a:alphaModFix/>
          </a:blip>
          <a:srcRect/>
          <a:stretch/>
        </p:blipFill>
        <p:spPr>
          <a:xfrm>
            <a:off x="513347" y="136529"/>
            <a:ext cx="1945203" cy="879972"/>
          </a:xfrm>
          <a:prstGeom prst="rect">
            <a:avLst/>
          </a:prstGeom>
          <a:noFill/>
          <a:ln>
            <a:noFill/>
          </a:ln>
        </p:spPr>
      </p:pic>
    </p:spTree>
    <p:extLst>
      <p:ext uri="{BB962C8B-B14F-4D97-AF65-F5344CB8AC3E}">
        <p14:creationId xmlns:p14="http://schemas.microsoft.com/office/powerpoint/2010/main" val="1340033609"/>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matchingName="1_Photo Slide 5">
  <p:cSld name="2_Photo Slide 5">
    <p:spTree>
      <p:nvGrpSpPr>
        <p:cNvPr id="1" name="Shape 16366"/>
        <p:cNvGrpSpPr/>
        <p:nvPr/>
      </p:nvGrpSpPr>
      <p:grpSpPr>
        <a:xfrm>
          <a:off x="0" y="0"/>
          <a:ext cx="0" cy="0"/>
          <a:chOff x="0" y="0"/>
          <a:chExt cx="0" cy="0"/>
        </a:xfrm>
      </p:grpSpPr>
      <p:sp>
        <p:nvSpPr>
          <p:cNvPr id="16367" name="Google Shape;16367;p139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368" name="Google Shape;16368;p1398"/>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369" name="Google Shape;16369;p1398"/>
          <p:cNvGrpSpPr/>
          <p:nvPr/>
        </p:nvGrpSpPr>
        <p:grpSpPr>
          <a:xfrm>
            <a:off x="3" y="5379427"/>
            <a:ext cx="2807363" cy="753895"/>
            <a:chOff x="0" y="5379424"/>
            <a:chExt cx="2807363" cy="753895"/>
          </a:xfrm>
        </p:grpSpPr>
        <p:sp>
          <p:nvSpPr>
            <p:cNvPr id="16370" name="Google Shape;16370;p139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1" name="Google Shape;16371;p139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372" name="Google Shape;16372;p1398"/>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484721449"/>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matchingName="1_Quotation 5">
  <p:cSld name="2_Quotation 5">
    <p:spTree>
      <p:nvGrpSpPr>
        <p:cNvPr id="1" name="Shape 16373"/>
        <p:cNvGrpSpPr/>
        <p:nvPr/>
      </p:nvGrpSpPr>
      <p:grpSpPr>
        <a:xfrm>
          <a:off x="0" y="0"/>
          <a:ext cx="0" cy="0"/>
          <a:chOff x="0" y="0"/>
          <a:chExt cx="0" cy="0"/>
        </a:xfrm>
      </p:grpSpPr>
      <p:sp>
        <p:nvSpPr>
          <p:cNvPr id="16374" name="Google Shape;16374;p139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5" name="Google Shape;16375;p13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6" name="Google Shape;16376;p139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77" name="Google Shape;16377;p139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78" name="Google Shape;16378;p1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79" name="Google Shape;16379;p139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80" name="Google Shape;16380;p1399"/>
          <p:cNvGrpSpPr/>
          <p:nvPr/>
        </p:nvGrpSpPr>
        <p:grpSpPr>
          <a:xfrm>
            <a:off x="7191545" y="0"/>
            <a:ext cx="5000460" cy="1425988"/>
            <a:chOff x="7191545" y="0"/>
            <a:chExt cx="5000460" cy="1425988"/>
          </a:xfrm>
        </p:grpSpPr>
        <p:pic>
          <p:nvPicPr>
            <p:cNvPr id="16381" name="Google Shape;16381;p1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82" name="Google Shape;16382;p1399"/>
            <p:cNvGrpSpPr/>
            <p:nvPr/>
          </p:nvGrpSpPr>
          <p:grpSpPr>
            <a:xfrm>
              <a:off x="7191545" y="0"/>
              <a:ext cx="5000460" cy="1425988"/>
              <a:chOff x="7191545" y="0"/>
              <a:chExt cx="5000460" cy="1425988"/>
            </a:xfrm>
          </p:grpSpPr>
          <p:sp>
            <p:nvSpPr>
              <p:cNvPr id="16383" name="Google Shape;16383;p1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84" name="Google Shape;16384;p1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85" name="Google Shape;16385;p139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994176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5"/>
        <p:cNvGrpSpPr/>
        <p:nvPr/>
      </p:nvGrpSpPr>
      <p:grpSpPr>
        <a:xfrm>
          <a:off x="0" y="0"/>
          <a:ext cx="0" cy="0"/>
          <a:chOff x="0" y="0"/>
          <a:chExt cx="0" cy="0"/>
        </a:xfrm>
      </p:grpSpPr>
      <p:grpSp>
        <p:nvGrpSpPr>
          <p:cNvPr id="36" name="Google Shape;36;p4"/>
          <p:cNvGrpSpPr/>
          <p:nvPr/>
        </p:nvGrpSpPr>
        <p:grpSpPr>
          <a:xfrm>
            <a:off x="0" y="5020347"/>
            <a:ext cx="12192000" cy="1837653"/>
            <a:chOff x="0" y="5020347"/>
            <a:chExt cx="12192000" cy="1837653"/>
          </a:xfrm>
        </p:grpSpPr>
        <p:sp>
          <p:nvSpPr>
            <p:cNvPr id="37" name="Google Shape;37;p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38;p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 name="Google Shape;39;p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 name="Google Shape;40;p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 name="Google Shape;41;p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25"/>
        <p:cNvGrpSpPr/>
        <p:nvPr/>
      </p:nvGrpSpPr>
      <p:grpSpPr>
        <a:xfrm>
          <a:off x="0" y="0"/>
          <a:ext cx="0" cy="0"/>
          <a:chOff x="0" y="0"/>
          <a:chExt cx="0" cy="0"/>
        </a:xfrm>
      </p:grpSpPr>
      <p:grpSp>
        <p:nvGrpSpPr>
          <p:cNvPr id="126" name="Google Shape;126;p13"/>
          <p:cNvGrpSpPr/>
          <p:nvPr/>
        </p:nvGrpSpPr>
        <p:grpSpPr>
          <a:xfrm>
            <a:off x="7191542" y="1"/>
            <a:ext cx="5000459" cy="1425992"/>
            <a:chOff x="7191542" y="1"/>
            <a:chExt cx="5000459" cy="1425992"/>
          </a:xfrm>
        </p:grpSpPr>
        <p:pic>
          <p:nvPicPr>
            <p:cNvPr id="127" name="Google Shape;127;p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 name="Google Shape;128;p13"/>
            <p:cNvGrpSpPr/>
            <p:nvPr/>
          </p:nvGrpSpPr>
          <p:grpSpPr>
            <a:xfrm>
              <a:off x="7191542" y="1"/>
              <a:ext cx="5000459" cy="1425992"/>
              <a:chOff x="7186272" y="0"/>
              <a:chExt cx="5005729" cy="1427495"/>
            </a:xfrm>
          </p:grpSpPr>
          <p:sp>
            <p:nvSpPr>
              <p:cNvPr id="129" name="Google Shape;129;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130;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1" name="Google Shape;131;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4" name="Google Shape;134;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 name="Google Shape;135;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5999687"/>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matchingName="1_Quotation 6">
  <p:cSld name="2_Quotation 6">
    <p:spTree>
      <p:nvGrpSpPr>
        <p:cNvPr id="1" name="Shape 16386"/>
        <p:cNvGrpSpPr/>
        <p:nvPr/>
      </p:nvGrpSpPr>
      <p:grpSpPr>
        <a:xfrm>
          <a:off x="0" y="0"/>
          <a:ext cx="0" cy="0"/>
          <a:chOff x="0" y="0"/>
          <a:chExt cx="0" cy="0"/>
        </a:xfrm>
      </p:grpSpPr>
      <p:sp>
        <p:nvSpPr>
          <p:cNvPr id="16387" name="Google Shape;16387;p14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88" name="Google Shape;16388;p14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89" name="Google Shape;16389;p1400"/>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390" name="Google Shape;16390;p140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91" name="Google Shape;16391;p1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92" name="Google Shape;16392;p140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93" name="Google Shape;16393;p1400"/>
          <p:cNvGrpSpPr/>
          <p:nvPr/>
        </p:nvGrpSpPr>
        <p:grpSpPr>
          <a:xfrm>
            <a:off x="7191545" y="0"/>
            <a:ext cx="5000460" cy="1425988"/>
            <a:chOff x="7191545" y="0"/>
            <a:chExt cx="5000460" cy="1425988"/>
          </a:xfrm>
        </p:grpSpPr>
        <p:pic>
          <p:nvPicPr>
            <p:cNvPr id="16394" name="Google Shape;16394;p1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95" name="Google Shape;16395;p1400"/>
            <p:cNvGrpSpPr/>
            <p:nvPr/>
          </p:nvGrpSpPr>
          <p:grpSpPr>
            <a:xfrm>
              <a:off x="7191545" y="0"/>
              <a:ext cx="5000460" cy="1425988"/>
              <a:chOff x="7191545" y="0"/>
              <a:chExt cx="5000460" cy="1425988"/>
            </a:xfrm>
          </p:grpSpPr>
          <p:sp>
            <p:nvSpPr>
              <p:cNvPr id="16396" name="Google Shape;16396;p1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97" name="Google Shape;16397;p1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98" name="Google Shape;16398;p1400"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866930027"/>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matchingName="1_Two Content 4">
  <p:cSld name="2_Two Content 4">
    <p:spTree>
      <p:nvGrpSpPr>
        <p:cNvPr id="1" name="Shape 16399"/>
        <p:cNvGrpSpPr/>
        <p:nvPr/>
      </p:nvGrpSpPr>
      <p:grpSpPr>
        <a:xfrm>
          <a:off x="0" y="0"/>
          <a:ext cx="0" cy="0"/>
          <a:chOff x="0" y="0"/>
          <a:chExt cx="0" cy="0"/>
        </a:xfrm>
      </p:grpSpPr>
      <p:sp>
        <p:nvSpPr>
          <p:cNvPr id="16400" name="Google Shape;16400;p140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01" name="Google Shape;16401;p1401"/>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6402" name="Google Shape;16402;p1401"/>
          <p:cNvGrpSpPr/>
          <p:nvPr/>
        </p:nvGrpSpPr>
        <p:grpSpPr>
          <a:xfrm>
            <a:off x="7191545" y="0"/>
            <a:ext cx="5000460" cy="1425988"/>
            <a:chOff x="7191545" y="0"/>
            <a:chExt cx="5000460" cy="1425988"/>
          </a:xfrm>
        </p:grpSpPr>
        <p:pic>
          <p:nvPicPr>
            <p:cNvPr id="16403" name="Google Shape;16403;p1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04" name="Google Shape;16404;p1401"/>
            <p:cNvGrpSpPr/>
            <p:nvPr/>
          </p:nvGrpSpPr>
          <p:grpSpPr>
            <a:xfrm>
              <a:off x="7191545" y="0"/>
              <a:ext cx="5000460" cy="1425988"/>
              <a:chOff x="7191545" y="0"/>
              <a:chExt cx="5000460" cy="1425988"/>
            </a:xfrm>
          </p:grpSpPr>
          <p:sp>
            <p:nvSpPr>
              <p:cNvPr id="16405" name="Google Shape;16405;p1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06" name="Google Shape;16406;p1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07" name="Google Shape;16407;p1401"/>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08" name="Google Shape;16408;p1401"/>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09" name="Google Shape;16409;p1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10" name="Google Shape;16410;p140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86775646"/>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matchingName="1_Comparison 3">
  <p:cSld name="2_Comparison 3">
    <p:spTree>
      <p:nvGrpSpPr>
        <p:cNvPr id="1" name="Shape 16411"/>
        <p:cNvGrpSpPr/>
        <p:nvPr/>
      </p:nvGrpSpPr>
      <p:grpSpPr>
        <a:xfrm>
          <a:off x="0" y="0"/>
          <a:ext cx="0" cy="0"/>
          <a:chOff x="0" y="0"/>
          <a:chExt cx="0" cy="0"/>
        </a:xfrm>
      </p:grpSpPr>
      <p:grpSp>
        <p:nvGrpSpPr>
          <p:cNvPr id="16412" name="Google Shape;16412;p1402"/>
          <p:cNvGrpSpPr/>
          <p:nvPr/>
        </p:nvGrpSpPr>
        <p:grpSpPr>
          <a:xfrm>
            <a:off x="7191545" y="0"/>
            <a:ext cx="5000460" cy="1425988"/>
            <a:chOff x="7191545" y="0"/>
            <a:chExt cx="5000460" cy="1425988"/>
          </a:xfrm>
        </p:grpSpPr>
        <p:pic>
          <p:nvPicPr>
            <p:cNvPr id="16413" name="Google Shape;16413;p1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14" name="Google Shape;16414;p1402"/>
            <p:cNvGrpSpPr/>
            <p:nvPr/>
          </p:nvGrpSpPr>
          <p:grpSpPr>
            <a:xfrm>
              <a:off x="7191545" y="0"/>
              <a:ext cx="5000460" cy="1425988"/>
              <a:chOff x="7191545" y="0"/>
              <a:chExt cx="5000460" cy="1425988"/>
            </a:xfrm>
          </p:grpSpPr>
          <p:sp>
            <p:nvSpPr>
              <p:cNvPr id="16415" name="Google Shape;16415;p1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16" name="Google Shape;16416;p1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17" name="Google Shape;16417;p140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18" name="Google Shape;16418;p140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19" name="Google Shape;16419;p1402"/>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20" name="Google Shape;16420;p1402"/>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21" name="Google Shape;16421;p1402"/>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22" name="Google Shape;16422;p140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23" name="Google Shape;16423;p1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24" name="Google Shape;16424;p140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81320864"/>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matchingName="1_End 3">
  <p:cSld name="2_End 3">
    <p:spTree>
      <p:nvGrpSpPr>
        <p:cNvPr id="1" name="Shape 16435"/>
        <p:cNvGrpSpPr/>
        <p:nvPr/>
      </p:nvGrpSpPr>
      <p:grpSpPr>
        <a:xfrm>
          <a:off x="0" y="0"/>
          <a:ext cx="0" cy="0"/>
          <a:chOff x="0" y="0"/>
          <a:chExt cx="0" cy="0"/>
        </a:xfrm>
      </p:grpSpPr>
      <p:grpSp>
        <p:nvGrpSpPr>
          <p:cNvPr id="16436" name="Google Shape;16436;p1404"/>
          <p:cNvGrpSpPr/>
          <p:nvPr/>
        </p:nvGrpSpPr>
        <p:grpSpPr>
          <a:xfrm>
            <a:off x="0" y="0"/>
            <a:ext cx="12191996" cy="2148830"/>
            <a:chOff x="0" y="0"/>
            <a:chExt cx="12191996" cy="2148830"/>
          </a:xfrm>
        </p:grpSpPr>
        <p:sp>
          <p:nvSpPr>
            <p:cNvPr id="16437" name="Google Shape;16437;p140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38" name="Google Shape;16438;p140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439" name="Google Shape;16439;p1404"/>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40" name="Google Shape;16440;p1404"/>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41" name="Google Shape;16441;p140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442" name="Google Shape;16442;p140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884919769"/>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matchingName="Photo Slide 6">
  <p:cSld name="1_Photo Slide 6">
    <p:spTree>
      <p:nvGrpSpPr>
        <p:cNvPr id="1" name="Shape 16460"/>
        <p:cNvGrpSpPr/>
        <p:nvPr/>
      </p:nvGrpSpPr>
      <p:grpSpPr>
        <a:xfrm>
          <a:off x="0" y="0"/>
          <a:ext cx="0" cy="0"/>
          <a:chOff x="0" y="0"/>
          <a:chExt cx="0" cy="0"/>
        </a:xfrm>
      </p:grpSpPr>
      <p:sp>
        <p:nvSpPr>
          <p:cNvPr id="16461" name="Google Shape;16461;p140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462" name="Google Shape;16462;p1407"/>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463" name="Google Shape;16463;p1407"/>
          <p:cNvGrpSpPr/>
          <p:nvPr/>
        </p:nvGrpSpPr>
        <p:grpSpPr>
          <a:xfrm>
            <a:off x="3" y="5379427"/>
            <a:ext cx="2807363" cy="753895"/>
            <a:chOff x="0" y="5379424"/>
            <a:chExt cx="2807363" cy="753895"/>
          </a:xfrm>
        </p:grpSpPr>
        <p:sp>
          <p:nvSpPr>
            <p:cNvPr id="16464" name="Google Shape;16464;p140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65" name="Google Shape;16465;p140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466" name="Google Shape;16466;p1407"/>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775671570"/>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matchingName="Title and Content 9">
  <p:cSld name="1_Title and Content 9">
    <p:spTree>
      <p:nvGrpSpPr>
        <p:cNvPr id="1" name="Shape 16475"/>
        <p:cNvGrpSpPr/>
        <p:nvPr/>
      </p:nvGrpSpPr>
      <p:grpSpPr>
        <a:xfrm>
          <a:off x="0" y="0"/>
          <a:ext cx="0" cy="0"/>
          <a:chOff x="0" y="0"/>
          <a:chExt cx="0" cy="0"/>
        </a:xfrm>
      </p:grpSpPr>
      <p:grpSp>
        <p:nvGrpSpPr>
          <p:cNvPr id="16476" name="Google Shape;16476;p1409"/>
          <p:cNvGrpSpPr/>
          <p:nvPr/>
        </p:nvGrpSpPr>
        <p:grpSpPr>
          <a:xfrm>
            <a:off x="7191545" y="0"/>
            <a:ext cx="5000460" cy="1425988"/>
            <a:chOff x="7191545" y="0"/>
            <a:chExt cx="5000460" cy="1425988"/>
          </a:xfrm>
        </p:grpSpPr>
        <p:pic>
          <p:nvPicPr>
            <p:cNvPr id="16477" name="Google Shape;16477;p1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78" name="Google Shape;16478;p1409"/>
            <p:cNvGrpSpPr/>
            <p:nvPr/>
          </p:nvGrpSpPr>
          <p:grpSpPr>
            <a:xfrm>
              <a:off x="7191545" y="0"/>
              <a:ext cx="5000460" cy="1425988"/>
              <a:chOff x="7191545" y="0"/>
              <a:chExt cx="5000460" cy="1425988"/>
            </a:xfrm>
          </p:grpSpPr>
          <p:sp>
            <p:nvSpPr>
              <p:cNvPr id="16479" name="Google Shape;16479;p1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80" name="Google Shape;16480;p1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81" name="Google Shape;16481;p140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2" name="Google Shape;16482;p140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83" name="Google Shape;16483;p140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84" name="Google Shape;16484;p1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85" name="Google Shape;16485;p140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63338105"/>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matchingName="Two Content 5">
  <p:cSld name="1_Two Content 5">
    <p:spTree>
      <p:nvGrpSpPr>
        <p:cNvPr id="1" name="Shape 16486"/>
        <p:cNvGrpSpPr/>
        <p:nvPr/>
      </p:nvGrpSpPr>
      <p:grpSpPr>
        <a:xfrm>
          <a:off x="0" y="0"/>
          <a:ext cx="0" cy="0"/>
          <a:chOff x="0" y="0"/>
          <a:chExt cx="0" cy="0"/>
        </a:xfrm>
      </p:grpSpPr>
      <p:sp>
        <p:nvSpPr>
          <p:cNvPr id="16487" name="Google Shape;16487;p141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8" name="Google Shape;16488;p1410"/>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6489" name="Google Shape;16489;p1410"/>
          <p:cNvGrpSpPr/>
          <p:nvPr/>
        </p:nvGrpSpPr>
        <p:grpSpPr>
          <a:xfrm>
            <a:off x="7191545" y="0"/>
            <a:ext cx="5000460" cy="1425988"/>
            <a:chOff x="7191545" y="0"/>
            <a:chExt cx="5000460" cy="1425988"/>
          </a:xfrm>
        </p:grpSpPr>
        <p:pic>
          <p:nvPicPr>
            <p:cNvPr id="16490" name="Google Shape;16490;p1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91" name="Google Shape;16491;p1410"/>
            <p:cNvGrpSpPr/>
            <p:nvPr/>
          </p:nvGrpSpPr>
          <p:grpSpPr>
            <a:xfrm>
              <a:off x="7191545" y="0"/>
              <a:ext cx="5000460" cy="1425988"/>
              <a:chOff x="7191545" y="0"/>
              <a:chExt cx="5000460" cy="1425988"/>
            </a:xfrm>
          </p:grpSpPr>
          <p:sp>
            <p:nvSpPr>
              <p:cNvPr id="16492" name="Google Shape;16492;p1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93" name="Google Shape;16493;p1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94" name="Google Shape;16494;p1410"/>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495" name="Google Shape;16495;p1410"/>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96" name="Google Shape;16496;p1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97" name="Google Shape;16497;p141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69342759"/>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matchingName="Comparison 4">
  <p:cSld name="1_Comparison 4">
    <p:spTree>
      <p:nvGrpSpPr>
        <p:cNvPr id="1" name="Shape 16498"/>
        <p:cNvGrpSpPr/>
        <p:nvPr/>
      </p:nvGrpSpPr>
      <p:grpSpPr>
        <a:xfrm>
          <a:off x="0" y="0"/>
          <a:ext cx="0" cy="0"/>
          <a:chOff x="0" y="0"/>
          <a:chExt cx="0" cy="0"/>
        </a:xfrm>
      </p:grpSpPr>
      <p:grpSp>
        <p:nvGrpSpPr>
          <p:cNvPr id="16499" name="Google Shape;16499;p1411"/>
          <p:cNvGrpSpPr/>
          <p:nvPr/>
        </p:nvGrpSpPr>
        <p:grpSpPr>
          <a:xfrm>
            <a:off x="7191545" y="0"/>
            <a:ext cx="5000460" cy="1425988"/>
            <a:chOff x="7191545" y="0"/>
            <a:chExt cx="5000460" cy="1425988"/>
          </a:xfrm>
        </p:grpSpPr>
        <p:pic>
          <p:nvPicPr>
            <p:cNvPr id="16500" name="Google Shape;16500;p1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01" name="Google Shape;16501;p1411"/>
            <p:cNvGrpSpPr/>
            <p:nvPr/>
          </p:nvGrpSpPr>
          <p:grpSpPr>
            <a:xfrm>
              <a:off x="7191545" y="0"/>
              <a:ext cx="5000460" cy="1425988"/>
              <a:chOff x="7191545" y="0"/>
              <a:chExt cx="5000460" cy="1425988"/>
            </a:xfrm>
          </p:grpSpPr>
          <p:sp>
            <p:nvSpPr>
              <p:cNvPr id="16502" name="Google Shape;16502;p1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03" name="Google Shape;16503;p1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504" name="Google Shape;16504;p141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05" name="Google Shape;16505;p141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06" name="Google Shape;16506;p1411"/>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07" name="Google Shape;16507;p1411"/>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08" name="Google Shape;16508;p1411"/>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09" name="Google Shape;16509;p141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0" name="Google Shape;16510;p1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1" name="Google Shape;16511;p141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80065042"/>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matchingName="Quotation 7">
  <p:cSld name="2_Quotation 7">
    <p:spTree>
      <p:nvGrpSpPr>
        <p:cNvPr id="1" name="Shape 16512"/>
        <p:cNvGrpSpPr/>
        <p:nvPr/>
      </p:nvGrpSpPr>
      <p:grpSpPr>
        <a:xfrm>
          <a:off x="0" y="0"/>
          <a:ext cx="0" cy="0"/>
          <a:chOff x="0" y="0"/>
          <a:chExt cx="0" cy="0"/>
        </a:xfrm>
      </p:grpSpPr>
      <p:sp>
        <p:nvSpPr>
          <p:cNvPr id="16513" name="Google Shape;16513;p141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14" name="Google Shape;16514;p14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5" name="Google Shape;16515;p1412"/>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16" name="Google Shape;16516;p141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7" name="Google Shape;16517;p1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8" name="Google Shape;16518;p141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19" name="Google Shape;16519;p1412"/>
          <p:cNvGrpSpPr/>
          <p:nvPr/>
        </p:nvGrpSpPr>
        <p:grpSpPr>
          <a:xfrm>
            <a:off x="7191545" y="0"/>
            <a:ext cx="5000460" cy="1425988"/>
            <a:chOff x="7191545" y="0"/>
            <a:chExt cx="5000460" cy="1425988"/>
          </a:xfrm>
        </p:grpSpPr>
        <p:pic>
          <p:nvPicPr>
            <p:cNvPr id="16520" name="Google Shape;16520;p1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21" name="Google Shape;16521;p1412"/>
            <p:cNvGrpSpPr/>
            <p:nvPr/>
          </p:nvGrpSpPr>
          <p:grpSpPr>
            <a:xfrm>
              <a:off x="7191545" y="0"/>
              <a:ext cx="5000460" cy="1425988"/>
              <a:chOff x="7191545" y="0"/>
              <a:chExt cx="5000460" cy="1425988"/>
            </a:xfrm>
          </p:grpSpPr>
          <p:sp>
            <p:nvSpPr>
              <p:cNvPr id="16522" name="Google Shape;16522;p1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23" name="Google Shape;16523;p1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24" name="Google Shape;16524;p1412"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826405085"/>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matchingName="1_Quotation 7">
  <p:cSld name="2_Quotation 7">
    <p:spTree>
      <p:nvGrpSpPr>
        <p:cNvPr id="1" name="Shape 16525"/>
        <p:cNvGrpSpPr/>
        <p:nvPr/>
      </p:nvGrpSpPr>
      <p:grpSpPr>
        <a:xfrm>
          <a:off x="0" y="0"/>
          <a:ext cx="0" cy="0"/>
          <a:chOff x="0" y="0"/>
          <a:chExt cx="0" cy="0"/>
        </a:xfrm>
      </p:grpSpPr>
      <p:sp>
        <p:nvSpPr>
          <p:cNvPr id="16526" name="Google Shape;16526;p141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27" name="Google Shape;16527;p141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28" name="Google Shape;16528;p1413"/>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29" name="Google Shape;16529;p141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30" name="Google Shape;16530;p1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31" name="Google Shape;16531;p141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32" name="Google Shape;16532;p1413"/>
          <p:cNvGrpSpPr/>
          <p:nvPr/>
        </p:nvGrpSpPr>
        <p:grpSpPr>
          <a:xfrm>
            <a:off x="7191545" y="0"/>
            <a:ext cx="5000460" cy="1425988"/>
            <a:chOff x="7191545" y="0"/>
            <a:chExt cx="5000460" cy="1425988"/>
          </a:xfrm>
        </p:grpSpPr>
        <p:pic>
          <p:nvPicPr>
            <p:cNvPr id="16533" name="Google Shape;16533;p1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34" name="Google Shape;16534;p1413"/>
            <p:cNvGrpSpPr/>
            <p:nvPr/>
          </p:nvGrpSpPr>
          <p:grpSpPr>
            <a:xfrm>
              <a:off x="7191545" y="0"/>
              <a:ext cx="5000460" cy="1425988"/>
              <a:chOff x="7191545" y="0"/>
              <a:chExt cx="5000460" cy="1425988"/>
            </a:xfrm>
          </p:grpSpPr>
          <p:sp>
            <p:nvSpPr>
              <p:cNvPr id="16535" name="Google Shape;16535;p1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36" name="Google Shape;16536;p1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37" name="Google Shape;16537;p1413"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6516840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36"/>
        <p:cNvGrpSpPr/>
        <p:nvPr/>
      </p:nvGrpSpPr>
      <p:grpSpPr>
        <a:xfrm>
          <a:off x="0" y="0"/>
          <a:ext cx="0" cy="0"/>
          <a:chOff x="0" y="0"/>
          <a:chExt cx="0" cy="0"/>
        </a:xfrm>
      </p:grpSpPr>
      <p:sp>
        <p:nvSpPr>
          <p:cNvPr id="137" name="Google Shape;137;p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 name="Google Shape;139;p14"/>
          <p:cNvGrpSpPr/>
          <p:nvPr/>
        </p:nvGrpSpPr>
        <p:grpSpPr>
          <a:xfrm>
            <a:off x="7191542" y="1"/>
            <a:ext cx="5000459" cy="1425992"/>
            <a:chOff x="7191542" y="1"/>
            <a:chExt cx="5000459" cy="1425992"/>
          </a:xfrm>
        </p:grpSpPr>
        <p:pic>
          <p:nvPicPr>
            <p:cNvPr id="140" name="Google Shape;140;p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 name="Google Shape;141;p14"/>
            <p:cNvGrpSpPr/>
            <p:nvPr/>
          </p:nvGrpSpPr>
          <p:grpSpPr>
            <a:xfrm>
              <a:off x="7191542" y="1"/>
              <a:ext cx="5000459" cy="1425992"/>
              <a:chOff x="7186272" y="0"/>
              <a:chExt cx="5005729" cy="1427495"/>
            </a:xfrm>
          </p:grpSpPr>
          <p:sp>
            <p:nvSpPr>
              <p:cNvPr id="142" name="Google Shape;142;p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 name="Google Shape;144;p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 name="Google Shape;146;p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 name="Google Shape;147;p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613206"/>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matchingName="End 4">
  <p:cSld name="1_End 4">
    <p:spTree>
      <p:nvGrpSpPr>
        <p:cNvPr id="1" name="Shape 16538"/>
        <p:cNvGrpSpPr/>
        <p:nvPr/>
      </p:nvGrpSpPr>
      <p:grpSpPr>
        <a:xfrm>
          <a:off x="0" y="0"/>
          <a:ext cx="0" cy="0"/>
          <a:chOff x="0" y="0"/>
          <a:chExt cx="0" cy="0"/>
        </a:xfrm>
      </p:grpSpPr>
      <p:grpSp>
        <p:nvGrpSpPr>
          <p:cNvPr id="16539" name="Google Shape;16539;p1414"/>
          <p:cNvGrpSpPr/>
          <p:nvPr/>
        </p:nvGrpSpPr>
        <p:grpSpPr>
          <a:xfrm>
            <a:off x="0" y="0"/>
            <a:ext cx="12191996" cy="2148830"/>
            <a:chOff x="0" y="0"/>
            <a:chExt cx="12191996" cy="2148830"/>
          </a:xfrm>
        </p:grpSpPr>
        <p:sp>
          <p:nvSpPr>
            <p:cNvPr id="16540" name="Google Shape;16540;p1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41" name="Google Shape;16541;p1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42" name="Google Shape;16542;p1414"/>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43" name="Google Shape;16543;p1414"/>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44" name="Google Shape;16544;p141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45" name="Google Shape;16545;p1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933346346"/>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matchingName="End 5">
  <p:cSld name="1_End 5">
    <p:spTree>
      <p:nvGrpSpPr>
        <p:cNvPr id="1" name="Shape 16556"/>
        <p:cNvGrpSpPr/>
        <p:nvPr/>
      </p:nvGrpSpPr>
      <p:grpSpPr>
        <a:xfrm>
          <a:off x="0" y="0"/>
          <a:ext cx="0" cy="0"/>
          <a:chOff x="0" y="0"/>
          <a:chExt cx="0" cy="0"/>
        </a:xfrm>
      </p:grpSpPr>
      <p:grpSp>
        <p:nvGrpSpPr>
          <p:cNvPr id="16557" name="Google Shape;16557;p1416"/>
          <p:cNvGrpSpPr/>
          <p:nvPr/>
        </p:nvGrpSpPr>
        <p:grpSpPr>
          <a:xfrm>
            <a:off x="0" y="0"/>
            <a:ext cx="12191996" cy="2148830"/>
            <a:chOff x="0" y="0"/>
            <a:chExt cx="12191996" cy="2148830"/>
          </a:xfrm>
        </p:grpSpPr>
        <p:sp>
          <p:nvSpPr>
            <p:cNvPr id="16558" name="Google Shape;16558;p141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59" name="Google Shape;16559;p141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60" name="Google Shape;16560;p1416"/>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61" name="Google Shape;16561;p1416"/>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62" name="Google Shape;16562;p141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63" name="Google Shape;16563;p141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23227567"/>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matchingName="Quotation 8">
  <p:cSld name="2_Quotation 8">
    <p:spTree>
      <p:nvGrpSpPr>
        <p:cNvPr id="1" name="Shape 16573"/>
        <p:cNvGrpSpPr/>
        <p:nvPr/>
      </p:nvGrpSpPr>
      <p:grpSpPr>
        <a:xfrm>
          <a:off x="0" y="0"/>
          <a:ext cx="0" cy="0"/>
          <a:chOff x="0" y="0"/>
          <a:chExt cx="0" cy="0"/>
        </a:xfrm>
      </p:grpSpPr>
      <p:sp>
        <p:nvSpPr>
          <p:cNvPr id="16574" name="Google Shape;16574;p141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75" name="Google Shape;16575;p141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76" name="Google Shape;16576;p141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77" name="Google Shape;16577;p141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78" name="Google Shape;16578;p141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79" name="Google Shape;16579;p141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80" name="Google Shape;16580;p1418"/>
          <p:cNvGrpSpPr/>
          <p:nvPr/>
        </p:nvGrpSpPr>
        <p:grpSpPr>
          <a:xfrm>
            <a:off x="7191545" y="0"/>
            <a:ext cx="5000460" cy="1425988"/>
            <a:chOff x="7191545" y="0"/>
            <a:chExt cx="5000460" cy="1425988"/>
          </a:xfrm>
        </p:grpSpPr>
        <p:pic>
          <p:nvPicPr>
            <p:cNvPr id="16581" name="Google Shape;16581;p141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82" name="Google Shape;16582;p1418"/>
            <p:cNvGrpSpPr/>
            <p:nvPr/>
          </p:nvGrpSpPr>
          <p:grpSpPr>
            <a:xfrm>
              <a:off x="7191545" y="0"/>
              <a:ext cx="5000460" cy="1425988"/>
              <a:chOff x="7191545" y="0"/>
              <a:chExt cx="5000460" cy="1425988"/>
            </a:xfrm>
          </p:grpSpPr>
          <p:sp>
            <p:nvSpPr>
              <p:cNvPr id="16583" name="Google Shape;16583;p141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84" name="Google Shape;16584;p141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85" name="Google Shape;16585;p141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114727599"/>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matchingName="1_Quotation 8">
  <p:cSld name="2_Quotation 8">
    <p:spTree>
      <p:nvGrpSpPr>
        <p:cNvPr id="1" name="Shape 16586"/>
        <p:cNvGrpSpPr/>
        <p:nvPr/>
      </p:nvGrpSpPr>
      <p:grpSpPr>
        <a:xfrm>
          <a:off x="0" y="0"/>
          <a:ext cx="0" cy="0"/>
          <a:chOff x="0" y="0"/>
          <a:chExt cx="0" cy="0"/>
        </a:xfrm>
      </p:grpSpPr>
      <p:sp>
        <p:nvSpPr>
          <p:cNvPr id="16587" name="Google Shape;16587;p141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88" name="Google Shape;16588;p141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89" name="Google Shape;16589;p141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590" name="Google Shape;16590;p141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91" name="Google Shape;16591;p141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92" name="Google Shape;16592;p141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93" name="Google Shape;16593;p1419"/>
          <p:cNvGrpSpPr/>
          <p:nvPr/>
        </p:nvGrpSpPr>
        <p:grpSpPr>
          <a:xfrm>
            <a:off x="7191545" y="0"/>
            <a:ext cx="5000460" cy="1425988"/>
            <a:chOff x="7191545" y="0"/>
            <a:chExt cx="5000460" cy="1425988"/>
          </a:xfrm>
        </p:grpSpPr>
        <p:pic>
          <p:nvPicPr>
            <p:cNvPr id="16594" name="Google Shape;16594;p141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95" name="Google Shape;16595;p1419"/>
            <p:cNvGrpSpPr/>
            <p:nvPr/>
          </p:nvGrpSpPr>
          <p:grpSpPr>
            <a:xfrm>
              <a:off x="7191545" y="0"/>
              <a:ext cx="5000460" cy="1425988"/>
              <a:chOff x="7191545" y="0"/>
              <a:chExt cx="5000460" cy="1425988"/>
            </a:xfrm>
          </p:grpSpPr>
          <p:sp>
            <p:nvSpPr>
              <p:cNvPr id="16596" name="Google Shape;16596;p141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97" name="Google Shape;16597;p141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98" name="Google Shape;16598;p141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824319943"/>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matchingName="Photo Slide 7">
  <p:cSld name="1_Photo Slide 7">
    <p:spTree>
      <p:nvGrpSpPr>
        <p:cNvPr id="1" name="Shape 16615"/>
        <p:cNvGrpSpPr/>
        <p:nvPr/>
      </p:nvGrpSpPr>
      <p:grpSpPr>
        <a:xfrm>
          <a:off x="0" y="0"/>
          <a:ext cx="0" cy="0"/>
          <a:chOff x="0" y="0"/>
          <a:chExt cx="0" cy="0"/>
        </a:xfrm>
      </p:grpSpPr>
      <p:sp>
        <p:nvSpPr>
          <p:cNvPr id="16616" name="Google Shape;16616;p142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617" name="Google Shape;16617;p1422"/>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618" name="Google Shape;16618;p1422"/>
          <p:cNvGrpSpPr/>
          <p:nvPr/>
        </p:nvGrpSpPr>
        <p:grpSpPr>
          <a:xfrm>
            <a:off x="3" y="5379427"/>
            <a:ext cx="2807363" cy="753895"/>
            <a:chOff x="0" y="5379424"/>
            <a:chExt cx="2807363" cy="753895"/>
          </a:xfrm>
        </p:grpSpPr>
        <p:sp>
          <p:nvSpPr>
            <p:cNvPr id="16619" name="Google Shape;16619;p142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0" name="Google Shape;16620;p142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621" name="Google Shape;16621;p1422"/>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2510364170"/>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matchingName="Quotation 9">
  <p:cSld name="2_Quotation 9">
    <p:spTree>
      <p:nvGrpSpPr>
        <p:cNvPr id="1" name="Shape 16622"/>
        <p:cNvGrpSpPr/>
        <p:nvPr/>
      </p:nvGrpSpPr>
      <p:grpSpPr>
        <a:xfrm>
          <a:off x="0" y="0"/>
          <a:ext cx="0" cy="0"/>
          <a:chOff x="0" y="0"/>
          <a:chExt cx="0" cy="0"/>
        </a:xfrm>
      </p:grpSpPr>
      <p:sp>
        <p:nvSpPr>
          <p:cNvPr id="16623" name="Google Shape;16623;p142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4" name="Google Shape;16624;p14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25" name="Google Shape;16625;p1423"/>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626" name="Google Shape;16626;p142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27" name="Google Shape;16627;p1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28" name="Google Shape;16628;p142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29" name="Google Shape;16629;p1423"/>
          <p:cNvGrpSpPr/>
          <p:nvPr/>
        </p:nvGrpSpPr>
        <p:grpSpPr>
          <a:xfrm>
            <a:off x="7191545" y="0"/>
            <a:ext cx="5000460" cy="1425988"/>
            <a:chOff x="7191545" y="0"/>
            <a:chExt cx="5000460" cy="1425988"/>
          </a:xfrm>
        </p:grpSpPr>
        <p:pic>
          <p:nvPicPr>
            <p:cNvPr id="16630" name="Google Shape;16630;p1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31" name="Google Shape;16631;p1423"/>
            <p:cNvGrpSpPr/>
            <p:nvPr/>
          </p:nvGrpSpPr>
          <p:grpSpPr>
            <a:xfrm>
              <a:off x="7191545" y="0"/>
              <a:ext cx="5000460" cy="1425988"/>
              <a:chOff x="7191545" y="0"/>
              <a:chExt cx="5000460" cy="1425988"/>
            </a:xfrm>
          </p:grpSpPr>
          <p:sp>
            <p:nvSpPr>
              <p:cNvPr id="16632" name="Google Shape;16632;p1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33" name="Google Shape;16633;p1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34" name="Google Shape;16634;p1423"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32922824"/>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matchingName="Quotation 10">
  <p:cSld name="2_Quotation 10">
    <p:spTree>
      <p:nvGrpSpPr>
        <p:cNvPr id="1" name="Shape 16635"/>
        <p:cNvGrpSpPr/>
        <p:nvPr/>
      </p:nvGrpSpPr>
      <p:grpSpPr>
        <a:xfrm>
          <a:off x="0" y="0"/>
          <a:ext cx="0" cy="0"/>
          <a:chOff x="0" y="0"/>
          <a:chExt cx="0" cy="0"/>
        </a:xfrm>
      </p:grpSpPr>
      <p:sp>
        <p:nvSpPr>
          <p:cNvPr id="16636" name="Google Shape;16636;p142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37" name="Google Shape;16637;p142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38" name="Google Shape;16638;p1424"/>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639" name="Google Shape;16639;p142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40" name="Google Shape;16640;p1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41" name="Google Shape;16641;p142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42" name="Google Shape;16642;p1424"/>
          <p:cNvGrpSpPr/>
          <p:nvPr/>
        </p:nvGrpSpPr>
        <p:grpSpPr>
          <a:xfrm>
            <a:off x="7191545" y="0"/>
            <a:ext cx="5000460" cy="1425988"/>
            <a:chOff x="7191545" y="0"/>
            <a:chExt cx="5000460" cy="1425988"/>
          </a:xfrm>
        </p:grpSpPr>
        <p:pic>
          <p:nvPicPr>
            <p:cNvPr id="16643" name="Google Shape;16643;p1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44" name="Google Shape;16644;p1424"/>
            <p:cNvGrpSpPr/>
            <p:nvPr/>
          </p:nvGrpSpPr>
          <p:grpSpPr>
            <a:xfrm>
              <a:off x="7191545" y="0"/>
              <a:ext cx="5000460" cy="1425988"/>
              <a:chOff x="7191545" y="0"/>
              <a:chExt cx="5000460" cy="1425988"/>
            </a:xfrm>
          </p:grpSpPr>
          <p:sp>
            <p:nvSpPr>
              <p:cNvPr id="16645" name="Google Shape;16645;p1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46" name="Google Shape;16646;p1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47" name="Google Shape;16647;p1424"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008145992"/>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matchingName="1_Quotation 9">
  <p:cSld name="2_Quotation 9">
    <p:spTree>
      <p:nvGrpSpPr>
        <p:cNvPr id="1" name="Shape 16648"/>
        <p:cNvGrpSpPr/>
        <p:nvPr/>
      </p:nvGrpSpPr>
      <p:grpSpPr>
        <a:xfrm>
          <a:off x="0" y="0"/>
          <a:ext cx="0" cy="0"/>
          <a:chOff x="0" y="0"/>
          <a:chExt cx="0" cy="0"/>
        </a:xfrm>
      </p:grpSpPr>
      <p:sp>
        <p:nvSpPr>
          <p:cNvPr id="16649" name="Google Shape;16649;p14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50" name="Google Shape;16650;p14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51" name="Google Shape;16651;p142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652" name="Google Shape;16652;p142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53" name="Google Shape;16653;p14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54" name="Google Shape;16654;p142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55" name="Google Shape;16655;p1425"/>
          <p:cNvGrpSpPr/>
          <p:nvPr/>
        </p:nvGrpSpPr>
        <p:grpSpPr>
          <a:xfrm>
            <a:off x="7191545" y="0"/>
            <a:ext cx="5000460" cy="1425988"/>
            <a:chOff x="7191545" y="0"/>
            <a:chExt cx="5000460" cy="1425988"/>
          </a:xfrm>
        </p:grpSpPr>
        <p:pic>
          <p:nvPicPr>
            <p:cNvPr id="16656" name="Google Shape;16656;p14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57" name="Google Shape;16657;p1425"/>
            <p:cNvGrpSpPr/>
            <p:nvPr/>
          </p:nvGrpSpPr>
          <p:grpSpPr>
            <a:xfrm>
              <a:off x="7191545" y="0"/>
              <a:ext cx="5000460" cy="1425988"/>
              <a:chOff x="7191545" y="0"/>
              <a:chExt cx="5000460" cy="1425988"/>
            </a:xfrm>
          </p:grpSpPr>
          <p:sp>
            <p:nvSpPr>
              <p:cNvPr id="16658" name="Google Shape;16658;p14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59" name="Google Shape;16659;p14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60" name="Google Shape;16660;p142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011155418"/>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matchingName="1_Quotation 10">
  <p:cSld name="2_Quotation 10">
    <p:spTree>
      <p:nvGrpSpPr>
        <p:cNvPr id="1" name="Shape 16661"/>
        <p:cNvGrpSpPr/>
        <p:nvPr/>
      </p:nvGrpSpPr>
      <p:grpSpPr>
        <a:xfrm>
          <a:off x="0" y="0"/>
          <a:ext cx="0" cy="0"/>
          <a:chOff x="0" y="0"/>
          <a:chExt cx="0" cy="0"/>
        </a:xfrm>
      </p:grpSpPr>
      <p:sp>
        <p:nvSpPr>
          <p:cNvPr id="16662" name="Google Shape;16662;p14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63" name="Google Shape;16663;p1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64" name="Google Shape;16664;p142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665" name="Google Shape;16665;p142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66" name="Google Shape;16666;p1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67" name="Google Shape;16667;p142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68" name="Google Shape;16668;p1426"/>
          <p:cNvGrpSpPr/>
          <p:nvPr/>
        </p:nvGrpSpPr>
        <p:grpSpPr>
          <a:xfrm>
            <a:off x="7191545" y="0"/>
            <a:ext cx="5000460" cy="1425988"/>
            <a:chOff x="7191545" y="0"/>
            <a:chExt cx="5000460" cy="1425988"/>
          </a:xfrm>
        </p:grpSpPr>
        <p:pic>
          <p:nvPicPr>
            <p:cNvPr id="16669" name="Google Shape;16669;p1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0" name="Google Shape;16670;p1426"/>
            <p:cNvGrpSpPr/>
            <p:nvPr/>
          </p:nvGrpSpPr>
          <p:grpSpPr>
            <a:xfrm>
              <a:off x="7191545" y="0"/>
              <a:ext cx="5000460" cy="1425988"/>
              <a:chOff x="7191545" y="0"/>
              <a:chExt cx="5000460" cy="1425988"/>
            </a:xfrm>
          </p:grpSpPr>
          <p:sp>
            <p:nvSpPr>
              <p:cNvPr id="16671" name="Google Shape;16671;p1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2" name="Google Shape;16672;p1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73" name="Google Shape;16673;p142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82716239"/>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matchingName="Title and Content 10">
  <p:cSld name="1_Title and Content 10">
    <p:spTree>
      <p:nvGrpSpPr>
        <p:cNvPr id="1" name="Shape 16674"/>
        <p:cNvGrpSpPr/>
        <p:nvPr/>
      </p:nvGrpSpPr>
      <p:grpSpPr>
        <a:xfrm>
          <a:off x="0" y="0"/>
          <a:ext cx="0" cy="0"/>
          <a:chOff x="0" y="0"/>
          <a:chExt cx="0" cy="0"/>
        </a:xfrm>
      </p:grpSpPr>
      <p:grpSp>
        <p:nvGrpSpPr>
          <p:cNvPr id="16675" name="Google Shape;16675;p1427"/>
          <p:cNvGrpSpPr/>
          <p:nvPr/>
        </p:nvGrpSpPr>
        <p:grpSpPr>
          <a:xfrm>
            <a:off x="7191545" y="0"/>
            <a:ext cx="5000460" cy="1425988"/>
            <a:chOff x="7191545" y="0"/>
            <a:chExt cx="5000460" cy="1425988"/>
          </a:xfrm>
        </p:grpSpPr>
        <p:pic>
          <p:nvPicPr>
            <p:cNvPr id="16676" name="Google Shape;16676;p1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7" name="Google Shape;16677;p1427"/>
            <p:cNvGrpSpPr/>
            <p:nvPr/>
          </p:nvGrpSpPr>
          <p:grpSpPr>
            <a:xfrm>
              <a:off x="7191545" y="0"/>
              <a:ext cx="5000460" cy="1425988"/>
              <a:chOff x="7191545" y="0"/>
              <a:chExt cx="5000460" cy="1425988"/>
            </a:xfrm>
          </p:grpSpPr>
          <p:sp>
            <p:nvSpPr>
              <p:cNvPr id="16678" name="Google Shape;16678;p1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9" name="Google Shape;16679;p1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80" name="Google Shape;16680;p1427"/>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1" name="Google Shape;16681;p142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682" name="Google Shape;16682;p142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83" name="Google Shape;16683;p1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84" name="Google Shape;16684;p142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737260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162"/>
        <p:cNvGrpSpPr/>
        <p:nvPr/>
      </p:nvGrpSpPr>
      <p:grpSpPr>
        <a:xfrm>
          <a:off x="0" y="0"/>
          <a:ext cx="0" cy="0"/>
          <a:chOff x="0" y="0"/>
          <a:chExt cx="0" cy="0"/>
        </a:xfrm>
      </p:grpSpPr>
      <p:grpSp>
        <p:nvGrpSpPr>
          <p:cNvPr id="163" name="Google Shape;163;p16"/>
          <p:cNvGrpSpPr/>
          <p:nvPr/>
        </p:nvGrpSpPr>
        <p:grpSpPr>
          <a:xfrm>
            <a:off x="7191542" y="1"/>
            <a:ext cx="5000459" cy="1425992"/>
            <a:chOff x="7191542" y="1"/>
            <a:chExt cx="5000459" cy="1425992"/>
          </a:xfrm>
        </p:grpSpPr>
        <p:pic>
          <p:nvPicPr>
            <p:cNvPr id="164" name="Google Shape;164;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 name="Google Shape;165;p16"/>
            <p:cNvGrpSpPr/>
            <p:nvPr/>
          </p:nvGrpSpPr>
          <p:grpSpPr>
            <a:xfrm>
              <a:off x="7191542" y="1"/>
              <a:ext cx="5000459" cy="1425992"/>
              <a:chOff x="7186272" y="0"/>
              <a:chExt cx="5005729" cy="1427495"/>
            </a:xfrm>
          </p:grpSpPr>
          <p:sp>
            <p:nvSpPr>
              <p:cNvPr id="166" name="Google Shape;166;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167;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 name="Google Shape;168;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 name="Google Shape;170;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 name="Google Shape;171;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8491636"/>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matchingName="Two Content 6">
  <p:cSld name="1_Two Content 6">
    <p:spTree>
      <p:nvGrpSpPr>
        <p:cNvPr id="1" name="Shape 16685"/>
        <p:cNvGrpSpPr/>
        <p:nvPr/>
      </p:nvGrpSpPr>
      <p:grpSpPr>
        <a:xfrm>
          <a:off x="0" y="0"/>
          <a:ext cx="0" cy="0"/>
          <a:chOff x="0" y="0"/>
          <a:chExt cx="0" cy="0"/>
        </a:xfrm>
      </p:grpSpPr>
      <p:sp>
        <p:nvSpPr>
          <p:cNvPr id="16686" name="Google Shape;16686;p1428"/>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7" name="Google Shape;16687;p1428"/>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6688" name="Google Shape;16688;p1428"/>
          <p:cNvGrpSpPr/>
          <p:nvPr/>
        </p:nvGrpSpPr>
        <p:grpSpPr>
          <a:xfrm>
            <a:off x="7191545" y="0"/>
            <a:ext cx="5000460" cy="1425988"/>
            <a:chOff x="7191545" y="0"/>
            <a:chExt cx="5000460" cy="1425988"/>
          </a:xfrm>
        </p:grpSpPr>
        <p:pic>
          <p:nvPicPr>
            <p:cNvPr id="16689" name="Google Shape;16689;p1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90" name="Google Shape;16690;p1428"/>
            <p:cNvGrpSpPr/>
            <p:nvPr/>
          </p:nvGrpSpPr>
          <p:grpSpPr>
            <a:xfrm>
              <a:off x="7191545" y="0"/>
              <a:ext cx="5000460" cy="1425988"/>
              <a:chOff x="7191545" y="0"/>
              <a:chExt cx="5000460" cy="1425988"/>
            </a:xfrm>
          </p:grpSpPr>
          <p:sp>
            <p:nvSpPr>
              <p:cNvPr id="16691" name="Google Shape;16691;p1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92" name="Google Shape;16692;p1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93" name="Google Shape;16693;p1428"/>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694" name="Google Shape;16694;p1428"/>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95" name="Google Shape;16695;p1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96" name="Google Shape;16696;p142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842687"/>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matchingName="Comparison 5">
  <p:cSld name="1_Comparison 5">
    <p:spTree>
      <p:nvGrpSpPr>
        <p:cNvPr id="1" name="Shape 16697"/>
        <p:cNvGrpSpPr/>
        <p:nvPr/>
      </p:nvGrpSpPr>
      <p:grpSpPr>
        <a:xfrm>
          <a:off x="0" y="0"/>
          <a:ext cx="0" cy="0"/>
          <a:chOff x="0" y="0"/>
          <a:chExt cx="0" cy="0"/>
        </a:xfrm>
      </p:grpSpPr>
      <p:grpSp>
        <p:nvGrpSpPr>
          <p:cNvPr id="16698" name="Google Shape;16698;p1429"/>
          <p:cNvGrpSpPr/>
          <p:nvPr/>
        </p:nvGrpSpPr>
        <p:grpSpPr>
          <a:xfrm>
            <a:off x="7191545" y="0"/>
            <a:ext cx="5000460" cy="1425988"/>
            <a:chOff x="7191545" y="0"/>
            <a:chExt cx="5000460" cy="1425988"/>
          </a:xfrm>
        </p:grpSpPr>
        <p:pic>
          <p:nvPicPr>
            <p:cNvPr id="16699" name="Google Shape;16699;p1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00" name="Google Shape;16700;p1429"/>
            <p:cNvGrpSpPr/>
            <p:nvPr/>
          </p:nvGrpSpPr>
          <p:grpSpPr>
            <a:xfrm>
              <a:off x="7191545" y="0"/>
              <a:ext cx="5000460" cy="1425988"/>
              <a:chOff x="7191545" y="0"/>
              <a:chExt cx="5000460" cy="1425988"/>
            </a:xfrm>
          </p:grpSpPr>
          <p:sp>
            <p:nvSpPr>
              <p:cNvPr id="16701" name="Google Shape;16701;p1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02" name="Google Shape;16702;p1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03" name="Google Shape;16703;p142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04" name="Google Shape;16704;p142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05" name="Google Shape;16705;p1429"/>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06" name="Google Shape;16706;p1429"/>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07" name="Google Shape;16707;p1429"/>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08" name="Google Shape;16708;p142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09" name="Google Shape;16709;p1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10" name="Google Shape;16710;p142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88894980"/>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matchingName="End 6">
  <p:cSld name="1_End 6">
    <p:spTree>
      <p:nvGrpSpPr>
        <p:cNvPr id="1" name="Shape 16721"/>
        <p:cNvGrpSpPr/>
        <p:nvPr/>
      </p:nvGrpSpPr>
      <p:grpSpPr>
        <a:xfrm>
          <a:off x="0" y="0"/>
          <a:ext cx="0" cy="0"/>
          <a:chOff x="0" y="0"/>
          <a:chExt cx="0" cy="0"/>
        </a:xfrm>
      </p:grpSpPr>
      <p:grpSp>
        <p:nvGrpSpPr>
          <p:cNvPr id="16722" name="Google Shape;16722;p1431"/>
          <p:cNvGrpSpPr/>
          <p:nvPr/>
        </p:nvGrpSpPr>
        <p:grpSpPr>
          <a:xfrm>
            <a:off x="0" y="0"/>
            <a:ext cx="12191996" cy="2148830"/>
            <a:chOff x="0" y="0"/>
            <a:chExt cx="12191996" cy="2148830"/>
          </a:xfrm>
        </p:grpSpPr>
        <p:sp>
          <p:nvSpPr>
            <p:cNvPr id="16723" name="Google Shape;16723;p143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24" name="Google Shape;16724;p143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725" name="Google Shape;16725;p1431"/>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26" name="Google Shape;16726;p1431"/>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27" name="Google Shape;16727;p143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728" name="Google Shape;16728;p143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671189477"/>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matchingName="Quotation 11">
  <p:cSld name="2_Quotation 11">
    <p:spTree>
      <p:nvGrpSpPr>
        <p:cNvPr id="1" name="Shape 16754"/>
        <p:cNvGrpSpPr/>
        <p:nvPr/>
      </p:nvGrpSpPr>
      <p:grpSpPr>
        <a:xfrm>
          <a:off x="0" y="0"/>
          <a:ext cx="0" cy="0"/>
          <a:chOff x="0" y="0"/>
          <a:chExt cx="0" cy="0"/>
        </a:xfrm>
      </p:grpSpPr>
      <p:sp>
        <p:nvSpPr>
          <p:cNvPr id="16755" name="Google Shape;16755;p14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56" name="Google Shape;16756;p14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57" name="Google Shape;16757;p143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58" name="Google Shape;16758;p143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59" name="Google Shape;16759;p1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60" name="Google Shape;16760;p143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61" name="Google Shape;16761;p1435"/>
          <p:cNvGrpSpPr/>
          <p:nvPr/>
        </p:nvGrpSpPr>
        <p:grpSpPr>
          <a:xfrm>
            <a:off x="7191545" y="0"/>
            <a:ext cx="5000460" cy="1425988"/>
            <a:chOff x="7191545" y="0"/>
            <a:chExt cx="5000460" cy="1425988"/>
          </a:xfrm>
        </p:grpSpPr>
        <p:pic>
          <p:nvPicPr>
            <p:cNvPr id="16762" name="Google Shape;16762;p1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63" name="Google Shape;16763;p1435"/>
            <p:cNvGrpSpPr/>
            <p:nvPr/>
          </p:nvGrpSpPr>
          <p:grpSpPr>
            <a:xfrm>
              <a:off x="7191545" y="0"/>
              <a:ext cx="5000460" cy="1425988"/>
              <a:chOff x="7191545" y="0"/>
              <a:chExt cx="5000460" cy="1425988"/>
            </a:xfrm>
          </p:grpSpPr>
          <p:sp>
            <p:nvSpPr>
              <p:cNvPr id="16764" name="Google Shape;16764;p1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65" name="Google Shape;16765;p1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66" name="Google Shape;16766;p143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920405013"/>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matchingName="1_Quotation 11">
  <p:cSld name="2_Quotation 11">
    <p:spTree>
      <p:nvGrpSpPr>
        <p:cNvPr id="1" name="Shape 16767"/>
        <p:cNvGrpSpPr/>
        <p:nvPr/>
      </p:nvGrpSpPr>
      <p:grpSpPr>
        <a:xfrm>
          <a:off x="0" y="0"/>
          <a:ext cx="0" cy="0"/>
          <a:chOff x="0" y="0"/>
          <a:chExt cx="0" cy="0"/>
        </a:xfrm>
      </p:grpSpPr>
      <p:sp>
        <p:nvSpPr>
          <p:cNvPr id="16768" name="Google Shape;16768;p14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69" name="Google Shape;16769;p14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70" name="Google Shape;16770;p143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71" name="Google Shape;16771;p143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72" name="Google Shape;16772;p1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73" name="Google Shape;16773;p143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74" name="Google Shape;16774;p1436"/>
          <p:cNvGrpSpPr/>
          <p:nvPr/>
        </p:nvGrpSpPr>
        <p:grpSpPr>
          <a:xfrm>
            <a:off x="7191545" y="0"/>
            <a:ext cx="5000460" cy="1425988"/>
            <a:chOff x="7191545" y="0"/>
            <a:chExt cx="5000460" cy="1425988"/>
          </a:xfrm>
        </p:grpSpPr>
        <p:pic>
          <p:nvPicPr>
            <p:cNvPr id="16775" name="Google Shape;16775;p1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76" name="Google Shape;16776;p1436"/>
            <p:cNvGrpSpPr/>
            <p:nvPr/>
          </p:nvGrpSpPr>
          <p:grpSpPr>
            <a:xfrm>
              <a:off x="7191545" y="0"/>
              <a:ext cx="5000460" cy="1425988"/>
              <a:chOff x="7191545" y="0"/>
              <a:chExt cx="5000460" cy="1425988"/>
            </a:xfrm>
          </p:grpSpPr>
          <p:sp>
            <p:nvSpPr>
              <p:cNvPr id="16777" name="Google Shape;16777;p1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78" name="Google Shape;16778;p1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79" name="Google Shape;16779;p143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209594195"/>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matchingName="Title and Content 11">
  <p:cSld name="1_Title and Content 11">
    <p:spTree>
      <p:nvGrpSpPr>
        <p:cNvPr id="1" name="Shape 16780"/>
        <p:cNvGrpSpPr/>
        <p:nvPr/>
      </p:nvGrpSpPr>
      <p:grpSpPr>
        <a:xfrm>
          <a:off x="0" y="0"/>
          <a:ext cx="0" cy="0"/>
          <a:chOff x="0" y="0"/>
          <a:chExt cx="0" cy="0"/>
        </a:xfrm>
      </p:grpSpPr>
      <p:grpSp>
        <p:nvGrpSpPr>
          <p:cNvPr id="16781" name="Google Shape;16781;p1437"/>
          <p:cNvGrpSpPr/>
          <p:nvPr/>
        </p:nvGrpSpPr>
        <p:grpSpPr>
          <a:xfrm>
            <a:off x="7191545" y="0"/>
            <a:ext cx="5000460" cy="1425988"/>
            <a:chOff x="7191545" y="0"/>
            <a:chExt cx="5000460" cy="1425988"/>
          </a:xfrm>
        </p:grpSpPr>
        <p:pic>
          <p:nvPicPr>
            <p:cNvPr id="16782" name="Google Shape;16782;p14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83" name="Google Shape;16783;p1437"/>
            <p:cNvGrpSpPr/>
            <p:nvPr/>
          </p:nvGrpSpPr>
          <p:grpSpPr>
            <a:xfrm>
              <a:off x="7191545" y="0"/>
              <a:ext cx="5000460" cy="1425988"/>
              <a:chOff x="7191545" y="0"/>
              <a:chExt cx="5000460" cy="1425988"/>
            </a:xfrm>
          </p:grpSpPr>
          <p:sp>
            <p:nvSpPr>
              <p:cNvPr id="16784" name="Google Shape;16784;p14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85" name="Google Shape;16785;p14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86" name="Google Shape;16786;p1437"/>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87" name="Google Shape;16787;p14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788" name="Google Shape;16788;p143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89" name="Google Shape;16789;p14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90" name="Google Shape;16790;p143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03083923"/>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matchingName="Two Content 7">
  <p:cSld name="1_Two Content 7">
    <p:spTree>
      <p:nvGrpSpPr>
        <p:cNvPr id="1" name="Shape 16791"/>
        <p:cNvGrpSpPr/>
        <p:nvPr/>
      </p:nvGrpSpPr>
      <p:grpSpPr>
        <a:xfrm>
          <a:off x="0" y="0"/>
          <a:ext cx="0" cy="0"/>
          <a:chOff x="0" y="0"/>
          <a:chExt cx="0" cy="0"/>
        </a:xfrm>
      </p:grpSpPr>
      <p:sp>
        <p:nvSpPr>
          <p:cNvPr id="16792" name="Google Shape;16792;p1438"/>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93" name="Google Shape;16793;p1438"/>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6794" name="Google Shape;16794;p1438"/>
          <p:cNvGrpSpPr/>
          <p:nvPr/>
        </p:nvGrpSpPr>
        <p:grpSpPr>
          <a:xfrm>
            <a:off x="7191545" y="0"/>
            <a:ext cx="5000460" cy="1425988"/>
            <a:chOff x="7191545" y="0"/>
            <a:chExt cx="5000460" cy="1425988"/>
          </a:xfrm>
        </p:grpSpPr>
        <p:pic>
          <p:nvPicPr>
            <p:cNvPr id="16795" name="Google Shape;16795;p14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96" name="Google Shape;16796;p1438"/>
            <p:cNvGrpSpPr/>
            <p:nvPr/>
          </p:nvGrpSpPr>
          <p:grpSpPr>
            <a:xfrm>
              <a:off x="7191545" y="0"/>
              <a:ext cx="5000460" cy="1425988"/>
              <a:chOff x="7191545" y="0"/>
              <a:chExt cx="5000460" cy="1425988"/>
            </a:xfrm>
          </p:grpSpPr>
          <p:sp>
            <p:nvSpPr>
              <p:cNvPr id="16797" name="Google Shape;16797;p14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98" name="Google Shape;16798;p14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99" name="Google Shape;16799;p1438"/>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00" name="Google Shape;16800;p1438"/>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01" name="Google Shape;16801;p14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02" name="Google Shape;16802;p143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63600813"/>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matchingName="Comparison 6">
  <p:cSld name="1_Comparison 6">
    <p:spTree>
      <p:nvGrpSpPr>
        <p:cNvPr id="1" name="Shape 16803"/>
        <p:cNvGrpSpPr/>
        <p:nvPr/>
      </p:nvGrpSpPr>
      <p:grpSpPr>
        <a:xfrm>
          <a:off x="0" y="0"/>
          <a:ext cx="0" cy="0"/>
          <a:chOff x="0" y="0"/>
          <a:chExt cx="0" cy="0"/>
        </a:xfrm>
      </p:grpSpPr>
      <p:grpSp>
        <p:nvGrpSpPr>
          <p:cNvPr id="16804" name="Google Shape;16804;p1439"/>
          <p:cNvGrpSpPr/>
          <p:nvPr/>
        </p:nvGrpSpPr>
        <p:grpSpPr>
          <a:xfrm>
            <a:off x="7191545" y="0"/>
            <a:ext cx="5000460" cy="1425988"/>
            <a:chOff x="7191545" y="0"/>
            <a:chExt cx="5000460" cy="1425988"/>
          </a:xfrm>
        </p:grpSpPr>
        <p:pic>
          <p:nvPicPr>
            <p:cNvPr id="16805" name="Google Shape;16805;p14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06" name="Google Shape;16806;p1439"/>
            <p:cNvGrpSpPr/>
            <p:nvPr/>
          </p:nvGrpSpPr>
          <p:grpSpPr>
            <a:xfrm>
              <a:off x="7191545" y="0"/>
              <a:ext cx="5000460" cy="1425988"/>
              <a:chOff x="7191545" y="0"/>
              <a:chExt cx="5000460" cy="1425988"/>
            </a:xfrm>
          </p:grpSpPr>
          <p:sp>
            <p:nvSpPr>
              <p:cNvPr id="16807" name="Google Shape;16807;p14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08" name="Google Shape;16808;p14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809" name="Google Shape;16809;p143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10" name="Google Shape;16810;p14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11" name="Google Shape;16811;p1439"/>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12" name="Google Shape;16812;p1439"/>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13" name="Google Shape;16813;p1439"/>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14" name="Google Shape;16814;p143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15" name="Google Shape;16815;p14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16" name="Google Shape;16816;p143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2116799"/>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matchingName="Photo Slide 8">
  <p:cSld name="1_Photo Slide 8">
    <p:spTree>
      <p:nvGrpSpPr>
        <p:cNvPr id="1" name="Shape 16817"/>
        <p:cNvGrpSpPr/>
        <p:nvPr/>
      </p:nvGrpSpPr>
      <p:grpSpPr>
        <a:xfrm>
          <a:off x="0" y="0"/>
          <a:ext cx="0" cy="0"/>
          <a:chOff x="0" y="0"/>
          <a:chExt cx="0" cy="0"/>
        </a:xfrm>
      </p:grpSpPr>
      <p:sp>
        <p:nvSpPr>
          <p:cNvPr id="16818" name="Google Shape;16818;p144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819" name="Google Shape;16819;p1440"/>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820" name="Google Shape;16820;p1440"/>
          <p:cNvGrpSpPr/>
          <p:nvPr/>
        </p:nvGrpSpPr>
        <p:grpSpPr>
          <a:xfrm>
            <a:off x="3" y="5379427"/>
            <a:ext cx="2807363" cy="753895"/>
            <a:chOff x="0" y="5379424"/>
            <a:chExt cx="2807363" cy="753895"/>
          </a:xfrm>
        </p:grpSpPr>
        <p:sp>
          <p:nvSpPr>
            <p:cNvPr id="16821" name="Google Shape;16821;p144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2" name="Google Shape;16822;p144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823" name="Google Shape;16823;p1440"/>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3177982620"/>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matchingName="End 7">
  <p:cSld name="1_End 7">
    <p:spTree>
      <p:nvGrpSpPr>
        <p:cNvPr id="1" name="Shape 16824"/>
        <p:cNvGrpSpPr/>
        <p:nvPr/>
      </p:nvGrpSpPr>
      <p:grpSpPr>
        <a:xfrm>
          <a:off x="0" y="0"/>
          <a:ext cx="0" cy="0"/>
          <a:chOff x="0" y="0"/>
          <a:chExt cx="0" cy="0"/>
        </a:xfrm>
      </p:grpSpPr>
      <p:grpSp>
        <p:nvGrpSpPr>
          <p:cNvPr id="16825" name="Google Shape;16825;p1441"/>
          <p:cNvGrpSpPr/>
          <p:nvPr/>
        </p:nvGrpSpPr>
        <p:grpSpPr>
          <a:xfrm>
            <a:off x="0" y="0"/>
            <a:ext cx="12191996" cy="2148830"/>
            <a:chOff x="0" y="0"/>
            <a:chExt cx="12191996" cy="2148830"/>
          </a:xfrm>
        </p:grpSpPr>
        <p:sp>
          <p:nvSpPr>
            <p:cNvPr id="16826" name="Google Shape;16826;p14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27" name="Google Shape;16827;p14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828" name="Google Shape;16828;p1441"/>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9" name="Google Shape;16829;p1441"/>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30" name="Google Shape;16830;p14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831" name="Google Shape;16831;p14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4558491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052"/>
        <p:cNvGrpSpPr/>
        <p:nvPr/>
      </p:nvGrpSpPr>
      <p:grpSpPr>
        <a:xfrm>
          <a:off x="0" y="0"/>
          <a:ext cx="0" cy="0"/>
          <a:chOff x="0" y="0"/>
          <a:chExt cx="0" cy="0"/>
        </a:xfrm>
      </p:grpSpPr>
      <p:sp>
        <p:nvSpPr>
          <p:cNvPr id="1053" name="Google Shape;1053;p10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4" name="Google Shape;1054;p10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55" name="Google Shape;1055;p10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056" name="Google Shape;1056;p1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7" name="Google Shape;1057;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8" name="Google Shape;1058;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84295251"/>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matchingName="Cover B 2">
  <p:cSld name="1_Cover B 2">
    <p:spTree>
      <p:nvGrpSpPr>
        <p:cNvPr id="1" name="Shape 16851"/>
        <p:cNvGrpSpPr/>
        <p:nvPr/>
      </p:nvGrpSpPr>
      <p:grpSpPr>
        <a:xfrm>
          <a:off x="0" y="0"/>
          <a:ext cx="0" cy="0"/>
          <a:chOff x="0" y="0"/>
          <a:chExt cx="0" cy="0"/>
        </a:xfrm>
      </p:grpSpPr>
      <p:sp>
        <p:nvSpPr>
          <p:cNvPr id="16852" name="Google Shape;16852;p1444"/>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3" name="Google Shape;16853;p1444"/>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6854" name="Google Shape;16854;p1444"/>
          <p:cNvGrpSpPr/>
          <p:nvPr/>
        </p:nvGrpSpPr>
        <p:grpSpPr>
          <a:xfrm>
            <a:off x="0" y="0"/>
            <a:ext cx="6418722" cy="1509820"/>
            <a:chOff x="0" y="0"/>
            <a:chExt cx="6418722" cy="1509820"/>
          </a:xfrm>
        </p:grpSpPr>
        <p:sp>
          <p:nvSpPr>
            <p:cNvPr id="16855" name="Google Shape;16855;p1444"/>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56" name="Google Shape;16856;p1444"/>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6857" name="Google Shape;16857;p1444"/>
          <p:cNvPicPr preferRelativeResize="0"/>
          <p:nvPr/>
        </p:nvPicPr>
        <p:blipFill rotWithShape="1">
          <a:blip r:embed="rId2">
            <a:alphaModFix/>
          </a:blip>
          <a:srcRect/>
          <a:stretch/>
        </p:blipFill>
        <p:spPr>
          <a:xfrm>
            <a:off x="513347" y="136529"/>
            <a:ext cx="1945203" cy="879972"/>
          </a:xfrm>
          <a:prstGeom prst="rect">
            <a:avLst/>
          </a:prstGeom>
          <a:noFill/>
          <a:ln>
            <a:noFill/>
          </a:ln>
        </p:spPr>
      </p:pic>
    </p:spTree>
    <p:extLst>
      <p:ext uri="{BB962C8B-B14F-4D97-AF65-F5344CB8AC3E}">
        <p14:creationId xmlns:p14="http://schemas.microsoft.com/office/powerpoint/2010/main" val="275837757"/>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matchingName="Quotation 12">
  <p:cSld name="2_Quotation 12">
    <p:spTree>
      <p:nvGrpSpPr>
        <p:cNvPr id="1" name="Shape 16858"/>
        <p:cNvGrpSpPr/>
        <p:nvPr/>
      </p:nvGrpSpPr>
      <p:grpSpPr>
        <a:xfrm>
          <a:off x="0" y="0"/>
          <a:ext cx="0" cy="0"/>
          <a:chOff x="0" y="0"/>
          <a:chExt cx="0" cy="0"/>
        </a:xfrm>
      </p:grpSpPr>
      <p:sp>
        <p:nvSpPr>
          <p:cNvPr id="16859" name="Google Shape;16859;p144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60" name="Google Shape;16860;p144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61" name="Google Shape;16861;p144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62" name="Google Shape;16862;p144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63" name="Google Shape;16863;p14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64" name="Google Shape;16864;p144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65" name="Google Shape;16865;p1445"/>
          <p:cNvGrpSpPr/>
          <p:nvPr/>
        </p:nvGrpSpPr>
        <p:grpSpPr>
          <a:xfrm>
            <a:off x="7191545" y="0"/>
            <a:ext cx="5000460" cy="1425988"/>
            <a:chOff x="7191545" y="0"/>
            <a:chExt cx="5000460" cy="1425988"/>
          </a:xfrm>
        </p:grpSpPr>
        <p:pic>
          <p:nvPicPr>
            <p:cNvPr id="16866" name="Google Shape;16866;p14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67" name="Google Shape;16867;p1445"/>
            <p:cNvGrpSpPr/>
            <p:nvPr/>
          </p:nvGrpSpPr>
          <p:grpSpPr>
            <a:xfrm>
              <a:off x="7191545" y="0"/>
              <a:ext cx="5000460" cy="1425988"/>
              <a:chOff x="7191545" y="0"/>
              <a:chExt cx="5000460" cy="1425988"/>
            </a:xfrm>
          </p:grpSpPr>
          <p:sp>
            <p:nvSpPr>
              <p:cNvPr id="16868" name="Google Shape;16868;p14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69" name="Google Shape;16869;p14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70" name="Google Shape;16870;p144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93293801"/>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matchingName="3_Quotation 2">
  <p:cSld name="8_Quotation 2">
    <p:spTree>
      <p:nvGrpSpPr>
        <p:cNvPr id="1" name="Shape 16871"/>
        <p:cNvGrpSpPr/>
        <p:nvPr/>
      </p:nvGrpSpPr>
      <p:grpSpPr>
        <a:xfrm>
          <a:off x="0" y="0"/>
          <a:ext cx="0" cy="0"/>
          <a:chOff x="0" y="0"/>
          <a:chExt cx="0" cy="0"/>
        </a:xfrm>
      </p:grpSpPr>
      <p:sp>
        <p:nvSpPr>
          <p:cNvPr id="16872" name="Google Shape;16872;p144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73" name="Google Shape;16873;p144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74" name="Google Shape;16874;p144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75" name="Google Shape;16875;p144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76" name="Google Shape;16876;p1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77" name="Google Shape;16877;p144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78" name="Google Shape;16878;p1446"/>
          <p:cNvGrpSpPr/>
          <p:nvPr/>
        </p:nvGrpSpPr>
        <p:grpSpPr>
          <a:xfrm>
            <a:off x="7191545" y="0"/>
            <a:ext cx="5000460" cy="1425988"/>
            <a:chOff x="7191545" y="0"/>
            <a:chExt cx="5000460" cy="1425988"/>
          </a:xfrm>
        </p:grpSpPr>
        <p:pic>
          <p:nvPicPr>
            <p:cNvPr id="16879" name="Google Shape;16879;p1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80" name="Google Shape;16880;p1446"/>
            <p:cNvGrpSpPr/>
            <p:nvPr/>
          </p:nvGrpSpPr>
          <p:grpSpPr>
            <a:xfrm>
              <a:off x="7191545" y="0"/>
              <a:ext cx="5000460" cy="1425988"/>
              <a:chOff x="7191545" y="0"/>
              <a:chExt cx="5000460" cy="1425988"/>
            </a:xfrm>
          </p:grpSpPr>
          <p:sp>
            <p:nvSpPr>
              <p:cNvPr id="16881" name="Google Shape;16881;p1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82" name="Google Shape;16882;p1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83" name="Google Shape;16883;p144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063523836"/>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matchingName="Quotation 13">
  <p:cSld name="2_Quotation 13">
    <p:spTree>
      <p:nvGrpSpPr>
        <p:cNvPr id="1" name="Shape 16884"/>
        <p:cNvGrpSpPr/>
        <p:nvPr/>
      </p:nvGrpSpPr>
      <p:grpSpPr>
        <a:xfrm>
          <a:off x="0" y="0"/>
          <a:ext cx="0" cy="0"/>
          <a:chOff x="0" y="0"/>
          <a:chExt cx="0" cy="0"/>
        </a:xfrm>
      </p:grpSpPr>
      <p:sp>
        <p:nvSpPr>
          <p:cNvPr id="16885" name="Google Shape;16885;p144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86" name="Google Shape;16886;p144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87" name="Google Shape;16887;p1447"/>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888" name="Google Shape;16888;p144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89" name="Google Shape;16889;p14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90" name="Google Shape;16890;p144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91" name="Google Shape;16891;p1447"/>
          <p:cNvGrpSpPr/>
          <p:nvPr/>
        </p:nvGrpSpPr>
        <p:grpSpPr>
          <a:xfrm>
            <a:off x="7191545" y="0"/>
            <a:ext cx="5000460" cy="1425988"/>
            <a:chOff x="7191545" y="0"/>
            <a:chExt cx="5000460" cy="1425988"/>
          </a:xfrm>
        </p:grpSpPr>
        <p:pic>
          <p:nvPicPr>
            <p:cNvPr id="16892" name="Google Shape;16892;p14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93" name="Google Shape;16893;p1447"/>
            <p:cNvGrpSpPr/>
            <p:nvPr/>
          </p:nvGrpSpPr>
          <p:grpSpPr>
            <a:xfrm>
              <a:off x="7191545" y="0"/>
              <a:ext cx="5000460" cy="1425988"/>
              <a:chOff x="7191545" y="0"/>
              <a:chExt cx="5000460" cy="1425988"/>
            </a:xfrm>
          </p:grpSpPr>
          <p:sp>
            <p:nvSpPr>
              <p:cNvPr id="16894" name="Google Shape;16894;p14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95" name="Google Shape;16895;p14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96" name="Google Shape;16896;p1447"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395106993"/>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matchingName="1_Quotation 12">
  <p:cSld name="2_Quotation 12">
    <p:spTree>
      <p:nvGrpSpPr>
        <p:cNvPr id="1" name="Shape 16897"/>
        <p:cNvGrpSpPr/>
        <p:nvPr/>
      </p:nvGrpSpPr>
      <p:grpSpPr>
        <a:xfrm>
          <a:off x="0" y="0"/>
          <a:ext cx="0" cy="0"/>
          <a:chOff x="0" y="0"/>
          <a:chExt cx="0" cy="0"/>
        </a:xfrm>
      </p:grpSpPr>
      <p:sp>
        <p:nvSpPr>
          <p:cNvPr id="16898" name="Google Shape;16898;p14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99" name="Google Shape;16899;p14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00" name="Google Shape;16900;p144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901" name="Google Shape;16901;p144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02" name="Google Shape;16902;p14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03" name="Google Shape;16903;p144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04" name="Google Shape;16904;p1448"/>
          <p:cNvGrpSpPr/>
          <p:nvPr/>
        </p:nvGrpSpPr>
        <p:grpSpPr>
          <a:xfrm>
            <a:off x="7191545" y="0"/>
            <a:ext cx="5000460" cy="1425988"/>
            <a:chOff x="7191545" y="0"/>
            <a:chExt cx="5000460" cy="1425988"/>
          </a:xfrm>
        </p:grpSpPr>
        <p:pic>
          <p:nvPicPr>
            <p:cNvPr id="16905" name="Google Shape;16905;p14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06" name="Google Shape;16906;p1448"/>
            <p:cNvGrpSpPr/>
            <p:nvPr/>
          </p:nvGrpSpPr>
          <p:grpSpPr>
            <a:xfrm>
              <a:off x="7191545" y="0"/>
              <a:ext cx="5000460" cy="1425988"/>
              <a:chOff x="7191545" y="0"/>
              <a:chExt cx="5000460" cy="1425988"/>
            </a:xfrm>
          </p:grpSpPr>
          <p:sp>
            <p:nvSpPr>
              <p:cNvPr id="16907" name="Google Shape;16907;p14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08" name="Google Shape;16908;p14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09" name="Google Shape;16909;p144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111930350"/>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matchingName="4_Quotation 2">
  <p:cSld name="8_Quotation 2">
    <p:spTree>
      <p:nvGrpSpPr>
        <p:cNvPr id="1" name="Shape 16910"/>
        <p:cNvGrpSpPr/>
        <p:nvPr/>
      </p:nvGrpSpPr>
      <p:grpSpPr>
        <a:xfrm>
          <a:off x="0" y="0"/>
          <a:ext cx="0" cy="0"/>
          <a:chOff x="0" y="0"/>
          <a:chExt cx="0" cy="0"/>
        </a:xfrm>
      </p:grpSpPr>
      <p:sp>
        <p:nvSpPr>
          <p:cNvPr id="16911" name="Google Shape;16911;p144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12" name="Google Shape;16912;p144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13" name="Google Shape;16913;p144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914" name="Google Shape;16914;p144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15" name="Google Shape;16915;p14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16" name="Google Shape;16916;p144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17" name="Google Shape;16917;p1449"/>
          <p:cNvGrpSpPr/>
          <p:nvPr/>
        </p:nvGrpSpPr>
        <p:grpSpPr>
          <a:xfrm>
            <a:off x="7191545" y="0"/>
            <a:ext cx="5000460" cy="1425988"/>
            <a:chOff x="7191545" y="0"/>
            <a:chExt cx="5000460" cy="1425988"/>
          </a:xfrm>
        </p:grpSpPr>
        <p:pic>
          <p:nvPicPr>
            <p:cNvPr id="16918" name="Google Shape;16918;p14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19" name="Google Shape;16919;p1449"/>
            <p:cNvGrpSpPr/>
            <p:nvPr/>
          </p:nvGrpSpPr>
          <p:grpSpPr>
            <a:xfrm>
              <a:off x="7191545" y="0"/>
              <a:ext cx="5000460" cy="1425988"/>
              <a:chOff x="7191545" y="0"/>
              <a:chExt cx="5000460" cy="1425988"/>
            </a:xfrm>
          </p:grpSpPr>
          <p:sp>
            <p:nvSpPr>
              <p:cNvPr id="16920" name="Google Shape;16920;p14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21" name="Google Shape;16921;p14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22" name="Google Shape;16922;p144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525591217"/>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matchingName="1_Quotation 13">
  <p:cSld name="2_Quotation 13">
    <p:spTree>
      <p:nvGrpSpPr>
        <p:cNvPr id="1" name="Shape 16923"/>
        <p:cNvGrpSpPr/>
        <p:nvPr/>
      </p:nvGrpSpPr>
      <p:grpSpPr>
        <a:xfrm>
          <a:off x="0" y="0"/>
          <a:ext cx="0" cy="0"/>
          <a:chOff x="0" y="0"/>
          <a:chExt cx="0" cy="0"/>
        </a:xfrm>
      </p:grpSpPr>
      <p:sp>
        <p:nvSpPr>
          <p:cNvPr id="16924" name="Google Shape;16924;p145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25" name="Google Shape;16925;p145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6" name="Google Shape;16926;p1450"/>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927" name="Google Shape;16927;p145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28" name="Google Shape;16928;p14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29" name="Google Shape;16929;p145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30" name="Google Shape;16930;p1450"/>
          <p:cNvGrpSpPr/>
          <p:nvPr/>
        </p:nvGrpSpPr>
        <p:grpSpPr>
          <a:xfrm>
            <a:off x="7191545" y="0"/>
            <a:ext cx="5000460" cy="1425988"/>
            <a:chOff x="7191545" y="0"/>
            <a:chExt cx="5000460" cy="1425988"/>
          </a:xfrm>
        </p:grpSpPr>
        <p:pic>
          <p:nvPicPr>
            <p:cNvPr id="16931" name="Google Shape;16931;p14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32" name="Google Shape;16932;p1450"/>
            <p:cNvGrpSpPr/>
            <p:nvPr/>
          </p:nvGrpSpPr>
          <p:grpSpPr>
            <a:xfrm>
              <a:off x="7191545" y="0"/>
              <a:ext cx="5000460" cy="1425988"/>
              <a:chOff x="7191545" y="0"/>
              <a:chExt cx="5000460" cy="1425988"/>
            </a:xfrm>
          </p:grpSpPr>
          <p:sp>
            <p:nvSpPr>
              <p:cNvPr id="16933" name="Google Shape;16933;p14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4" name="Google Shape;16934;p14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35" name="Google Shape;16935;p1450"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667240290"/>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16936"/>
        <p:cNvGrpSpPr/>
        <p:nvPr/>
      </p:nvGrpSpPr>
      <p:grpSpPr>
        <a:xfrm>
          <a:off x="0" y="0"/>
          <a:ext cx="0" cy="0"/>
          <a:chOff x="0" y="0"/>
          <a:chExt cx="0" cy="0"/>
        </a:xfrm>
      </p:grpSpPr>
      <p:sp>
        <p:nvSpPr>
          <p:cNvPr id="16937" name="Google Shape;16937;p1451"/>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8" name="Google Shape;16938;p1451"/>
          <p:cNvSpPr/>
          <p:nvPr/>
        </p:nvSpPr>
        <p:spPr>
          <a:xfrm>
            <a:off x="3" y="5100855"/>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39" name="Google Shape;16939;p1451"/>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6940" name="Google Shape;16940;p1451"/>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41" name="Google Shape;16941;p1451"/>
          <p:cNvPicPr preferRelativeResize="0"/>
          <p:nvPr/>
        </p:nvPicPr>
        <p:blipFill rotWithShape="1">
          <a:blip r:embed="rId3">
            <a:alphaModFix/>
          </a:blip>
          <a:srcRect/>
          <a:stretch/>
        </p:blipFill>
        <p:spPr>
          <a:xfrm>
            <a:off x="313960" y="5564127"/>
            <a:ext cx="2025386" cy="911355"/>
          </a:xfrm>
          <a:prstGeom prst="rect">
            <a:avLst/>
          </a:prstGeom>
          <a:noFill/>
          <a:ln>
            <a:noFill/>
          </a:ln>
        </p:spPr>
      </p:pic>
      <p:sp>
        <p:nvSpPr>
          <p:cNvPr id="16942" name="Google Shape;16942;p1451"/>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43" name="Google Shape;16943;p1451"/>
          <p:cNvSpPr txBox="1">
            <a:spLocks noGrp="1"/>
          </p:cNvSpPr>
          <p:nvPr>
            <p:ph type="title"/>
          </p:nvPr>
        </p:nvSpPr>
        <p:spPr>
          <a:xfrm>
            <a:off x="471696" y="365447"/>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4" name="Google Shape;16944;p1451"/>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945" name="Google Shape;16945;p1451"/>
          <p:cNvSpPr txBox="1">
            <a:spLocks noGrp="1"/>
          </p:cNvSpPr>
          <p:nvPr>
            <p:ph type="ftr" idx="11"/>
          </p:nvPr>
        </p:nvSpPr>
        <p:spPr>
          <a:xfrm>
            <a:off x="609603" y="6356354"/>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6" name="Google Shape;16946;p145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6947" name="Google Shape;16947;p1451"/>
          <p:cNvSpPr txBox="1">
            <a:spLocks noGrp="1"/>
          </p:cNvSpPr>
          <p:nvPr>
            <p:ph type="sldNum" idx="12"/>
          </p:nvPr>
        </p:nvSpPr>
        <p:spPr>
          <a:xfrm>
            <a:off x="8839203" y="6356354"/>
            <a:ext cx="2743200" cy="365129"/>
          </a:xfrm>
          <a:prstGeom prst="rect">
            <a:avLst/>
          </a:prstGeom>
          <a:noFill/>
          <a:ln>
            <a:noFill/>
          </a:ln>
        </p:spPr>
        <p:txBody>
          <a:bodyPr spcFirstLastPara="1" wrap="square" lIns="0" tIns="0" rIns="0" bIns="0" anchor="ctr" anchorCtr="0">
            <a:noAutofit/>
          </a:bodyPr>
          <a:lstStyle>
            <a:lvl1pPr marL="38109"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9"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9"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9"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9"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9"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9"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9"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9"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843937741"/>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matchingName="2_Quotation 2">
  <p:cSld name="8_Quotation 2">
    <p:spTree>
      <p:nvGrpSpPr>
        <p:cNvPr id="1" name="Shape 16948"/>
        <p:cNvGrpSpPr/>
        <p:nvPr/>
      </p:nvGrpSpPr>
      <p:grpSpPr>
        <a:xfrm>
          <a:off x="0" y="0"/>
          <a:ext cx="0" cy="0"/>
          <a:chOff x="0" y="0"/>
          <a:chExt cx="0" cy="0"/>
        </a:xfrm>
      </p:grpSpPr>
      <p:sp>
        <p:nvSpPr>
          <p:cNvPr id="16949" name="Google Shape;16949;p145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50" name="Google Shape;16950;p1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51" name="Google Shape;16951;p1452"/>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952" name="Google Shape;16952;p145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53" name="Google Shape;16953;p1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54" name="Google Shape;16954;p145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55" name="Google Shape;16955;p1452"/>
          <p:cNvGrpSpPr/>
          <p:nvPr/>
        </p:nvGrpSpPr>
        <p:grpSpPr>
          <a:xfrm>
            <a:off x="7191545" y="0"/>
            <a:ext cx="5000460" cy="1425988"/>
            <a:chOff x="7191545" y="0"/>
            <a:chExt cx="5000460" cy="1425988"/>
          </a:xfrm>
        </p:grpSpPr>
        <p:pic>
          <p:nvPicPr>
            <p:cNvPr id="16956" name="Google Shape;16956;p1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57" name="Google Shape;16957;p1452"/>
            <p:cNvGrpSpPr/>
            <p:nvPr/>
          </p:nvGrpSpPr>
          <p:grpSpPr>
            <a:xfrm>
              <a:off x="7191545" y="0"/>
              <a:ext cx="5000460" cy="1425988"/>
              <a:chOff x="7191545" y="0"/>
              <a:chExt cx="5000460" cy="1425988"/>
            </a:xfrm>
          </p:grpSpPr>
          <p:sp>
            <p:nvSpPr>
              <p:cNvPr id="16958" name="Google Shape;16958;p1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59" name="Google Shape;16959;p1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60" name="Google Shape;16960;p1452"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143983799"/>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matchingName="5_Quotation 2">
  <p:cSld name="8_Quotation 2">
    <p:spTree>
      <p:nvGrpSpPr>
        <p:cNvPr id="1" name="Shape 16961"/>
        <p:cNvGrpSpPr/>
        <p:nvPr/>
      </p:nvGrpSpPr>
      <p:grpSpPr>
        <a:xfrm>
          <a:off x="0" y="0"/>
          <a:ext cx="0" cy="0"/>
          <a:chOff x="0" y="0"/>
          <a:chExt cx="0" cy="0"/>
        </a:xfrm>
      </p:grpSpPr>
      <p:sp>
        <p:nvSpPr>
          <p:cNvPr id="16962" name="Google Shape;16962;p14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63" name="Google Shape;16963;p14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64" name="Google Shape;16964;p1453"/>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6965" name="Google Shape;16965;p145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66" name="Google Shape;16966;p1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67" name="Google Shape;16967;p145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68" name="Google Shape;16968;p1453"/>
          <p:cNvGrpSpPr/>
          <p:nvPr/>
        </p:nvGrpSpPr>
        <p:grpSpPr>
          <a:xfrm>
            <a:off x="7191545" y="0"/>
            <a:ext cx="5000460" cy="1425988"/>
            <a:chOff x="7191545" y="0"/>
            <a:chExt cx="5000460" cy="1425988"/>
          </a:xfrm>
        </p:grpSpPr>
        <p:pic>
          <p:nvPicPr>
            <p:cNvPr id="16969" name="Google Shape;16969;p1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70" name="Google Shape;16970;p1453"/>
            <p:cNvGrpSpPr/>
            <p:nvPr/>
          </p:nvGrpSpPr>
          <p:grpSpPr>
            <a:xfrm>
              <a:off x="7191545" y="0"/>
              <a:ext cx="5000460" cy="1425988"/>
              <a:chOff x="7191545" y="0"/>
              <a:chExt cx="5000460" cy="1425988"/>
            </a:xfrm>
          </p:grpSpPr>
          <p:sp>
            <p:nvSpPr>
              <p:cNvPr id="16971" name="Google Shape;16971;p1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72" name="Google Shape;16972;p1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73" name="Google Shape;16973;p1453"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7715888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4"/>
        <p:cNvGrpSpPr/>
        <p:nvPr/>
      </p:nvGrpSpPr>
      <p:grpSpPr>
        <a:xfrm>
          <a:off x="0" y="0"/>
          <a:ext cx="0" cy="0"/>
          <a:chOff x="0" y="0"/>
          <a:chExt cx="0" cy="0"/>
        </a:xfrm>
      </p:grpSpPr>
      <p:grpSp>
        <p:nvGrpSpPr>
          <p:cNvPr id="55" name="Google Shape;55;p6"/>
          <p:cNvGrpSpPr/>
          <p:nvPr/>
        </p:nvGrpSpPr>
        <p:grpSpPr>
          <a:xfrm>
            <a:off x="7191542" y="1"/>
            <a:ext cx="5000459" cy="1425992"/>
            <a:chOff x="7191542" y="1"/>
            <a:chExt cx="5000459" cy="1425992"/>
          </a:xfrm>
        </p:grpSpPr>
        <p:pic>
          <p:nvPicPr>
            <p:cNvPr id="56" name="Google Shape;56;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4990179"/>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matchingName="Photo Slide 9">
  <p:cSld name="1_Photo Slide 9">
    <p:spTree>
      <p:nvGrpSpPr>
        <p:cNvPr id="1" name="Shape 16990"/>
        <p:cNvGrpSpPr/>
        <p:nvPr/>
      </p:nvGrpSpPr>
      <p:grpSpPr>
        <a:xfrm>
          <a:off x="0" y="0"/>
          <a:ext cx="0" cy="0"/>
          <a:chOff x="0" y="0"/>
          <a:chExt cx="0" cy="0"/>
        </a:xfrm>
      </p:grpSpPr>
      <p:sp>
        <p:nvSpPr>
          <p:cNvPr id="16991" name="Google Shape;16991;p14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6992" name="Google Shape;16992;p1456"/>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993" name="Google Shape;16993;p1456"/>
          <p:cNvGrpSpPr/>
          <p:nvPr/>
        </p:nvGrpSpPr>
        <p:grpSpPr>
          <a:xfrm>
            <a:off x="3" y="5379427"/>
            <a:ext cx="2807363" cy="753895"/>
            <a:chOff x="0" y="5379424"/>
            <a:chExt cx="2807363" cy="753895"/>
          </a:xfrm>
        </p:grpSpPr>
        <p:sp>
          <p:nvSpPr>
            <p:cNvPr id="16994" name="Google Shape;16994;p14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5" name="Google Shape;16995;p14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996" name="Google Shape;16996;p1456"/>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670420251"/>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matchingName="Quotation 14">
  <p:cSld name="2_Quotation 14">
    <p:spTree>
      <p:nvGrpSpPr>
        <p:cNvPr id="1" name="Shape 16997"/>
        <p:cNvGrpSpPr/>
        <p:nvPr/>
      </p:nvGrpSpPr>
      <p:grpSpPr>
        <a:xfrm>
          <a:off x="0" y="0"/>
          <a:ext cx="0" cy="0"/>
          <a:chOff x="0" y="0"/>
          <a:chExt cx="0" cy="0"/>
        </a:xfrm>
      </p:grpSpPr>
      <p:sp>
        <p:nvSpPr>
          <p:cNvPr id="16998" name="Google Shape;16998;p14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9" name="Google Shape;16999;p14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00" name="Google Shape;17000;p1457"/>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01" name="Google Shape;17001;p145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02" name="Google Shape;17002;p1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03" name="Google Shape;17003;p145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04" name="Google Shape;17004;p1457"/>
          <p:cNvGrpSpPr/>
          <p:nvPr/>
        </p:nvGrpSpPr>
        <p:grpSpPr>
          <a:xfrm>
            <a:off x="7191545" y="0"/>
            <a:ext cx="5000460" cy="1425988"/>
            <a:chOff x="7191545" y="0"/>
            <a:chExt cx="5000460" cy="1425988"/>
          </a:xfrm>
        </p:grpSpPr>
        <p:pic>
          <p:nvPicPr>
            <p:cNvPr id="17005" name="Google Shape;17005;p1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06" name="Google Shape;17006;p1457"/>
            <p:cNvGrpSpPr/>
            <p:nvPr/>
          </p:nvGrpSpPr>
          <p:grpSpPr>
            <a:xfrm>
              <a:off x="7191545" y="0"/>
              <a:ext cx="5000460" cy="1425988"/>
              <a:chOff x="7191545" y="0"/>
              <a:chExt cx="5000460" cy="1425988"/>
            </a:xfrm>
          </p:grpSpPr>
          <p:sp>
            <p:nvSpPr>
              <p:cNvPr id="17007" name="Google Shape;17007;p1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08" name="Google Shape;17008;p1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09" name="Google Shape;17009;p1457"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728289923"/>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matchingName="1_Quotation 14">
  <p:cSld name="2_Quotation 14">
    <p:spTree>
      <p:nvGrpSpPr>
        <p:cNvPr id="1" name="Shape 17010"/>
        <p:cNvGrpSpPr/>
        <p:nvPr/>
      </p:nvGrpSpPr>
      <p:grpSpPr>
        <a:xfrm>
          <a:off x="0" y="0"/>
          <a:ext cx="0" cy="0"/>
          <a:chOff x="0" y="0"/>
          <a:chExt cx="0" cy="0"/>
        </a:xfrm>
      </p:grpSpPr>
      <p:sp>
        <p:nvSpPr>
          <p:cNvPr id="17011" name="Google Shape;17011;p145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12" name="Google Shape;17012;p145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13" name="Google Shape;17013;p145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14" name="Google Shape;17014;p145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15" name="Google Shape;17015;p14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16" name="Google Shape;17016;p145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17" name="Google Shape;17017;p1458"/>
          <p:cNvGrpSpPr/>
          <p:nvPr/>
        </p:nvGrpSpPr>
        <p:grpSpPr>
          <a:xfrm>
            <a:off x="7191545" y="0"/>
            <a:ext cx="5000460" cy="1425988"/>
            <a:chOff x="7191545" y="0"/>
            <a:chExt cx="5000460" cy="1425988"/>
          </a:xfrm>
        </p:grpSpPr>
        <p:pic>
          <p:nvPicPr>
            <p:cNvPr id="17018" name="Google Shape;17018;p14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19" name="Google Shape;17019;p1458"/>
            <p:cNvGrpSpPr/>
            <p:nvPr/>
          </p:nvGrpSpPr>
          <p:grpSpPr>
            <a:xfrm>
              <a:off x="7191545" y="0"/>
              <a:ext cx="5000460" cy="1425988"/>
              <a:chOff x="7191545" y="0"/>
              <a:chExt cx="5000460" cy="1425988"/>
            </a:xfrm>
          </p:grpSpPr>
          <p:sp>
            <p:nvSpPr>
              <p:cNvPr id="17020" name="Google Shape;17020;p14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1" name="Google Shape;17021;p14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22" name="Google Shape;17022;p145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479669399"/>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matchingName="Title and Content 12">
  <p:cSld name="1_Title and Content 12">
    <p:spTree>
      <p:nvGrpSpPr>
        <p:cNvPr id="1" name="Shape 17023"/>
        <p:cNvGrpSpPr/>
        <p:nvPr/>
      </p:nvGrpSpPr>
      <p:grpSpPr>
        <a:xfrm>
          <a:off x="0" y="0"/>
          <a:ext cx="0" cy="0"/>
          <a:chOff x="0" y="0"/>
          <a:chExt cx="0" cy="0"/>
        </a:xfrm>
      </p:grpSpPr>
      <p:grpSp>
        <p:nvGrpSpPr>
          <p:cNvPr id="17024" name="Google Shape;17024;p1459"/>
          <p:cNvGrpSpPr/>
          <p:nvPr/>
        </p:nvGrpSpPr>
        <p:grpSpPr>
          <a:xfrm>
            <a:off x="7191545" y="0"/>
            <a:ext cx="5000460" cy="1425988"/>
            <a:chOff x="7191545" y="0"/>
            <a:chExt cx="5000460" cy="1425988"/>
          </a:xfrm>
        </p:grpSpPr>
        <p:pic>
          <p:nvPicPr>
            <p:cNvPr id="17025" name="Google Shape;17025;p14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26" name="Google Shape;17026;p1459"/>
            <p:cNvGrpSpPr/>
            <p:nvPr/>
          </p:nvGrpSpPr>
          <p:grpSpPr>
            <a:xfrm>
              <a:off x="7191545" y="0"/>
              <a:ext cx="5000460" cy="1425988"/>
              <a:chOff x="7191545" y="0"/>
              <a:chExt cx="5000460" cy="1425988"/>
            </a:xfrm>
          </p:grpSpPr>
          <p:sp>
            <p:nvSpPr>
              <p:cNvPr id="17027" name="Google Shape;17027;p14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8" name="Google Shape;17028;p14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29" name="Google Shape;17029;p145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0" name="Google Shape;17030;p145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31" name="Google Shape;17031;p145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32" name="Google Shape;17032;p14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33" name="Google Shape;17033;p145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71450747"/>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matchingName="Two Content 8">
  <p:cSld name="1_Two Content 8">
    <p:spTree>
      <p:nvGrpSpPr>
        <p:cNvPr id="1" name="Shape 17034"/>
        <p:cNvGrpSpPr/>
        <p:nvPr/>
      </p:nvGrpSpPr>
      <p:grpSpPr>
        <a:xfrm>
          <a:off x="0" y="0"/>
          <a:ext cx="0" cy="0"/>
          <a:chOff x="0" y="0"/>
          <a:chExt cx="0" cy="0"/>
        </a:xfrm>
      </p:grpSpPr>
      <p:sp>
        <p:nvSpPr>
          <p:cNvPr id="17035" name="Google Shape;17035;p146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6" name="Google Shape;17036;p1460"/>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7037" name="Google Shape;17037;p1460"/>
          <p:cNvGrpSpPr/>
          <p:nvPr/>
        </p:nvGrpSpPr>
        <p:grpSpPr>
          <a:xfrm>
            <a:off x="7191545" y="0"/>
            <a:ext cx="5000460" cy="1425988"/>
            <a:chOff x="7191545" y="0"/>
            <a:chExt cx="5000460" cy="1425988"/>
          </a:xfrm>
        </p:grpSpPr>
        <p:pic>
          <p:nvPicPr>
            <p:cNvPr id="17038" name="Google Shape;17038;p14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39" name="Google Shape;17039;p1460"/>
            <p:cNvGrpSpPr/>
            <p:nvPr/>
          </p:nvGrpSpPr>
          <p:grpSpPr>
            <a:xfrm>
              <a:off x="7191545" y="0"/>
              <a:ext cx="5000460" cy="1425988"/>
              <a:chOff x="7191545" y="0"/>
              <a:chExt cx="5000460" cy="1425988"/>
            </a:xfrm>
          </p:grpSpPr>
          <p:sp>
            <p:nvSpPr>
              <p:cNvPr id="17040" name="Google Shape;17040;p14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41" name="Google Shape;17041;p14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42" name="Google Shape;17042;p1460"/>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43" name="Google Shape;17043;p1460"/>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44" name="Google Shape;17044;p14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45" name="Google Shape;17045;p146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61073466"/>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matchingName="Comparison 7">
  <p:cSld name="1_Comparison 7">
    <p:spTree>
      <p:nvGrpSpPr>
        <p:cNvPr id="1" name="Shape 17046"/>
        <p:cNvGrpSpPr/>
        <p:nvPr/>
      </p:nvGrpSpPr>
      <p:grpSpPr>
        <a:xfrm>
          <a:off x="0" y="0"/>
          <a:ext cx="0" cy="0"/>
          <a:chOff x="0" y="0"/>
          <a:chExt cx="0" cy="0"/>
        </a:xfrm>
      </p:grpSpPr>
      <p:grpSp>
        <p:nvGrpSpPr>
          <p:cNvPr id="17047" name="Google Shape;17047;p1461"/>
          <p:cNvGrpSpPr/>
          <p:nvPr/>
        </p:nvGrpSpPr>
        <p:grpSpPr>
          <a:xfrm>
            <a:off x="7191545" y="0"/>
            <a:ext cx="5000460" cy="1425988"/>
            <a:chOff x="7191545" y="0"/>
            <a:chExt cx="5000460" cy="1425988"/>
          </a:xfrm>
        </p:grpSpPr>
        <p:pic>
          <p:nvPicPr>
            <p:cNvPr id="17048" name="Google Shape;17048;p1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49" name="Google Shape;17049;p1461"/>
            <p:cNvGrpSpPr/>
            <p:nvPr/>
          </p:nvGrpSpPr>
          <p:grpSpPr>
            <a:xfrm>
              <a:off x="7191545" y="0"/>
              <a:ext cx="5000460" cy="1425988"/>
              <a:chOff x="7191545" y="0"/>
              <a:chExt cx="5000460" cy="1425988"/>
            </a:xfrm>
          </p:grpSpPr>
          <p:sp>
            <p:nvSpPr>
              <p:cNvPr id="17050" name="Google Shape;17050;p1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51" name="Google Shape;17051;p1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52" name="Google Shape;17052;p146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53" name="Google Shape;17053;p146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54" name="Google Shape;17054;p1461"/>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55" name="Google Shape;17055;p1461"/>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56" name="Google Shape;17056;p1461"/>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57" name="Google Shape;17057;p146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58" name="Google Shape;17058;p1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59" name="Google Shape;17059;p146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14470378"/>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matchingName="End 8">
  <p:cSld name="1_End 8">
    <p:spTree>
      <p:nvGrpSpPr>
        <p:cNvPr id="1" name="Shape 17070"/>
        <p:cNvGrpSpPr/>
        <p:nvPr/>
      </p:nvGrpSpPr>
      <p:grpSpPr>
        <a:xfrm>
          <a:off x="0" y="0"/>
          <a:ext cx="0" cy="0"/>
          <a:chOff x="0" y="0"/>
          <a:chExt cx="0" cy="0"/>
        </a:xfrm>
      </p:grpSpPr>
      <p:grpSp>
        <p:nvGrpSpPr>
          <p:cNvPr id="17071" name="Google Shape;17071;p1463"/>
          <p:cNvGrpSpPr/>
          <p:nvPr/>
        </p:nvGrpSpPr>
        <p:grpSpPr>
          <a:xfrm>
            <a:off x="0" y="0"/>
            <a:ext cx="12191996" cy="2148830"/>
            <a:chOff x="0" y="0"/>
            <a:chExt cx="12191996" cy="2148830"/>
          </a:xfrm>
        </p:grpSpPr>
        <p:sp>
          <p:nvSpPr>
            <p:cNvPr id="17072" name="Google Shape;17072;p146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73" name="Google Shape;17073;p146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074" name="Google Shape;17074;p1463"/>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75" name="Google Shape;17075;p1463"/>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076" name="Google Shape;17076;p146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077" name="Google Shape;17077;p146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357796004"/>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matchingName="Photo Slide 10">
  <p:cSld name="2_Photo Slide 10">
    <p:spTree>
      <p:nvGrpSpPr>
        <p:cNvPr id="1" name="Shape 17103"/>
        <p:cNvGrpSpPr/>
        <p:nvPr/>
      </p:nvGrpSpPr>
      <p:grpSpPr>
        <a:xfrm>
          <a:off x="0" y="0"/>
          <a:ext cx="0" cy="0"/>
          <a:chOff x="0" y="0"/>
          <a:chExt cx="0" cy="0"/>
        </a:xfrm>
      </p:grpSpPr>
      <p:sp>
        <p:nvSpPr>
          <p:cNvPr id="17104" name="Google Shape;17104;p14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105" name="Google Shape;17105;p1467"/>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106" name="Google Shape;17106;p1467"/>
          <p:cNvGrpSpPr/>
          <p:nvPr/>
        </p:nvGrpSpPr>
        <p:grpSpPr>
          <a:xfrm>
            <a:off x="3" y="5379427"/>
            <a:ext cx="2807363" cy="753895"/>
            <a:chOff x="0" y="5379424"/>
            <a:chExt cx="2807363" cy="753895"/>
          </a:xfrm>
        </p:grpSpPr>
        <p:sp>
          <p:nvSpPr>
            <p:cNvPr id="17107" name="Google Shape;17107;p14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08" name="Google Shape;17108;p14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109" name="Google Shape;17109;p1467"/>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3722994528"/>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matchingName="Quotation 15">
  <p:cSld name="2_Quotation 15">
    <p:spTree>
      <p:nvGrpSpPr>
        <p:cNvPr id="1" name="Shape 17110"/>
        <p:cNvGrpSpPr/>
        <p:nvPr/>
      </p:nvGrpSpPr>
      <p:grpSpPr>
        <a:xfrm>
          <a:off x="0" y="0"/>
          <a:ext cx="0" cy="0"/>
          <a:chOff x="0" y="0"/>
          <a:chExt cx="0" cy="0"/>
        </a:xfrm>
      </p:grpSpPr>
      <p:sp>
        <p:nvSpPr>
          <p:cNvPr id="17111" name="Google Shape;17111;p14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12" name="Google Shape;17112;p14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13" name="Google Shape;17113;p1468"/>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14" name="Google Shape;17114;p146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15" name="Google Shape;17115;p14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16" name="Google Shape;17116;p146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17" name="Google Shape;17117;p1468"/>
          <p:cNvGrpSpPr/>
          <p:nvPr/>
        </p:nvGrpSpPr>
        <p:grpSpPr>
          <a:xfrm>
            <a:off x="7191545" y="0"/>
            <a:ext cx="5000460" cy="1425988"/>
            <a:chOff x="7191545" y="0"/>
            <a:chExt cx="5000460" cy="1425988"/>
          </a:xfrm>
        </p:grpSpPr>
        <p:pic>
          <p:nvPicPr>
            <p:cNvPr id="17118" name="Google Shape;17118;p14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19" name="Google Shape;17119;p1468"/>
            <p:cNvGrpSpPr/>
            <p:nvPr/>
          </p:nvGrpSpPr>
          <p:grpSpPr>
            <a:xfrm>
              <a:off x="7191545" y="0"/>
              <a:ext cx="5000460" cy="1425988"/>
              <a:chOff x="7191545" y="0"/>
              <a:chExt cx="5000460" cy="1425988"/>
            </a:xfrm>
          </p:grpSpPr>
          <p:sp>
            <p:nvSpPr>
              <p:cNvPr id="17120" name="Google Shape;17120;p14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1" name="Google Shape;17121;p14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22" name="Google Shape;17122;p1468"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27420741"/>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matchingName="Title and Content 13">
  <p:cSld name="2_Title and Content 13">
    <p:spTree>
      <p:nvGrpSpPr>
        <p:cNvPr id="1" name="Shape 17123"/>
        <p:cNvGrpSpPr/>
        <p:nvPr/>
      </p:nvGrpSpPr>
      <p:grpSpPr>
        <a:xfrm>
          <a:off x="0" y="0"/>
          <a:ext cx="0" cy="0"/>
          <a:chOff x="0" y="0"/>
          <a:chExt cx="0" cy="0"/>
        </a:xfrm>
      </p:grpSpPr>
      <p:grpSp>
        <p:nvGrpSpPr>
          <p:cNvPr id="17124" name="Google Shape;17124;p1469"/>
          <p:cNvGrpSpPr/>
          <p:nvPr/>
        </p:nvGrpSpPr>
        <p:grpSpPr>
          <a:xfrm>
            <a:off x="7191545" y="0"/>
            <a:ext cx="5000460" cy="1425988"/>
            <a:chOff x="7191545" y="0"/>
            <a:chExt cx="5000460" cy="1425988"/>
          </a:xfrm>
        </p:grpSpPr>
        <p:pic>
          <p:nvPicPr>
            <p:cNvPr id="17125" name="Google Shape;17125;p1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26" name="Google Shape;17126;p1469"/>
            <p:cNvGrpSpPr/>
            <p:nvPr/>
          </p:nvGrpSpPr>
          <p:grpSpPr>
            <a:xfrm>
              <a:off x="7191545" y="0"/>
              <a:ext cx="5000460" cy="1425988"/>
              <a:chOff x="7191545" y="0"/>
              <a:chExt cx="5000460" cy="1425988"/>
            </a:xfrm>
          </p:grpSpPr>
          <p:sp>
            <p:nvSpPr>
              <p:cNvPr id="17127" name="Google Shape;17127;p1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8" name="Google Shape;17128;p1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29" name="Google Shape;17129;p146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0" name="Google Shape;17130;p146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31" name="Google Shape;17131;p146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32" name="Google Shape;17132;p1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33" name="Google Shape;17133;p146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113914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444"/>
        <p:cNvGrpSpPr/>
        <p:nvPr/>
      </p:nvGrpSpPr>
      <p:grpSpPr>
        <a:xfrm>
          <a:off x="0" y="0"/>
          <a:ext cx="0" cy="0"/>
          <a:chOff x="0" y="0"/>
          <a:chExt cx="0" cy="0"/>
        </a:xfrm>
      </p:grpSpPr>
      <p:grpSp>
        <p:nvGrpSpPr>
          <p:cNvPr id="445" name="Google Shape;445;p43"/>
          <p:cNvGrpSpPr/>
          <p:nvPr/>
        </p:nvGrpSpPr>
        <p:grpSpPr>
          <a:xfrm>
            <a:off x="7191542" y="1"/>
            <a:ext cx="5000459" cy="1425992"/>
            <a:chOff x="7191542" y="1"/>
            <a:chExt cx="5000459" cy="1425992"/>
          </a:xfrm>
        </p:grpSpPr>
        <p:pic>
          <p:nvPicPr>
            <p:cNvPr id="446" name="Google Shape;44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7" name="Google Shape;447;p43"/>
            <p:cNvGrpSpPr/>
            <p:nvPr/>
          </p:nvGrpSpPr>
          <p:grpSpPr>
            <a:xfrm>
              <a:off x="7191542" y="1"/>
              <a:ext cx="5000459" cy="1425992"/>
              <a:chOff x="7186272" y="0"/>
              <a:chExt cx="5005729" cy="1427495"/>
            </a:xfrm>
          </p:grpSpPr>
          <p:sp>
            <p:nvSpPr>
              <p:cNvPr id="448" name="Google Shape;44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0" name="Google Shape;45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 name="Google Shape;45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25123176"/>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matchingName="Two Content 9">
  <p:cSld name="2_Two Content 9">
    <p:spTree>
      <p:nvGrpSpPr>
        <p:cNvPr id="1" name="Shape 17134"/>
        <p:cNvGrpSpPr/>
        <p:nvPr/>
      </p:nvGrpSpPr>
      <p:grpSpPr>
        <a:xfrm>
          <a:off x="0" y="0"/>
          <a:ext cx="0" cy="0"/>
          <a:chOff x="0" y="0"/>
          <a:chExt cx="0" cy="0"/>
        </a:xfrm>
      </p:grpSpPr>
      <p:sp>
        <p:nvSpPr>
          <p:cNvPr id="17135" name="Google Shape;17135;p147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6" name="Google Shape;17136;p1470"/>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7137" name="Google Shape;17137;p1470"/>
          <p:cNvGrpSpPr/>
          <p:nvPr/>
        </p:nvGrpSpPr>
        <p:grpSpPr>
          <a:xfrm>
            <a:off x="7191545" y="0"/>
            <a:ext cx="5000460" cy="1425988"/>
            <a:chOff x="7191545" y="0"/>
            <a:chExt cx="5000460" cy="1425988"/>
          </a:xfrm>
        </p:grpSpPr>
        <p:pic>
          <p:nvPicPr>
            <p:cNvPr id="17138" name="Google Shape;17138;p1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39" name="Google Shape;17139;p1470"/>
            <p:cNvGrpSpPr/>
            <p:nvPr/>
          </p:nvGrpSpPr>
          <p:grpSpPr>
            <a:xfrm>
              <a:off x="7191545" y="0"/>
              <a:ext cx="5000460" cy="1425988"/>
              <a:chOff x="7191545" y="0"/>
              <a:chExt cx="5000460" cy="1425988"/>
            </a:xfrm>
          </p:grpSpPr>
          <p:sp>
            <p:nvSpPr>
              <p:cNvPr id="17140" name="Google Shape;17140;p1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41" name="Google Shape;17141;p1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42" name="Google Shape;17142;p1470"/>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43" name="Google Shape;17143;p1470"/>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44" name="Google Shape;17144;p1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45" name="Google Shape;17145;p147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26491628"/>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matchingName="Comparison 8">
  <p:cSld name="2_Comparison 8">
    <p:spTree>
      <p:nvGrpSpPr>
        <p:cNvPr id="1" name="Shape 17146"/>
        <p:cNvGrpSpPr/>
        <p:nvPr/>
      </p:nvGrpSpPr>
      <p:grpSpPr>
        <a:xfrm>
          <a:off x="0" y="0"/>
          <a:ext cx="0" cy="0"/>
          <a:chOff x="0" y="0"/>
          <a:chExt cx="0" cy="0"/>
        </a:xfrm>
      </p:grpSpPr>
      <p:grpSp>
        <p:nvGrpSpPr>
          <p:cNvPr id="17147" name="Google Shape;17147;p1471"/>
          <p:cNvGrpSpPr/>
          <p:nvPr/>
        </p:nvGrpSpPr>
        <p:grpSpPr>
          <a:xfrm>
            <a:off x="7191545" y="0"/>
            <a:ext cx="5000460" cy="1425988"/>
            <a:chOff x="7191545" y="0"/>
            <a:chExt cx="5000460" cy="1425988"/>
          </a:xfrm>
        </p:grpSpPr>
        <p:pic>
          <p:nvPicPr>
            <p:cNvPr id="17148" name="Google Shape;17148;p1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49" name="Google Shape;17149;p1471"/>
            <p:cNvGrpSpPr/>
            <p:nvPr/>
          </p:nvGrpSpPr>
          <p:grpSpPr>
            <a:xfrm>
              <a:off x="7191545" y="0"/>
              <a:ext cx="5000460" cy="1425988"/>
              <a:chOff x="7191545" y="0"/>
              <a:chExt cx="5000460" cy="1425988"/>
            </a:xfrm>
          </p:grpSpPr>
          <p:sp>
            <p:nvSpPr>
              <p:cNvPr id="17150" name="Google Shape;17150;p1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51" name="Google Shape;17151;p1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52" name="Google Shape;17152;p147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53" name="Google Shape;17153;p14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54" name="Google Shape;17154;p1471"/>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55" name="Google Shape;17155;p1471"/>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56" name="Google Shape;17156;p1471"/>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57" name="Google Shape;17157;p147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58" name="Google Shape;17158;p1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59" name="Google Shape;17159;p147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1513552"/>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matchingName="End 9">
  <p:cSld name="2_End 9">
    <p:spTree>
      <p:nvGrpSpPr>
        <p:cNvPr id="1" name="Shape 17170"/>
        <p:cNvGrpSpPr/>
        <p:nvPr/>
      </p:nvGrpSpPr>
      <p:grpSpPr>
        <a:xfrm>
          <a:off x="0" y="0"/>
          <a:ext cx="0" cy="0"/>
          <a:chOff x="0" y="0"/>
          <a:chExt cx="0" cy="0"/>
        </a:xfrm>
      </p:grpSpPr>
      <p:grpSp>
        <p:nvGrpSpPr>
          <p:cNvPr id="17171" name="Google Shape;17171;p1473"/>
          <p:cNvGrpSpPr/>
          <p:nvPr/>
        </p:nvGrpSpPr>
        <p:grpSpPr>
          <a:xfrm>
            <a:off x="0" y="0"/>
            <a:ext cx="12191996" cy="2148830"/>
            <a:chOff x="0" y="0"/>
            <a:chExt cx="12191996" cy="2148830"/>
          </a:xfrm>
        </p:grpSpPr>
        <p:sp>
          <p:nvSpPr>
            <p:cNvPr id="17172" name="Google Shape;17172;p14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73" name="Google Shape;17173;p14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174" name="Google Shape;17174;p1473"/>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75" name="Google Shape;17175;p1473"/>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76" name="Google Shape;17176;p14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177" name="Google Shape;17177;p14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98050102"/>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matchingName="3_Quotation 3">
  <p:cSld name="6_Quotation 3">
    <p:spTree>
      <p:nvGrpSpPr>
        <p:cNvPr id="1" name="Shape 17187"/>
        <p:cNvGrpSpPr/>
        <p:nvPr/>
      </p:nvGrpSpPr>
      <p:grpSpPr>
        <a:xfrm>
          <a:off x="0" y="0"/>
          <a:ext cx="0" cy="0"/>
          <a:chOff x="0" y="0"/>
          <a:chExt cx="0" cy="0"/>
        </a:xfrm>
      </p:grpSpPr>
      <p:sp>
        <p:nvSpPr>
          <p:cNvPr id="17188" name="Google Shape;17188;p14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89" name="Google Shape;17189;p1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90" name="Google Shape;17190;p147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191" name="Google Shape;17191;p147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92" name="Google Shape;17192;p1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93" name="Google Shape;17193;p147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94" name="Google Shape;17194;p1475"/>
          <p:cNvGrpSpPr/>
          <p:nvPr/>
        </p:nvGrpSpPr>
        <p:grpSpPr>
          <a:xfrm>
            <a:off x="7191545" y="0"/>
            <a:ext cx="5000460" cy="1425988"/>
            <a:chOff x="7191545" y="0"/>
            <a:chExt cx="5000460" cy="1425988"/>
          </a:xfrm>
        </p:grpSpPr>
        <p:pic>
          <p:nvPicPr>
            <p:cNvPr id="17195" name="Google Shape;17195;p1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96" name="Google Shape;17196;p1475"/>
            <p:cNvGrpSpPr/>
            <p:nvPr/>
          </p:nvGrpSpPr>
          <p:grpSpPr>
            <a:xfrm>
              <a:off x="7191545" y="0"/>
              <a:ext cx="5000460" cy="1425988"/>
              <a:chOff x="7191545" y="0"/>
              <a:chExt cx="5000460" cy="1425988"/>
            </a:xfrm>
          </p:grpSpPr>
          <p:sp>
            <p:nvSpPr>
              <p:cNvPr id="17197" name="Google Shape;17197;p1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98" name="Google Shape;17198;p1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99" name="Google Shape;17199;p147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239754427"/>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matchingName="1_Photo Slide 10">
  <p:cSld name="2_Photo Slide 10">
    <p:spTree>
      <p:nvGrpSpPr>
        <p:cNvPr id="1" name="Shape 17216"/>
        <p:cNvGrpSpPr/>
        <p:nvPr/>
      </p:nvGrpSpPr>
      <p:grpSpPr>
        <a:xfrm>
          <a:off x="0" y="0"/>
          <a:ext cx="0" cy="0"/>
          <a:chOff x="0" y="0"/>
          <a:chExt cx="0" cy="0"/>
        </a:xfrm>
      </p:grpSpPr>
      <p:sp>
        <p:nvSpPr>
          <p:cNvPr id="17217" name="Google Shape;17217;p147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218" name="Google Shape;17218;p1478"/>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219" name="Google Shape;17219;p1478"/>
          <p:cNvGrpSpPr/>
          <p:nvPr/>
        </p:nvGrpSpPr>
        <p:grpSpPr>
          <a:xfrm>
            <a:off x="3" y="5379427"/>
            <a:ext cx="2807363" cy="753895"/>
            <a:chOff x="0" y="5379424"/>
            <a:chExt cx="2807363" cy="753895"/>
          </a:xfrm>
        </p:grpSpPr>
        <p:sp>
          <p:nvSpPr>
            <p:cNvPr id="17220" name="Google Shape;17220;p147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1" name="Google Shape;17221;p147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222" name="Google Shape;17222;p1478"/>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2446479964"/>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matchingName="1_Quotation 15">
  <p:cSld name="2_Quotation 15">
    <p:spTree>
      <p:nvGrpSpPr>
        <p:cNvPr id="1" name="Shape 17223"/>
        <p:cNvGrpSpPr/>
        <p:nvPr/>
      </p:nvGrpSpPr>
      <p:grpSpPr>
        <a:xfrm>
          <a:off x="0" y="0"/>
          <a:ext cx="0" cy="0"/>
          <a:chOff x="0" y="0"/>
          <a:chExt cx="0" cy="0"/>
        </a:xfrm>
      </p:grpSpPr>
      <p:sp>
        <p:nvSpPr>
          <p:cNvPr id="17224" name="Google Shape;17224;p147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5" name="Google Shape;17225;p147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26" name="Google Shape;17226;p147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27" name="Google Shape;17227;p147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28" name="Google Shape;17228;p1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29" name="Google Shape;17229;p147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30" name="Google Shape;17230;p1479"/>
          <p:cNvGrpSpPr/>
          <p:nvPr/>
        </p:nvGrpSpPr>
        <p:grpSpPr>
          <a:xfrm>
            <a:off x="7191545" y="0"/>
            <a:ext cx="5000460" cy="1425988"/>
            <a:chOff x="7191545" y="0"/>
            <a:chExt cx="5000460" cy="1425988"/>
          </a:xfrm>
        </p:grpSpPr>
        <p:pic>
          <p:nvPicPr>
            <p:cNvPr id="17231" name="Google Shape;17231;p1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2" name="Google Shape;17232;p1479"/>
            <p:cNvGrpSpPr/>
            <p:nvPr/>
          </p:nvGrpSpPr>
          <p:grpSpPr>
            <a:xfrm>
              <a:off x="7191545" y="0"/>
              <a:ext cx="5000460" cy="1425988"/>
              <a:chOff x="7191545" y="0"/>
              <a:chExt cx="5000460" cy="1425988"/>
            </a:xfrm>
          </p:grpSpPr>
          <p:sp>
            <p:nvSpPr>
              <p:cNvPr id="17233" name="Google Shape;17233;p1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34" name="Google Shape;17234;p1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235" name="Google Shape;17235;p147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011206073"/>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matchingName="1_Title and Content 13">
  <p:cSld name="2_Title and Content 13">
    <p:spTree>
      <p:nvGrpSpPr>
        <p:cNvPr id="1" name="Shape 17236"/>
        <p:cNvGrpSpPr/>
        <p:nvPr/>
      </p:nvGrpSpPr>
      <p:grpSpPr>
        <a:xfrm>
          <a:off x="0" y="0"/>
          <a:ext cx="0" cy="0"/>
          <a:chOff x="0" y="0"/>
          <a:chExt cx="0" cy="0"/>
        </a:xfrm>
      </p:grpSpPr>
      <p:grpSp>
        <p:nvGrpSpPr>
          <p:cNvPr id="17237" name="Google Shape;17237;p1480"/>
          <p:cNvGrpSpPr/>
          <p:nvPr/>
        </p:nvGrpSpPr>
        <p:grpSpPr>
          <a:xfrm>
            <a:off x="7191545" y="0"/>
            <a:ext cx="5000460" cy="1425988"/>
            <a:chOff x="7191545" y="0"/>
            <a:chExt cx="5000460" cy="1425988"/>
          </a:xfrm>
        </p:grpSpPr>
        <p:pic>
          <p:nvPicPr>
            <p:cNvPr id="17238" name="Google Shape;17238;p1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9" name="Google Shape;17239;p1480"/>
            <p:cNvGrpSpPr/>
            <p:nvPr/>
          </p:nvGrpSpPr>
          <p:grpSpPr>
            <a:xfrm>
              <a:off x="7191545" y="0"/>
              <a:ext cx="5000460" cy="1425988"/>
              <a:chOff x="7191545" y="0"/>
              <a:chExt cx="5000460" cy="1425988"/>
            </a:xfrm>
          </p:grpSpPr>
          <p:sp>
            <p:nvSpPr>
              <p:cNvPr id="17240" name="Google Shape;17240;p1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41" name="Google Shape;17241;p1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42" name="Google Shape;17242;p1480"/>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3" name="Google Shape;17243;p148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44" name="Google Shape;17244;p148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45" name="Google Shape;17245;p1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46" name="Google Shape;17246;p148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46914695"/>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matchingName="1_Two Content 9">
  <p:cSld name="2_Two Content 9">
    <p:spTree>
      <p:nvGrpSpPr>
        <p:cNvPr id="1" name="Shape 17247"/>
        <p:cNvGrpSpPr/>
        <p:nvPr/>
      </p:nvGrpSpPr>
      <p:grpSpPr>
        <a:xfrm>
          <a:off x="0" y="0"/>
          <a:ext cx="0" cy="0"/>
          <a:chOff x="0" y="0"/>
          <a:chExt cx="0" cy="0"/>
        </a:xfrm>
      </p:grpSpPr>
      <p:sp>
        <p:nvSpPr>
          <p:cNvPr id="17248" name="Google Shape;17248;p148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9" name="Google Shape;17249;p1481"/>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7250" name="Google Shape;17250;p1481"/>
          <p:cNvGrpSpPr/>
          <p:nvPr/>
        </p:nvGrpSpPr>
        <p:grpSpPr>
          <a:xfrm>
            <a:off x="7191545" y="0"/>
            <a:ext cx="5000460" cy="1425988"/>
            <a:chOff x="7191545" y="0"/>
            <a:chExt cx="5000460" cy="1425988"/>
          </a:xfrm>
        </p:grpSpPr>
        <p:pic>
          <p:nvPicPr>
            <p:cNvPr id="17251" name="Google Shape;17251;p1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52" name="Google Shape;17252;p1481"/>
            <p:cNvGrpSpPr/>
            <p:nvPr/>
          </p:nvGrpSpPr>
          <p:grpSpPr>
            <a:xfrm>
              <a:off x="7191545" y="0"/>
              <a:ext cx="5000460" cy="1425988"/>
              <a:chOff x="7191545" y="0"/>
              <a:chExt cx="5000460" cy="1425988"/>
            </a:xfrm>
          </p:grpSpPr>
          <p:sp>
            <p:nvSpPr>
              <p:cNvPr id="17253" name="Google Shape;17253;p1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54" name="Google Shape;17254;p1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55" name="Google Shape;17255;p1481"/>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56" name="Google Shape;17256;p1481"/>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57" name="Google Shape;17257;p1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58" name="Google Shape;17258;p148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86814257"/>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matchingName="1_Comparison 8">
  <p:cSld name="2_Comparison 8">
    <p:spTree>
      <p:nvGrpSpPr>
        <p:cNvPr id="1" name="Shape 17259"/>
        <p:cNvGrpSpPr/>
        <p:nvPr/>
      </p:nvGrpSpPr>
      <p:grpSpPr>
        <a:xfrm>
          <a:off x="0" y="0"/>
          <a:ext cx="0" cy="0"/>
          <a:chOff x="0" y="0"/>
          <a:chExt cx="0" cy="0"/>
        </a:xfrm>
      </p:grpSpPr>
      <p:grpSp>
        <p:nvGrpSpPr>
          <p:cNvPr id="17260" name="Google Shape;17260;p1482"/>
          <p:cNvGrpSpPr/>
          <p:nvPr/>
        </p:nvGrpSpPr>
        <p:grpSpPr>
          <a:xfrm>
            <a:off x="7191545" y="0"/>
            <a:ext cx="5000460" cy="1425988"/>
            <a:chOff x="7191545" y="0"/>
            <a:chExt cx="5000460" cy="1425988"/>
          </a:xfrm>
        </p:grpSpPr>
        <p:pic>
          <p:nvPicPr>
            <p:cNvPr id="17261" name="Google Shape;17261;p1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62" name="Google Shape;17262;p1482"/>
            <p:cNvGrpSpPr/>
            <p:nvPr/>
          </p:nvGrpSpPr>
          <p:grpSpPr>
            <a:xfrm>
              <a:off x="7191545" y="0"/>
              <a:ext cx="5000460" cy="1425988"/>
              <a:chOff x="7191545" y="0"/>
              <a:chExt cx="5000460" cy="1425988"/>
            </a:xfrm>
          </p:grpSpPr>
          <p:sp>
            <p:nvSpPr>
              <p:cNvPr id="17263" name="Google Shape;17263;p1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64" name="Google Shape;17264;p1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65" name="Google Shape;17265;p148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66" name="Google Shape;17266;p148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67" name="Google Shape;17267;p1482"/>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68" name="Google Shape;17268;p1482"/>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69" name="Google Shape;17269;p1482"/>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70" name="Google Shape;17270;p148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71" name="Google Shape;17271;p1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72" name="Google Shape;17272;p148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18729"/>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matchingName="1_End 9">
  <p:cSld name="2_End 9">
    <p:spTree>
      <p:nvGrpSpPr>
        <p:cNvPr id="1" name="Shape 17283"/>
        <p:cNvGrpSpPr/>
        <p:nvPr/>
      </p:nvGrpSpPr>
      <p:grpSpPr>
        <a:xfrm>
          <a:off x="0" y="0"/>
          <a:ext cx="0" cy="0"/>
          <a:chOff x="0" y="0"/>
          <a:chExt cx="0" cy="0"/>
        </a:xfrm>
      </p:grpSpPr>
      <p:grpSp>
        <p:nvGrpSpPr>
          <p:cNvPr id="17284" name="Google Shape;17284;p1484"/>
          <p:cNvGrpSpPr/>
          <p:nvPr/>
        </p:nvGrpSpPr>
        <p:grpSpPr>
          <a:xfrm>
            <a:off x="0" y="0"/>
            <a:ext cx="12191996" cy="2148830"/>
            <a:chOff x="0" y="0"/>
            <a:chExt cx="12191996" cy="2148830"/>
          </a:xfrm>
        </p:grpSpPr>
        <p:sp>
          <p:nvSpPr>
            <p:cNvPr id="17285" name="Google Shape;17285;p148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86" name="Google Shape;17286;p148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287" name="Google Shape;17287;p1484"/>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88" name="Google Shape;17288;p1484"/>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289" name="Google Shape;17289;p148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290" name="Google Shape;17290;p148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3499191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Content" type="obj">
  <p:cSld name="2_Title and Content">
    <p:spTree>
      <p:nvGrpSpPr>
        <p:cNvPr id="1" name="Shape 43"/>
        <p:cNvGrpSpPr/>
        <p:nvPr/>
      </p:nvGrpSpPr>
      <p:grpSpPr>
        <a:xfrm>
          <a:off x="0" y="0"/>
          <a:ext cx="0" cy="0"/>
          <a:chOff x="0" y="0"/>
          <a:chExt cx="0" cy="0"/>
        </a:xfrm>
      </p:grpSpPr>
      <p:grpSp>
        <p:nvGrpSpPr>
          <p:cNvPr id="44" name="Google Shape;44;p5"/>
          <p:cNvGrpSpPr/>
          <p:nvPr/>
        </p:nvGrpSpPr>
        <p:grpSpPr>
          <a:xfrm>
            <a:off x="7191542" y="1"/>
            <a:ext cx="5000459" cy="1425992"/>
            <a:chOff x="7191542" y="1"/>
            <a:chExt cx="5000459" cy="1425992"/>
          </a:xfrm>
        </p:grpSpPr>
        <p:pic>
          <p:nvPicPr>
            <p:cNvPr id="45" name="Google Shape;45;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 name="Google Shape;46;p5"/>
            <p:cNvGrpSpPr/>
            <p:nvPr/>
          </p:nvGrpSpPr>
          <p:grpSpPr>
            <a:xfrm>
              <a:off x="7191542" y="1"/>
              <a:ext cx="5000459" cy="1425992"/>
              <a:chOff x="7186272" y="0"/>
              <a:chExt cx="5005729" cy="1427495"/>
            </a:xfrm>
          </p:grpSpPr>
          <p:sp>
            <p:nvSpPr>
              <p:cNvPr id="47" name="Google Shape;47;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 name="Google Shape;49;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 name="Google Shape;52;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 name="Google Shape;53;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18512210"/>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matchingName="4_Quotation 3">
  <p:cSld name="6_Quotation 3">
    <p:spTree>
      <p:nvGrpSpPr>
        <p:cNvPr id="1" name="Shape 17300"/>
        <p:cNvGrpSpPr/>
        <p:nvPr/>
      </p:nvGrpSpPr>
      <p:grpSpPr>
        <a:xfrm>
          <a:off x="0" y="0"/>
          <a:ext cx="0" cy="0"/>
          <a:chOff x="0" y="0"/>
          <a:chExt cx="0" cy="0"/>
        </a:xfrm>
      </p:grpSpPr>
      <p:sp>
        <p:nvSpPr>
          <p:cNvPr id="17301" name="Google Shape;17301;p148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302" name="Google Shape;17302;p148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03" name="Google Shape;17303;p148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04" name="Google Shape;17304;p148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305" name="Google Shape;17305;p14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306" name="Google Shape;17306;p148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07" name="Google Shape;17307;p1486"/>
          <p:cNvGrpSpPr/>
          <p:nvPr/>
        </p:nvGrpSpPr>
        <p:grpSpPr>
          <a:xfrm>
            <a:off x="7191545" y="0"/>
            <a:ext cx="5000460" cy="1425988"/>
            <a:chOff x="7191545" y="0"/>
            <a:chExt cx="5000460" cy="1425988"/>
          </a:xfrm>
        </p:grpSpPr>
        <p:pic>
          <p:nvPicPr>
            <p:cNvPr id="17308" name="Google Shape;17308;p14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309" name="Google Shape;17309;p1486"/>
            <p:cNvGrpSpPr/>
            <p:nvPr/>
          </p:nvGrpSpPr>
          <p:grpSpPr>
            <a:xfrm>
              <a:off x="7191545" y="0"/>
              <a:ext cx="5000460" cy="1425988"/>
              <a:chOff x="7191545" y="0"/>
              <a:chExt cx="5000460" cy="1425988"/>
            </a:xfrm>
          </p:grpSpPr>
          <p:sp>
            <p:nvSpPr>
              <p:cNvPr id="17310" name="Google Shape;17310;p14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311" name="Google Shape;17311;p14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312" name="Google Shape;17312;p148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947864310"/>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319"/>
        <p:cNvGrpSpPr/>
        <p:nvPr/>
      </p:nvGrpSpPr>
      <p:grpSpPr>
        <a:xfrm>
          <a:off x="0" y="0"/>
          <a:ext cx="0" cy="0"/>
          <a:chOff x="0" y="0"/>
          <a:chExt cx="0" cy="0"/>
        </a:xfrm>
      </p:grpSpPr>
      <p:sp>
        <p:nvSpPr>
          <p:cNvPr id="17320" name="Google Shape;17320;p1488"/>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21" name="Google Shape;17321;p1488"/>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2" name="Google Shape;17322;p148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23" name="Google Shape;17323;p148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4" name="Google Shape;17324;p148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25" name="Google Shape;17325;p1488"/>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6" name="Google Shape;17326;p148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7" name="Google Shape;17327;p1488"/>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328" name="Google Shape;17328;p1488"/>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976112975"/>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matchingName="3_Title Slide_Yale Blue 2">
  <p:cSld name="4_Title Slide_Yale Blue 2">
    <p:spTree>
      <p:nvGrpSpPr>
        <p:cNvPr id="1" name="Shape 17329"/>
        <p:cNvGrpSpPr/>
        <p:nvPr/>
      </p:nvGrpSpPr>
      <p:grpSpPr>
        <a:xfrm>
          <a:off x="0" y="0"/>
          <a:ext cx="0" cy="0"/>
          <a:chOff x="0" y="0"/>
          <a:chExt cx="0" cy="0"/>
        </a:xfrm>
      </p:grpSpPr>
      <p:sp>
        <p:nvSpPr>
          <p:cNvPr id="17330" name="Google Shape;17330;p1489"/>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31" name="Google Shape;17331;p1489"/>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2" name="Google Shape;17332;p148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33" name="Google Shape;17333;p148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4" name="Google Shape;17334;p148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35" name="Google Shape;17335;p1489"/>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6" name="Google Shape;17336;p1489"/>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7" name="Google Shape;17337;p1489"/>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338" name="Google Shape;17338;p1489"/>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557259378"/>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339"/>
        <p:cNvGrpSpPr/>
        <p:nvPr/>
      </p:nvGrpSpPr>
      <p:grpSpPr>
        <a:xfrm>
          <a:off x="0" y="0"/>
          <a:ext cx="0" cy="0"/>
          <a:chOff x="0" y="0"/>
          <a:chExt cx="0" cy="0"/>
        </a:xfrm>
      </p:grpSpPr>
      <p:sp>
        <p:nvSpPr>
          <p:cNvPr id="17340" name="Google Shape;17340;p1490"/>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41" name="Google Shape;17341;p1490"/>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2" name="Google Shape;17342;p149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3" name="Google Shape;17343;p1490"/>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344" name="Google Shape;17344;p14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1772168347"/>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7345"/>
        <p:cNvGrpSpPr/>
        <p:nvPr/>
      </p:nvGrpSpPr>
      <p:grpSpPr>
        <a:xfrm>
          <a:off x="0" y="0"/>
          <a:ext cx="0" cy="0"/>
          <a:chOff x="0" y="0"/>
          <a:chExt cx="0" cy="0"/>
        </a:xfrm>
      </p:grpSpPr>
      <p:sp>
        <p:nvSpPr>
          <p:cNvPr id="17346" name="Google Shape;17346;p1491"/>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47" name="Google Shape;17347;p14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
        <p:nvSpPr>
          <p:cNvPr id="17348" name="Google Shape;17348;p149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9" name="Google Shape;17349;p1491"/>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0" name="Google Shape;17350;p1491"/>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6966692"/>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7351"/>
        <p:cNvGrpSpPr/>
        <p:nvPr/>
      </p:nvGrpSpPr>
      <p:grpSpPr>
        <a:xfrm>
          <a:off x="0" y="0"/>
          <a:ext cx="0" cy="0"/>
          <a:chOff x="0" y="0"/>
          <a:chExt cx="0" cy="0"/>
        </a:xfrm>
      </p:grpSpPr>
      <p:sp>
        <p:nvSpPr>
          <p:cNvPr id="17352" name="Google Shape;17352;p1492"/>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3" name="Google Shape;17353;p149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4" name="Google Shape;17354;p149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55" name="Google Shape;17355;p149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56" name="Google Shape;17356;p1492"/>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57" name="Google Shape;17357;p14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680097454"/>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matchingName="3_Title Slide_Yale Blue 3">
  <p:cSld name="4_Title Slide_Yale Blue 3">
    <p:spTree>
      <p:nvGrpSpPr>
        <p:cNvPr id="1" name="Shape 17358"/>
        <p:cNvGrpSpPr/>
        <p:nvPr/>
      </p:nvGrpSpPr>
      <p:grpSpPr>
        <a:xfrm>
          <a:off x="0" y="0"/>
          <a:ext cx="0" cy="0"/>
          <a:chOff x="0" y="0"/>
          <a:chExt cx="0" cy="0"/>
        </a:xfrm>
      </p:grpSpPr>
      <p:sp>
        <p:nvSpPr>
          <p:cNvPr id="17359" name="Google Shape;17359;p1493"/>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60" name="Google Shape;17360;p1493"/>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1" name="Google Shape;17361;p149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62" name="Google Shape;17362;p149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3" name="Google Shape;17363;p149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64" name="Google Shape;17364;p1493"/>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5" name="Google Shape;17365;p149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6" name="Google Shape;17366;p1493"/>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367" name="Google Shape;17367;p1493"/>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011093994"/>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matchingName="Title and Bullets Layout 2">
  <p:cSld name="1_Title and Bullets Layout 2">
    <p:spTree>
      <p:nvGrpSpPr>
        <p:cNvPr id="1" name="Shape 17368"/>
        <p:cNvGrpSpPr/>
        <p:nvPr/>
      </p:nvGrpSpPr>
      <p:grpSpPr>
        <a:xfrm>
          <a:off x="0" y="0"/>
          <a:ext cx="0" cy="0"/>
          <a:chOff x="0" y="0"/>
          <a:chExt cx="0" cy="0"/>
        </a:xfrm>
      </p:grpSpPr>
      <p:sp>
        <p:nvSpPr>
          <p:cNvPr id="17369" name="Google Shape;17369;p1494"/>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0" name="Google Shape;17370;p1494"/>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1" name="Google Shape;17371;p149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2" name="Google Shape;17372;p1494"/>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373" name="Google Shape;17373;p1494"/>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2529673348"/>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matchingName="1_Title and Content 2">
  <p:cSld name="2_Title and Content 2">
    <p:spTree>
      <p:nvGrpSpPr>
        <p:cNvPr id="1" name="Shape 17374"/>
        <p:cNvGrpSpPr/>
        <p:nvPr/>
      </p:nvGrpSpPr>
      <p:grpSpPr>
        <a:xfrm>
          <a:off x="0" y="0"/>
          <a:ext cx="0" cy="0"/>
          <a:chOff x="0" y="0"/>
          <a:chExt cx="0" cy="0"/>
        </a:xfrm>
      </p:grpSpPr>
      <p:sp>
        <p:nvSpPr>
          <p:cNvPr id="17375" name="Google Shape;17375;p1495"/>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76" name="Google Shape;17376;p1495"/>
          <p:cNvPicPr preferRelativeResize="0"/>
          <p:nvPr/>
        </p:nvPicPr>
        <p:blipFill rotWithShape="1">
          <a:blip r:embed="rId2">
            <a:alphaModFix/>
          </a:blip>
          <a:srcRect/>
          <a:stretch/>
        </p:blipFill>
        <p:spPr>
          <a:xfrm>
            <a:off x="7132670" y="6364409"/>
            <a:ext cx="5059329" cy="493593"/>
          </a:xfrm>
          <a:prstGeom prst="rect">
            <a:avLst/>
          </a:prstGeom>
          <a:noFill/>
          <a:ln>
            <a:noFill/>
          </a:ln>
        </p:spPr>
      </p:pic>
      <p:sp>
        <p:nvSpPr>
          <p:cNvPr id="17377" name="Google Shape;17377;p149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8" name="Google Shape;17378;p1495"/>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9" name="Google Shape;17379;p1495"/>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13246828"/>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matchingName="Two Section | Picture and Copy Layout 2">
  <p:cSld name="1_Two Section | Picture and Copy Layout 2">
    <p:spTree>
      <p:nvGrpSpPr>
        <p:cNvPr id="1" name="Shape 17380"/>
        <p:cNvGrpSpPr/>
        <p:nvPr/>
      </p:nvGrpSpPr>
      <p:grpSpPr>
        <a:xfrm>
          <a:off x="0" y="0"/>
          <a:ext cx="0" cy="0"/>
          <a:chOff x="0" y="0"/>
          <a:chExt cx="0" cy="0"/>
        </a:xfrm>
      </p:grpSpPr>
      <p:sp>
        <p:nvSpPr>
          <p:cNvPr id="17381" name="Google Shape;17381;p1496"/>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2" name="Google Shape;17382;p149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3" name="Google Shape;17383;p1496"/>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84" name="Google Shape;17384;p1496"/>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85" name="Google Shape;17385;p1496"/>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86" name="Google Shape;17386;p1496"/>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23065725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matchingName="3_Title Slide_Yale Blue 4">
  <p:cSld name="4_Title Slide_Yale Blue 4">
    <p:spTree>
      <p:nvGrpSpPr>
        <p:cNvPr id="1" name="Shape 17387"/>
        <p:cNvGrpSpPr/>
        <p:nvPr/>
      </p:nvGrpSpPr>
      <p:grpSpPr>
        <a:xfrm>
          <a:off x="0" y="0"/>
          <a:ext cx="0" cy="0"/>
          <a:chOff x="0" y="0"/>
          <a:chExt cx="0" cy="0"/>
        </a:xfrm>
      </p:grpSpPr>
      <p:sp>
        <p:nvSpPr>
          <p:cNvPr id="17388" name="Google Shape;17388;p1497"/>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389" name="Google Shape;17389;p1497"/>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0" name="Google Shape;17390;p149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91" name="Google Shape;17391;p149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2" name="Google Shape;17392;p149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93" name="Google Shape;17393;p1497"/>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4" name="Google Shape;17394;p149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5" name="Google Shape;17395;p1497"/>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396" name="Google Shape;17396;p1497"/>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1047331989"/>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matchingName="Title and Bullets Layout 3">
  <p:cSld name="1_Title and Bullets Layout 3">
    <p:spTree>
      <p:nvGrpSpPr>
        <p:cNvPr id="1" name="Shape 17397"/>
        <p:cNvGrpSpPr/>
        <p:nvPr/>
      </p:nvGrpSpPr>
      <p:grpSpPr>
        <a:xfrm>
          <a:off x="0" y="0"/>
          <a:ext cx="0" cy="0"/>
          <a:chOff x="0" y="0"/>
          <a:chExt cx="0" cy="0"/>
        </a:xfrm>
      </p:grpSpPr>
      <p:sp>
        <p:nvSpPr>
          <p:cNvPr id="17398" name="Google Shape;17398;p1498"/>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9" name="Google Shape;17399;p1498"/>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0" name="Google Shape;17400;p149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1" name="Google Shape;17401;p1498"/>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02" name="Google Shape;17402;p1498"/>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685961578"/>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matchingName="1_Title and Content 3">
  <p:cSld name="2_Title and Content 3">
    <p:spTree>
      <p:nvGrpSpPr>
        <p:cNvPr id="1" name="Shape 17403"/>
        <p:cNvGrpSpPr/>
        <p:nvPr/>
      </p:nvGrpSpPr>
      <p:grpSpPr>
        <a:xfrm>
          <a:off x="0" y="0"/>
          <a:ext cx="0" cy="0"/>
          <a:chOff x="0" y="0"/>
          <a:chExt cx="0" cy="0"/>
        </a:xfrm>
      </p:grpSpPr>
      <p:sp>
        <p:nvSpPr>
          <p:cNvPr id="17404" name="Google Shape;17404;p1499"/>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05" name="Google Shape;17405;p1499"/>
          <p:cNvPicPr preferRelativeResize="0"/>
          <p:nvPr/>
        </p:nvPicPr>
        <p:blipFill rotWithShape="1">
          <a:blip r:embed="rId2">
            <a:alphaModFix/>
          </a:blip>
          <a:srcRect/>
          <a:stretch/>
        </p:blipFill>
        <p:spPr>
          <a:xfrm>
            <a:off x="7132670" y="6364409"/>
            <a:ext cx="5059329" cy="493593"/>
          </a:xfrm>
          <a:prstGeom prst="rect">
            <a:avLst/>
          </a:prstGeom>
          <a:noFill/>
          <a:ln>
            <a:noFill/>
          </a:ln>
        </p:spPr>
      </p:pic>
      <p:sp>
        <p:nvSpPr>
          <p:cNvPr id="17406" name="Google Shape;17406;p149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7" name="Google Shape;17407;p1499"/>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08" name="Google Shape;17408;p1499"/>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0800940"/>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matchingName="Two Section | Picture and Copy Layout 3">
  <p:cSld name="1_Two Section | Picture and Copy Layout 3">
    <p:spTree>
      <p:nvGrpSpPr>
        <p:cNvPr id="1" name="Shape 17409"/>
        <p:cNvGrpSpPr/>
        <p:nvPr/>
      </p:nvGrpSpPr>
      <p:grpSpPr>
        <a:xfrm>
          <a:off x="0" y="0"/>
          <a:ext cx="0" cy="0"/>
          <a:chOff x="0" y="0"/>
          <a:chExt cx="0" cy="0"/>
        </a:xfrm>
      </p:grpSpPr>
      <p:sp>
        <p:nvSpPr>
          <p:cNvPr id="17410" name="Google Shape;17410;p1500"/>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1" name="Google Shape;17411;p150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2" name="Google Shape;17412;p1500"/>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13" name="Google Shape;17413;p1500"/>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14" name="Google Shape;17414;p1500"/>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15" name="Google Shape;17415;p1500"/>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3864016098"/>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matchingName="3_Title Slide_Yale Blue 5">
  <p:cSld name="5_Title Slide_Yale Blue 5">
    <p:spTree>
      <p:nvGrpSpPr>
        <p:cNvPr id="1" name="Shape 17416"/>
        <p:cNvGrpSpPr/>
        <p:nvPr/>
      </p:nvGrpSpPr>
      <p:grpSpPr>
        <a:xfrm>
          <a:off x="0" y="0"/>
          <a:ext cx="0" cy="0"/>
          <a:chOff x="0" y="0"/>
          <a:chExt cx="0" cy="0"/>
        </a:xfrm>
      </p:grpSpPr>
      <p:sp>
        <p:nvSpPr>
          <p:cNvPr id="17417" name="Google Shape;17417;p1501"/>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18" name="Google Shape;17418;p1501"/>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19" name="Google Shape;17419;p150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20" name="Google Shape;17420;p150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1" name="Google Shape;17421;p150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22" name="Google Shape;17422;p1501"/>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3" name="Google Shape;17423;p1501"/>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4" name="Google Shape;17424;p1501"/>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25" name="Google Shape;17425;p1501"/>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2918257900"/>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matchingName="3_Title Slide_Yale Blue 6">
  <p:cSld name="5_Title Slide_Yale Blue 6">
    <p:spTree>
      <p:nvGrpSpPr>
        <p:cNvPr id="1" name="Shape 17426"/>
        <p:cNvGrpSpPr/>
        <p:nvPr/>
      </p:nvGrpSpPr>
      <p:grpSpPr>
        <a:xfrm>
          <a:off x="0" y="0"/>
          <a:ext cx="0" cy="0"/>
          <a:chOff x="0" y="0"/>
          <a:chExt cx="0" cy="0"/>
        </a:xfrm>
      </p:grpSpPr>
      <p:sp>
        <p:nvSpPr>
          <p:cNvPr id="17427" name="Google Shape;17427;p1502"/>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28" name="Google Shape;17428;p1502"/>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9" name="Google Shape;17429;p15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30" name="Google Shape;17430;p150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1" name="Google Shape;17431;p150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32" name="Google Shape;17432;p1502"/>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3" name="Google Shape;17433;p1502"/>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4" name="Google Shape;17434;p1502"/>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35" name="Google Shape;17435;p1502"/>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212764964"/>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matchingName="Title and Bullets Layout 4">
  <p:cSld name="2_Title and Bullets Layout 4">
    <p:spTree>
      <p:nvGrpSpPr>
        <p:cNvPr id="1" name="Shape 17436"/>
        <p:cNvGrpSpPr/>
        <p:nvPr/>
      </p:nvGrpSpPr>
      <p:grpSpPr>
        <a:xfrm>
          <a:off x="0" y="0"/>
          <a:ext cx="0" cy="0"/>
          <a:chOff x="0" y="0"/>
          <a:chExt cx="0" cy="0"/>
        </a:xfrm>
      </p:grpSpPr>
      <p:sp>
        <p:nvSpPr>
          <p:cNvPr id="17437" name="Google Shape;17437;p1503"/>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8" name="Google Shape;17438;p1503"/>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39" name="Google Shape;17439;p150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0" name="Google Shape;17440;p1503"/>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41" name="Google Shape;17441;p1503"/>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3832307000"/>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matchingName="1_Title and Content 4">
  <p:cSld name="3_Title and Content 4">
    <p:spTree>
      <p:nvGrpSpPr>
        <p:cNvPr id="1" name="Shape 17442"/>
        <p:cNvGrpSpPr/>
        <p:nvPr/>
      </p:nvGrpSpPr>
      <p:grpSpPr>
        <a:xfrm>
          <a:off x="0" y="0"/>
          <a:ext cx="0" cy="0"/>
          <a:chOff x="0" y="0"/>
          <a:chExt cx="0" cy="0"/>
        </a:xfrm>
      </p:grpSpPr>
      <p:sp>
        <p:nvSpPr>
          <p:cNvPr id="17443" name="Google Shape;17443;p1504"/>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44" name="Google Shape;17444;p1504"/>
          <p:cNvPicPr preferRelativeResize="0"/>
          <p:nvPr/>
        </p:nvPicPr>
        <p:blipFill rotWithShape="1">
          <a:blip r:embed="rId2">
            <a:alphaModFix/>
          </a:blip>
          <a:srcRect/>
          <a:stretch/>
        </p:blipFill>
        <p:spPr>
          <a:xfrm>
            <a:off x="7132670" y="6364409"/>
            <a:ext cx="5059329" cy="493593"/>
          </a:xfrm>
          <a:prstGeom prst="rect">
            <a:avLst/>
          </a:prstGeom>
          <a:noFill/>
          <a:ln>
            <a:noFill/>
          </a:ln>
        </p:spPr>
      </p:pic>
      <p:sp>
        <p:nvSpPr>
          <p:cNvPr id="17445" name="Google Shape;17445;p150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6" name="Google Shape;17446;p1504"/>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7" name="Google Shape;17447;p1504"/>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25147426"/>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matchingName="Two Section | Picture and Copy Layout 4">
  <p:cSld name="2_Two Section | Picture and Copy Layout 4">
    <p:spTree>
      <p:nvGrpSpPr>
        <p:cNvPr id="1" name="Shape 17448"/>
        <p:cNvGrpSpPr/>
        <p:nvPr/>
      </p:nvGrpSpPr>
      <p:grpSpPr>
        <a:xfrm>
          <a:off x="0" y="0"/>
          <a:ext cx="0" cy="0"/>
          <a:chOff x="0" y="0"/>
          <a:chExt cx="0" cy="0"/>
        </a:xfrm>
      </p:grpSpPr>
      <p:sp>
        <p:nvSpPr>
          <p:cNvPr id="17449" name="Google Shape;17449;p1505"/>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0" name="Google Shape;17450;p150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1" name="Google Shape;17451;p15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52" name="Google Shape;17452;p1505"/>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53" name="Google Shape;17453;p1505"/>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54" name="Google Shape;17454;p1505"/>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2728342816"/>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matchingName="3_Title Slide_Yale Blue 7">
  <p:cSld name="5_Title Slide_Yale Blue 7">
    <p:spTree>
      <p:nvGrpSpPr>
        <p:cNvPr id="1" name="Shape 17455"/>
        <p:cNvGrpSpPr/>
        <p:nvPr/>
      </p:nvGrpSpPr>
      <p:grpSpPr>
        <a:xfrm>
          <a:off x="0" y="0"/>
          <a:ext cx="0" cy="0"/>
          <a:chOff x="0" y="0"/>
          <a:chExt cx="0" cy="0"/>
        </a:xfrm>
      </p:grpSpPr>
      <p:sp>
        <p:nvSpPr>
          <p:cNvPr id="17456" name="Google Shape;17456;p1506"/>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57" name="Google Shape;17457;p1506"/>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58" name="Google Shape;17458;p150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59" name="Google Shape;17459;p150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0" name="Google Shape;17460;p150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61" name="Google Shape;17461;p1506"/>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2" name="Google Shape;17462;p1506"/>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3" name="Google Shape;17463;p1506"/>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64" name="Google Shape;17464;p1506"/>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45510770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matchingName="Title and Bullets Layout 5">
  <p:cSld name="2_Title and Bullets Layout 5">
    <p:spTree>
      <p:nvGrpSpPr>
        <p:cNvPr id="1" name="Shape 17465"/>
        <p:cNvGrpSpPr/>
        <p:nvPr/>
      </p:nvGrpSpPr>
      <p:grpSpPr>
        <a:xfrm>
          <a:off x="0" y="0"/>
          <a:ext cx="0" cy="0"/>
          <a:chOff x="0" y="0"/>
          <a:chExt cx="0" cy="0"/>
        </a:xfrm>
      </p:grpSpPr>
      <p:sp>
        <p:nvSpPr>
          <p:cNvPr id="17466" name="Google Shape;17466;p1507"/>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7" name="Google Shape;17467;p1507"/>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8" name="Google Shape;17468;p150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9" name="Google Shape;17469;p1507"/>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70" name="Google Shape;17470;p1507"/>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707320738"/>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matchingName="2_Title and Content 5">
  <p:cSld name="4_Title and Content 5">
    <p:spTree>
      <p:nvGrpSpPr>
        <p:cNvPr id="1" name="Shape 17471"/>
        <p:cNvGrpSpPr/>
        <p:nvPr/>
      </p:nvGrpSpPr>
      <p:grpSpPr>
        <a:xfrm>
          <a:off x="0" y="0"/>
          <a:ext cx="0" cy="0"/>
          <a:chOff x="0" y="0"/>
          <a:chExt cx="0" cy="0"/>
        </a:xfrm>
      </p:grpSpPr>
      <p:sp>
        <p:nvSpPr>
          <p:cNvPr id="17472" name="Google Shape;17472;p1508"/>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73" name="Google Shape;17473;p1508"/>
          <p:cNvPicPr preferRelativeResize="0"/>
          <p:nvPr/>
        </p:nvPicPr>
        <p:blipFill rotWithShape="1">
          <a:blip r:embed="rId2">
            <a:alphaModFix/>
          </a:blip>
          <a:srcRect/>
          <a:stretch/>
        </p:blipFill>
        <p:spPr>
          <a:xfrm>
            <a:off x="7132670" y="6364409"/>
            <a:ext cx="5059329" cy="493593"/>
          </a:xfrm>
          <a:prstGeom prst="rect">
            <a:avLst/>
          </a:prstGeom>
          <a:noFill/>
          <a:ln>
            <a:noFill/>
          </a:ln>
        </p:spPr>
      </p:pic>
      <p:sp>
        <p:nvSpPr>
          <p:cNvPr id="17474" name="Google Shape;17474;p150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5" name="Google Shape;17475;p1508"/>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76" name="Google Shape;17476;p1508"/>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8520427"/>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matchingName="Two Section | Picture and Copy Layout 5">
  <p:cSld name="2_Two Section | Picture and Copy Layout 5">
    <p:spTree>
      <p:nvGrpSpPr>
        <p:cNvPr id="1" name="Shape 17477"/>
        <p:cNvGrpSpPr/>
        <p:nvPr/>
      </p:nvGrpSpPr>
      <p:grpSpPr>
        <a:xfrm>
          <a:off x="0" y="0"/>
          <a:ext cx="0" cy="0"/>
          <a:chOff x="0" y="0"/>
          <a:chExt cx="0" cy="0"/>
        </a:xfrm>
      </p:grpSpPr>
      <p:sp>
        <p:nvSpPr>
          <p:cNvPr id="17478" name="Google Shape;17478;p1509"/>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9" name="Google Shape;17479;p150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0" name="Google Shape;17480;p150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81" name="Google Shape;17481;p1509"/>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482" name="Google Shape;17482;p1509"/>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83" name="Google Shape;17483;p1509"/>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628316103"/>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matchingName="Title and Bullets Layout 6">
  <p:cSld name="1_Title and Bullets Layout 6">
    <p:spTree>
      <p:nvGrpSpPr>
        <p:cNvPr id="1" name="Shape 17484"/>
        <p:cNvGrpSpPr/>
        <p:nvPr/>
      </p:nvGrpSpPr>
      <p:grpSpPr>
        <a:xfrm>
          <a:off x="0" y="0"/>
          <a:ext cx="0" cy="0"/>
          <a:chOff x="0" y="0"/>
          <a:chExt cx="0" cy="0"/>
        </a:xfrm>
      </p:grpSpPr>
      <p:sp>
        <p:nvSpPr>
          <p:cNvPr id="17485" name="Google Shape;17485;p1510"/>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86" name="Google Shape;17486;p1510"/>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7" name="Google Shape;17487;p151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8" name="Google Shape;17488;p1510"/>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489" name="Google Shape;17489;p15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2961669568"/>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matchingName="1_Title and Content 6">
  <p:cSld name="2_Title and Content 6">
    <p:spTree>
      <p:nvGrpSpPr>
        <p:cNvPr id="1" name="Shape 17490"/>
        <p:cNvGrpSpPr/>
        <p:nvPr/>
      </p:nvGrpSpPr>
      <p:grpSpPr>
        <a:xfrm>
          <a:off x="0" y="0"/>
          <a:ext cx="0" cy="0"/>
          <a:chOff x="0" y="0"/>
          <a:chExt cx="0" cy="0"/>
        </a:xfrm>
      </p:grpSpPr>
      <p:sp>
        <p:nvSpPr>
          <p:cNvPr id="17491" name="Google Shape;17491;p1511"/>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92" name="Google Shape;17492;p1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
        <p:nvSpPr>
          <p:cNvPr id="17493" name="Google Shape;17493;p151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4" name="Google Shape;17494;p1511"/>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95" name="Google Shape;17495;p1511"/>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6037856"/>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matchingName="Two Section | Picture and Copy Layout 6">
  <p:cSld name="1_Two Section | Picture and Copy Layout 6">
    <p:spTree>
      <p:nvGrpSpPr>
        <p:cNvPr id="1" name="Shape 17496"/>
        <p:cNvGrpSpPr/>
        <p:nvPr/>
      </p:nvGrpSpPr>
      <p:grpSpPr>
        <a:xfrm>
          <a:off x="0" y="0"/>
          <a:ext cx="0" cy="0"/>
          <a:chOff x="0" y="0"/>
          <a:chExt cx="0" cy="0"/>
        </a:xfrm>
      </p:grpSpPr>
      <p:sp>
        <p:nvSpPr>
          <p:cNvPr id="17497" name="Google Shape;17497;p1512"/>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8" name="Google Shape;17498;p151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9" name="Google Shape;17499;p151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00" name="Google Shape;17500;p151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01" name="Google Shape;17501;p1512"/>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02" name="Google Shape;17502;p1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2443887747"/>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matchingName="4_Title Slide_Yale Blue 5">
  <p:cSld name="5_Title Slide_Yale Blue 5">
    <p:spTree>
      <p:nvGrpSpPr>
        <p:cNvPr id="1" name="Shape 17503"/>
        <p:cNvGrpSpPr/>
        <p:nvPr/>
      </p:nvGrpSpPr>
      <p:grpSpPr>
        <a:xfrm>
          <a:off x="0" y="0"/>
          <a:ext cx="0" cy="0"/>
          <a:chOff x="0" y="0"/>
          <a:chExt cx="0" cy="0"/>
        </a:xfrm>
      </p:grpSpPr>
      <p:sp>
        <p:nvSpPr>
          <p:cNvPr id="17504" name="Google Shape;17504;p1513"/>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05" name="Google Shape;17505;p1513"/>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6" name="Google Shape;17506;p151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07" name="Google Shape;17507;p151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8" name="Google Shape;17508;p151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09" name="Google Shape;17509;p1513"/>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0" name="Google Shape;17510;p151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1" name="Google Shape;17511;p1513"/>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512" name="Google Shape;17512;p1513"/>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339527746"/>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matchingName="4_Title Slide_Yale Blue 6">
  <p:cSld name="5_Title Slide_Yale Blue 6">
    <p:spTree>
      <p:nvGrpSpPr>
        <p:cNvPr id="1" name="Shape 17513"/>
        <p:cNvGrpSpPr/>
        <p:nvPr/>
      </p:nvGrpSpPr>
      <p:grpSpPr>
        <a:xfrm>
          <a:off x="0" y="0"/>
          <a:ext cx="0" cy="0"/>
          <a:chOff x="0" y="0"/>
          <a:chExt cx="0" cy="0"/>
        </a:xfrm>
      </p:grpSpPr>
      <p:sp>
        <p:nvSpPr>
          <p:cNvPr id="17514" name="Google Shape;17514;p1514"/>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15" name="Google Shape;17515;p1514"/>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6" name="Google Shape;17516;p151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17" name="Google Shape;17517;p151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8" name="Google Shape;17518;p151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19" name="Google Shape;17519;p1514"/>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0" name="Google Shape;17520;p1514"/>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1" name="Google Shape;17521;p1514"/>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522" name="Google Shape;17522;p1514"/>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4080823343"/>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matchingName="1_Title and Bullets Layout 4">
  <p:cSld name="2_Title and Bullets Layout 4">
    <p:spTree>
      <p:nvGrpSpPr>
        <p:cNvPr id="1" name="Shape 17523"/>
        <p:cNvGrpSpPr/>
        <p:nvPr/>
      </p:nvGrpSpPr>
      <p:grpSpPr>
        <a:xfrm>
          <a:off x="0" y="0"/>
          <a:ext cx="0" cy="0"/>
          <a:chOff x="0" y="0"/>
          <a:chExt cx="0" cy="0"/>
        </a:xfrm>
      </p:grpSpPr>
      <p:sp>
        <p:nvSpPr>
          <p:cNvPr id="17524" name="Google Shape;17524;p1515"/>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25" name="Google Shape;17525;p1515"/>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6" name="Google Shape;17526;p151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7" name="Google Shape;17527;p1515"/>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528" name="Google Shape;17528;p1515"/>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2833510017"/>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matchingName="2_Title and Content 4">
  <p:cSld name="3_Title and Content 4">
    <p:spTree>
      <p:nvGrpSpPr>
        <p:cNvPr id="1" name="Shape 17529"/>
        <p:cNvGrpSpPr/>
        <p:nvPr/>
      </p:nvGrpSpPr>
      <p:grpSpPr>
        <a:xfrm>
          <a:off x="0" y="0"/>
          <a:ext cx="0" cy="0"/>
          <a:chOff x="0" y="0"/>
          <a:chExt cx="0" cy="0"/>
        </a:xfrm>
      </p:grpSpPr>
      <p:sp>
        <p:nvSpPr>
          <p:cNvPr id="17530" name="Google Shape;17530;p1516"/>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31" name="Google Shape;17531;p1516"/>
          <p:cNvPicPr preferRelativeResize="0"/>
          <p:nvPr/>
        </p:nvPicPr>
        <p:blipFill rotWithShape="1">
          <a:blip r:embed="rId2">
            <a:alphaModFix/>
          </a:blip>
          <a:srcRect/>
          <a:stretch/>
        </p:blipFill>
        <p:spPr>
          <a:xfrm>
            <a:off x="7132670" y="6364409"/>
            <a:ext cx="5059329" cy="493593"/>
          </a:xfrm>
          <a:prstGeom prst="rect">
            <a:avLst/>
          </a:prstGeom>
          <a:noFill/>
          <a:ln>
            <a:noFill/>
          </a:ln>
        </p:spPr>
      </p:pic>
      <p:sp>
        <p:nvSpPr>
          <p:cNvPr id="17532" name="Google Shape;17532;p151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3" name="Google Shape;17533;p1516"/>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34" name="Google Shape;17534;p1516"/>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246778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matchingName="1_Two Section | Picture and Copy Layout 4">
  <p:cSld name="2_Two Section | Picture and Copy Layout 4">
    <p:spTree>
      <p:nvGrpSpPr>
        <p:cNvPr id="1" name="Shape 17535"/>
        <p:cNvGrpSpPr/>
        <p:nvPr/>
      </p:nvGrpSpPr>
      <p:grpSpPr>
        <a:xfrm>
          <a:off x="0" y="0"/>
          <a:ext cx="0" cy="0"/>
          <a:chOff x="0" y="0"/>
          <a:chExt cx="0" cy="0"/>
        </a:xfrm>
      </p:grpSpPr>
      <p:sp>
        <p:nvSpPr>
          <p:cNvPr id="17536" name="Google Shape;17536;p1517"/>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7" name="Google Shape;17537;p151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8" name="Google Shape;17538;p151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39" name="Google Shape;17539;p1517"/>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40" name="Google Shape;17540;p1517"/>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41" name="Google Shape;17541;p1517"/>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75755622"/>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matchingName="4_Title Slide_Yale Blue 7">
  <p:cSld name="5_Title Slide_Yale Blue 7">
    <p:spTree>
      <p:nvGrpSpPr>
        <p:cNvPr id="1" name="Shape 17542"/>
        <p:cNvGrpSpPr/>
        <p:nvPr/>
      </p:nvGrpSpPr>
      <p:grpSpPr>
        <a:xfrm>
          <a:off x="0" y="0"/>
          <a:ext cx="0" cy="0"/>
          <a:chOff x="0" y="0"/>
          <a:chExt cx="0" cy="0"/>
        </a:xfrm>
      </p:grpSpPr>
      <p:sp>
        <p:nvSpPr>
          <p:cNvPr id="17543" name="Google Shape;17543;p1518"/>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44" name="Google Shape;17544;p1518"/>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5" name="Google Shape;17545;p151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46" name="Google Shape;17546;p151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7" name="Google Shape;17547;p151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48" name="Google Shape;17548;p1518"/>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49" name="Google Shape;17549;p151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50" name="Google Shape;17550;p1518"/>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551" name="Google Shape;17551;p1518"/>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83975713"/>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matchingName="1_Title and Bullets Layout 5">
  <p:cSld name="2_Title and Bullets Layout 5">
    <p:spTree>
      <p:nvGrpSpPr>
        <p:cNvPr id="1" name="Shape 17552"/>
        <p:cNvGrpSpPr/>
        <p:nvPr/>
      </p:nvGrpSpPr>
      <p:grpSpPr>
        <a:xfrm>
          <a:off x="0" y="0"/>
          <a:ext cx="0" cy="0"/>
          <a:chOff x="0" y="0"/>
          <a:chExt cx="0" cy="0"/>
        </a:xfrm>
      </p:grpSpPr>
      <p:sp>
        <p:nvSpPr>
          <p:cNvPr id="17553" name="Google Shape;17553;p1519"/>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54" name="Google Shape;17554;p1519"/>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5" name="Google Shape;17555;p151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6" name="Google Shape;17556;p1519"/>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557" name="Google Shape;17557;p1519"/>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681891891"/>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matchingName="3_Title and Content 5">
  <p:cSld name="4_Title and Content 5">
    <p:spTree>
      <p:nvGrpSpPr>
        <p:cNvPr id="1" name="Shape 17558"/>
        <p:cNvGrpSpPr/>
        <p:nvPr/>
      </p:nvGrpSpPr>
      <p:grpSpPr>
        <a:xfrm>
          <a:off x="0" y="0"/>
          <a:ext cx="0" cy="0"/>
          <a:chOff x="0" y="0"/>
          <a:chExt cx="0" cy="0"/>
        </a:xfrm>
      </p:grpSpPr>
      <p:sp>
        <p:nvSpPr>
          <p:cNvPr id="17559" name="Google Shape;17559;p1520"/>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60" name="Google Shape;17560;p1520"/>
          <p:cNvPicPr preferRelativeResize="0"/>
          <p:nvPr/>
        </p:nvPicPr>
        <p:blipFill rotWithShape="1">
          <a:blip r:embed="rId2">
            <a:alphaModFix/>
          </a:blip>
          <a:srcRect/>
          <a:stretch/>
        </p:blipFill>
        <p:spPr>
          <a:xfrm>
            <a:off x="7132670" y="6364409"/>
            <a:ext cx="5059329" cy="493593"/>
          </a:xfrm>
          <a:prstGeom prst="rect">
            <a:avLst/>
          </a:prstGeom>
          <a:noFill/>
          <a:ln>
            <a:noFill/>
          </a:ln>
        </p:spPr>
      </p:pic>
      <p:sp>
        <p:nvSpPr>
          <p:cNvPr id="17561" name="Google Shape;17561;p152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2" name="Google Shape;17562;p1520"/>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3" name="Google Shape;17563;p1520"/>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96446573"/>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matchingName="1_Two Section | Picture and Copy Layout 5">
  <p:cSld name="2_Two Section | Picture and Copy Layout 5">
    <p:spTree>
      <p:nvGrpSpPr>
        <p:cNvPr id="1" name="Shape 17564"/>
        <p:cNvGrpSpPr/>
        <p:nvPr/>
      </p:nvGrpSpPr>
      <p:grpSpPr>
        <a:xfrm>
          <a:off x="0" y="0"/>
          <a:ext cx="0" cy="0"/>
          <a:chOff x="0" y="0"/>
          <a:chExt cx="0" cy="0"/>
        </a:xfrm>
      </p:grpSpPr>
      <p:sp>
        <p:nvSpPr>
          <p:cNvPr id="17565" name="Google Shape;17565;p1521"/>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6" name="Google Shape;17566;p152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7" name="Google Shape;17567;p152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68" name="Google Shape;17568;p1521"/>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69" name="Google Shape;17569;p1521"/>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70" name="Google Shape;17570;p1521"/>
          <p:cNvPicPr preferRelativeResize="0"/>
          <p:nvPr/>
        </p:nvPicPr>
        <p:blipFill rotWithShape="1">
          <a:blip r:embed="rId2">
            <a:alphaModFix/>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4234074666"/>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matchingName="Photo Slide 11">
  <p:cSld name="1_Photo Slide 11">
    <p:spTree>
      <p:nvGrpSpPr>
        <p:cNvPr id="1" name="Shape 17587"/>
        <p:cNvGrpSpPr/>
        <p:nvPr/>
      </p:nvGrpSpPr>
      <p:grpSpPr>
        <a:xfrm>
          <a:off x="0" y="0"/>
          <a:ext cx="0" cy="0"/>
          <a:chOff x="0" y="0"/>
          <a:chExt cx="0" cy="0"/>
        </a:xfrm>
      </p:grpSpPr>
      <p:sp>
        <p:nvSpPr>
          <p:cNvPr id="17588" name="Google Shape;17588;p152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589" name="Google Shape;17589;p1524"/>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590" name="Google Shape;17590;p1524"/>
          <p:cNvGrpSpPr/>
          <p:nvPr/>
        </p:nvGrpSpPr>
        <p:grpSpPr>
          <a:xfrm>
            <a:off x="3" y="5379427"/>
            <a:ext cx="2807363" cy="753895"/>
            <a:chOff x="0" y="5379424"/>
            <a:chExt cx="2807363" cy="753895"/>
          </a:xfrm>
        </p:grpSpPr>
        <p:sp>
          <p:nvSpPr>
            <p:cNvPr id="17591" name="Google Shape;17591;p152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2" name="Google Shape;17592;p152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593" name="Google Shape;17593;p1524"/>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234961456"/>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matchingName="Quotation 16">
  <p:cSld name="2_Quotation 16">
    <p:spTree>
      <p:nvGrpSpPr>
        <p:cNvPr id="1" name="Shape 17594"/>
        <p:cNvGrpSpPr/>
        <p:nvPr/>
      </p:nvGrpSpPr>
      <p:grpSpPr>
        <a:xfrm>
          <a:off x="0" y="0"/>
          <a:ext cx="0" cy="0"/>
          <a:chOff x="0" y="0"/>
          <a:chExt cx="0" cy="0"/>
        </a:xfrm>
      </p:grpSpPr>
      <p:sp>
        <p:nvSpPr>
          <p:cNvPr id="17595" name="Google Shape;17595;p15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6" name="Google Shape;17596;p15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97" name="Google Shape;17597;p152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598" name="Google Shape;17598;p152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599" name="Google Shape;17599;p15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00" name="Google Shape;17600;p152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01" name="Google Shape;17601;p1525"/>
          <p:cNvGrpSpPr/>
          <p:nvPr/>
        </p:nvGrpSpPr>
        <p:grpSpPr>
          <a:xfrm>
            <a:off x="7191545" y="0"/>
            <a:ext cx="5000460" cy="1425988"/>
            <a:chOff x="7191545" y="0"/>
            <a:chExt cx="5000460" cy="1425988"/>
          </a:xfrm>
        </p:grpSpPr>
        <p:pic>
          <p:nvPicPr>
            <p:cNvPr id="17602" name="Google Shape;17602;p15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03" name="Google Shape;17603;p1525"/>
            <p:cNvGrpSpPr/>
            <p:nvPr/>
          </p:nvGrpSpPr>
          <p:grpSpPr>
            <a:xfrm>
              <a:off x="7191545" y="0"/>
              <a:ext cx="5000460" cy="1425988"/>
              <a:chOff x="7191545" y="0"/>
              <a:chExt cx="5000460" cy="1425988"/>
            </a:xfrm>
          </p:grpSpPr>
          <p:sp>
            <p:nvSpPr>
              <p:cNvPr id="17604" name="Google Shape;17604;p15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05" name="Google Shape;17605;p15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06" name="Google Shape;17606;p152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315532576"/>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matchingName="1_Quotation 16">
  <p:cSld name="2_Quotation 16">
    <p:spTree>
      <p:nvGrpSpPr>
        <p:cNvPr id="1" name="Shape 17607"/>
        <p:cNvGrpSpPr/>
        <p:nvPr/>
      </p:nvGrpSpPr>
      <p:grpSpPr>
        <a:xfrm>
          <a:off x="0" y="0"/>
          <a:ext cx="0" cy="0"/>
          <a:chOff x="0" y="0"/>
          <a:chExt cx="0" cy="0"/>
        </a:xfrm>
      </p:grpSpPr>
      <p:sp>
        <p:nvSpPr>
          <p:cNvPr id="17608" name="Google Shape;17608;p15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09" name="Google Shape;17609;p15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10" name="Google Shape;17610;p152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11" name="Google Shape;17611;p152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12" name="Google Shape;17612;p1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13" name="Google Shape;17613;p152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14" name="Google Shape;17614;p1526"/>
          <p:cNvGrpSpPr/>
          <p:nvPr/>
        </p:nvGrpSpPr>
        <p:grpSpPr>
          <a:xfrm>
            <a:off x="7191545" y="0"/>
            <a:ext cx="5000460" cy="1425988"/>
            <a:chOff x="7191545" y="0"/>
            <a:chExt cx="5000460" cy="1425988"/>
          </a:xfrm>
        </p:grpSpPr>
        <p:pic>
          <p:nvPicPr>
            <p:cNvPr id="17615" name="Google Shape;17615;p1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16" name="Google Shape;17616;p1526"/>
            <p:cNvGrpSpPr/>
            <p:nvPr/>
          </p:nvGrpSpPr>
          <p:grpSpPr>
            <a:xfrm>
              <a:off x="7191545" y="0"/>
              <a:ext cx="5000460" cy="1425988"/>
              <a:chOff x="7191545" y="0"/>
              <a:chExt cx="5000460" cy="1425988"/>
            </a:xfrm>
          </p:grpSpPr>
          <p:sp>
            <p:nvSpPr>
              <p:cNvPr id="17617" name="Google Shape;17617;p1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18" name="Google Shape;17618;p1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19" name="Google Shape;17619;p152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389829895"/>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matchingName="Two Content 10">
  <p:cSld name="1_Two Content 10">
    <p:spTree>
      <p:nvGrpSpPr>
        <p:cNvPr id="1" name="Shape 17620"/>
        <p:cNvGrpSpPr/>
        <p:nvPr/>
      </p:nvGrpSpPr>
      <p:grpSpPr>
        <a:xfrm>
          <a:off x="0" y="0"/>
          <a:ext cx="0" cy="0"/>
          <a:chOff x="0" y="0"/>
          <a:chExt cx="0" cy="0"/>
        </a:xfrm>
      </p:grpSpPr>
      <p:sp>
        <p:nvSpPr>
          <p:cNvPr id="17621" name="Google Shape;17621;p1527"/>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2" name="Google Shape;17622;p1527"/>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7623" name="Google Shape;17623;p1527"/>
          <p:cNvGrpSpPr/>
          <p:nvPr/>
        </p:nvGrpSpPr>
        <p:grpSpPr>
          <a:xfrm>
            <a:off x="7191545" y="0"/>
            <a:ext cx="5000460" cy="1425988"/>
            <a:chOff x="7191545" y="0"/>
            <a:chExt cx="5000460" cy="1425988"/>
          </a:xfrm>
        </p:grpSpPr>
        <p:pic>
          <p:nvPicPr>
            <p:cNvPr id="17624" name="Google Shape;17624;p1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25" name="Google Shape;17625;p1527"/>
            <p:cNvGrpSpPr/>
            <p:nvPr/>
          </p:nvGrpSpPr>
          <p:grpSpPr>
            <a:xfrm>
              <a:off x="7191545" y="0"/>
              <a:ext cx="5000460" cy="1425988"/>
              <a:chOff x="7191545" y="0"/>
              <a:chExt cx="5000460" cy="1425988"/>
            </a:xfrm>
          </p:grpSpPr>
          <p:sp>
            <p:nvSpPr>
              <p:cNvPr id="17626" name="Google Shape;17626;p1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27" name="Google Shape;17627;p1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28" name="Google Shape;17628;p1527"/>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29" name="Google Shape;17629;p1527"/>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30" name="Google Shape;17630;p1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31" name="Google Shape;17631;p152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96306659"/>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matchingName="Comparison 9">
  <p:cSld name="1_Comparison 9">
    <p:spTree>
      <p:nvGrpSpPr>
        <p:cNvPr id="1" name="Shape 17632"/>
        <p:cNvGrpSpPr/>
        <p:nvPr/>
      </p:nvGrpSpPr>
      <p:grpSpPr>
        <a:xfrm>
          <a:off x="0" y="0"/>
          <a:ext cx="0" cy="0"/>
          <a:chOff x="0" y="0"/>
          <a:chExt cx="0" cy="0"/>
        </a:xfrm>
      </p:grpSpPr>
      <p:grpSp>
        <p:nvGrpSpPr>
          <p:cNvPr id="17633" name="Google Shape;17633;p1528"/>
          <p:cNvGrpSpPr/>
          <p:nvPr/>
        </p:nvGrpSpPr>
        <p:grpSpPr>
          <a:xfrm>
            <a:off x="7191545" y="0"/>
            <a:ext cx="5000460" cy="1425988"/>
            <a:chOff x="7191545" y="0"/>
            <a:chExt cx="5000460" cy="1425988"/>
          </a:xfrm>
        </p:grpSpPr>
        <p:pic>
          <p:nvPicPr>
            <p:cNvPr id="17634" name="Google Shape;17634;p15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35" name="Google Shape;17635;p1528"/>
            <p:cNvGrpSpPr/>
            <p:nvPr/>
          </p:nvGrpSpPr>
          <p:grpSpPr>
            <a:xfrm>
              <a:off x="7191545" y="0"/>
              <a:ext cx="5000460" cy="1425988"/>
              <a:chOff x="7191545" y="0"/>
              <a:chExt cx="5000460" cy="1425988"/>
            </a:xfrm>
          </p:grpSpPr>
          <p:sp>
            <p:nvSpPr>
              <p:cNvPr id="17636" name="Google Shape;17636;p15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37" name="Google Shape;17637;p15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38" name="Google Shape;17638;p1528"/>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39" name="Google Shape;17639;p1528"/>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40" name="Google Shape;17640;p1528"/>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41" name="Google Shape;17641;p1528"/>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42" name="Google Shape;17642;p1528"/>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43" name="Google Shape;17643;p152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44" name="Google Shape;17644;p15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45" name="Google Shape;17645;p152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94792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4"/>
        <p:cNvGrpSpPr/>
        <p:nvPr/>
      </p:nvGrpSpPr>
      <p:grpSpPr>
        <a:xfrm>
          <a:off x="0" y="0"/>
          <a:ext cx="0" cy="0"/>
          <a:chOff x="0" y="0"/>
          <a:chExt cx="0" cy="0"/>
        </a:xfrm>
      </p:grpSpPr>
      <p:grpSp>
        <p:nvGrpSpPr>
          <p:cNvPr id="55" name="Google Shape;55;p6"/>
          <p:cNvGrpSpPr/>
          <p:nvPr/>
        </p:nvGrpSpPr>
        <p:grpSpPr>
          <a:xfrm>
            <a:off x="7191542" y="1"/>
            <a:ext cx="5000459" cy="1425992"/>
            <a:chOff x="7191542" y="1"/>
            <a:chExt cx="5000459" cy="1425992"/>
          </a:xfrm>
        </p:grpSpPr>
        <p:pic>
          <p:nvPicPr>
            <p:cNvPr id="56" name="Google Shape;56;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matchingName="End 10">
  <p:cSld name="1_End 10">
    <p:spTree>
      <p:nvGrpSpPr>
        <p:cNvPr id="1" name="Shape 17656"/>
        <p:cNvGrpSpPr/>
        <p:nvPr/>
      </p:nvGrpSpPr>
      <p:grpSpPr>
        <a:xfrm>
          <a:off x="0" y="0"/>
          <a:ext cx="0" cy="0"/>
          <a:chOff x="0" y="0"/>
          <a:chExt cx="0" cy="0"/>
        </a:xfrm>
      </p:grpSpPr>
      <p:grpSp>
        <p:nvGrpSpPr>
          <p:cNvPr id="17657" name="Google Shape;17657;p1530"/>
          <p:cNvGrpSpPr/>
          <p:nvPr/>
        </p:nvGrpSpPr>
        <p:grpSpPr>
          <a:xfrm>
            <a:off x="0" y="0"/>
            <a:ext cx="12191996" cy="2148830"/>
            <a:chOff x="0" y="0"/>
            <a:chExt cx="12191996" cy="2148830"/>
          </a:xfrm>
        </p:grpSpPr>
        <p:sp>
          <p:nvSpPr>
            <p:cNvPr id="17658" name="Google Shape;17658;p153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59" name="Google Shape;17659;p153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660" name="Google Shape;17660;p1530"/>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61" name="Google Shape;17661;p1530"/>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662" name="Google Shape;17662;p1530"/>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663" name="Google Shape;17663;p153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35497031"/>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matchingName="Photo Slide 12">
  <p:cSld name="1_Photo Slide 12">
    <p:spTree>
      <p:nvGrpSpPr>
        <p:cNvPr id="1" name="Shape 17689"/>
        <p:cNvGrpSpPr/>
        <p:nvPr/>
      </p:nvGrpSpPr>
      <p:grpSpPr>
        <a:xfrm>
          <a:off x="0" y="0"/>
          <a:ext cx="0" cy="0"/>
          <a:chOff x="0" y="0"/>
          <a:chExt cx="0" cy="0"/>
        </a:xfrm>
      </p:grpSpPr>
      <p:sp>
        <p:nvSpPr>
          <p:cNvPr id="17690" name="Google Shape;17690;p153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691" name="Google Shape;17691;p1534"/>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692" name="Google Shape;17692;p1534"/>
          <p:cNvGrpSpPr/>
          <p:nvPr/>
        </p:nvGrpSpPr>
        <p:grpSpPr>
          <a:xfrm>
            <a:off x="3" y="5379427"/>
            <a:ext cx="2807363" cy="753895"/>
            <a:chOff x="0" y="5379424"/>
            <a:chExt cx="2807363" cy="753895"/>
          </a:xfrm>
        </p:grpSpPr>
        <p:sp>
          <p:nvSpPr>
            <p:cNvPr id="17693" name="Google Shape;17693;p153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4" name="Google Shape;17694;p153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695" name="Google Shape;17695;p1534"/>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4171911177"/>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matchingName="Quotation 17">
  <p:cSld name="2_Quotation 17">
    <p:spTree>
      <p:nvGrpSpPr>
        <p:cNvPr id="1" name="Shape 17696"/>
        <p:cNvGrpSpPr/>
        <p:nvPr/>
      </p:nvGrpSpPr>
      <p:grpSpPr>
        <a:xfrm>
          <a:off x="0" y="0"/>
          <a:ext cx="0" cy="0"/>
          <a:chOff x="0" y="0"/>
          <a:chExt cx="0" cy="0"/>
        </a:xfrm>
      </p:grpSpPr>
      <p:sp>
        <p:nvSpPr>
          <p:cNvPr id="17697" name="Google Shape;17697;p15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8" name="Google Shape;17698;p15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99" name="Google Shape;17699;p153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00" name="Google Shape;17700;p153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01" name="Google Shape;17701;p1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02" name="Google Shape;17702;p153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03" name="Google Shape;17703;p1535"/>
          <p:cNvGrpSpPr/>
          <p:nvPr/>
        </p:nvGrpSpPr>
        <p:grpSpPr>
          <a:xfrm>
            <a:off x="7191545" y="0"/>
            <a:ext cx="5000460" cy="1425988"/>
            <a:chOff x="7191545" y="0"/>
            <a:chExt cx="5000460" cy="1425988"/>
          </a:xfrm>
        </p:grpSpPr>
        <p:pic>
          <p:nvPicPr>
            <p:cNvPr id="17704" name="Google Shape;17704;p1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05" name="Google Shape;17705;p1535"/>
            <p:cNvGrpSpPr/>
            <p:nvPr/>
          </p:nvGrpSpPr>
          <p:grpSpPr>
            <a:xfrm>
              <a:off x="7191545" y="0"/>
              <a:ext cx="5000460" cy="1425988"/>
              <a:chOff x="7191545" y="0"/>
              <a:chExt cx="5000460" cy="1425988"/>
            </a:xfrm>
          </p:grpSpPr>
          <p:sp>
            <p:nvSpPr>
              <p:cNvPr id="17706" name="Google Shape;17706;p1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07" name="Google Shape;17707;p1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08" name="Google Shape;17708;p153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76645803"/>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matchingName="1_Quotation 17">
  <p:cSld name="2_Quotation 17">
    <p:spTree>
      <p:nvGrpSpPr>
        <p:cNvPr id="1" name="Shape 17709"/>
        <p:cNvGrpSpPr/>
        <p:nvPr/>
      </p:nvGrpSpPr>
      <p:grpSpPr>
        <a:xfrm>
          <a:off x="0" y="0"/>
          <a:ext cx="0" cy="0"/>
          <a:chOff x="0" y="0"/>
          <a:chExt cx="0" cy="0"/>
        </a:xfrm>
      </p:grpSpPr>
      <p:sp>
        <p:nvSpPr>
          <p:cNvPr id="17710" name="Google Shape;17710;p15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11" name="Google Shape;17711;p15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12" name="Google Shape;17712;p153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13" name="Google Shape;17713;p153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14" name="Google Shape;17714;p15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15" name="Google Shape;17715;p153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16" name="Google Shape;17716;p1536"/>
          <p:cNvGrpSpPr/>
          <p:nvPr/>
        </p:nvGrpSpPr>
        <p:grpSpPr>
          <a:xfrm>
            <a:off x="7191545" y="0"/>
            <a:ext cx="5000460" cy="1425988"/>
            <a:chOff x="7191545" y="0"/>
            <a:chExt cx="5000460" cy="1425988"/>
          </a:xfrm>
        </p:grpSpPr>
        <p:pic>
          <p:nvPicPr>
            <p:cNvPr id="17717" name="Google Shape;17717;p15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18" name="Google Shape;17718;p1536"/>
            <p:cNvGrpSpPr/>
            <p:nvPr/>
          </p:nvGrpSpPr>
          <p:grpSpPr>
            <a:xfrm>
              <a:off x="7191545" y="0"/>
              <a:ext cx="5000460" cy="1425988"/>
              <a:chOff x="7191545" y="0"/>
              <a:chExt cx="5000460" cy="1425988"/>
            </a:xfrm>
          </p:grpSpPr>
          <p:sp>
            <p:nvSpPr>
              <p:cNvPr id="17719" name="Google Shape;17719;p15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0" name="Google Shape;17720;p15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21" name="Google Shape;17721;p153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61884917"/>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matchingName="Title and Content 14">
  <p:cSld name="1_Title and Content 14">
    <p:spTree>
      <p:nvGrpSpPr>
        <p:cNvPr id="1" name="Shape 17722"/>
        <p:cNvGrpSpPr/>
        <p:nvPr/>
      </p:nvGrpSpPr>
      <p:grpSpPr>
        <a:xfrm>
          <a:off x="0" y="0"/>
          <a:ext cx="0" cy="0"/>
          <a:chOff x="0" y="0"/>
          <a:chExt cx="0" cy="0"/>
        </a:xfrm>
      </p:grpSpPr>
      <p:grpSp>
        <p:nvGrpSpPr>
          <p:cNvPr id="17723" name="Google Shape;17723;p1537"/>
          <p:cNvGrpSpPr/>
          <p:nvPr/>
        </p:nvGrpSpPr>
        <p:grpSpPr>
          <a:xfrm>
            <a:off x="7191545" y="0"/>
            <a:ext cx="5000460" cy="1425988"/>
            <a:chOff x="7191545" y="0"/>
            <a:chExt cx="5000460" cy="1425988"/>
          </a:xfrm>
        </p:grpSpPr>
        <p:pic>
          <p:nvPicPr>
            <p:cNvPr id="17724" name="Google Shape;17724;p1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25" name="Google Shape;17725;p1537"/>
            <p:cNvGrpSpPr/>
            <p:nvPr/>
          </p:nvGrpSpPr>
          <p:grpSpPr>
            <a:xfrm>
              <a:off x="7191545" y="0"/>
              <a:ext cx="5000460" cy="1425988"/>
              <a:chOff x="7191545" y="0"/>
              <a:chExt cx="5000460" cy="1425988"/>
            </a:xfrm>
          </p:grpSpPr>
          <p:sp>
            <p:nvSpPr>
              <p:cNvPr id="17726" name="Google Shape;17726;p1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7" name="Google Shape;17727;p1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28" name="Google Shape;17728;p1537"/>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29" name="Google Shape;17729;p15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30" name="Google Shape;17730;p153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31" name="Google Shape;17731;p1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32" name="Google Shape;17732;p153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7828192"/>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matchingName="Two Content 11">
  <p:cSld name="1_Two Content 11">
    <p:spTree>
      <p:nvGrpSpPr>
        <p:cNvPr id="1" name="Shape 17733"/>
        <p:cNvGrpSpPr/>
        <p:nvPr/>
      </p:nvGrpSpPr>
      <p:grpSpPr>
        <a:xfrm>
          <a:off x="0" y="0"/>
          <a:ext cx="0" cy="0"/>
          <a:chOff x="0" y="0"/>
          <a:chExt cx="0" cy="0"/>
        </a:xfrm>
      </p:grpSpPr>
      <p:sp>
        <p:nvSpPr>
          <p:cNvPr id="17734" name="Google Shape;17734;p1538"/>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5" name="Google Shape;17735;p1538"/>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7736" name="Google Shape;17736;p1538"/>
          <p:cNvGrpSpPr/>
          <p:nvPr/>
        </p:nvGrpSpPr>
        <p:grpSpPr>
          <a:xfrm>
            <a:off x="7191545" y="0"/>
            <a:ext cx="5000460" cy="1425988"/>
            <a:chOff x="7191545" y="0"/>
            <a:chExt cx="5000460" cy="1425988"/>
          </a:xfrm>
        </p:grpSpPr>
        <p:pic>
          <p:nvPicPr>
            <p:cNvPr id="17737" name="Google Shape;17737;p1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38" name="Google Shape;17738;p1538"/>
            <p:cNvGrpSpPr/>
            <p:nvPr/>
          </p:nvGrpSpPr>
          <p:grpSpPr>
            <a:xfrm>
              <a:off x="7191545" y="0"/>
              <a:ext cx="5000460" cy="1425988"/>
              <a:chOff x="7191545" y="0"/>
              <a:chExt cx="5000460" cy="1425988"/>
            </a:xfrm>
          </p:grpSpPr>
          <p:sp>
            <p:nvSpPr>
              <p:cNvPr id="17739" name="Google Shape;17739;p1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40" name="Google Shape;17740;p1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41" name="Google Shape;17741;p1538"/>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42" name="Google Shape;17742;p1538"/>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43" name="Google Shape;17743;p1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44" name="Google Shape;17744;p153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68199283"/>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matchingName="Comparison 10">
  <p:cSld name="1_Comparison 10">
    <p:spTree>
      <p:nvGrpSpPr>
        <p:cNvPr id="1" name="Shape 17745"/>
        <p:cNvGrpSpPr/>
        <p:nvPr/>
      </p:nvGrpSpPr>
      <p:grpSpPr>
        <a:xfrm>
          <a:off x="0" y="0"/>
          <a:ext cx="0" cy="0"/>
          <a:chOff x="0" y="0"/>
          <a:chExt cx="0" cy="0"/>
        </a:xfrm>
      </p:grpSpPr>
      <p:grpSp>
        <p:nvGrpSpPr>
          <p:cNvPr id="17746" name="Google Shape;17746;p1539"/>
          <p:cNvGrpSpPr/>
          <p:nvPr/>
        </p:nvGrpSpPr>
        <p:grpSpPr>
          <a:xfrm>
            <a:off x="7191545" y="0"/>
            <a:ext cx="5000460" cy="1425988"/>
            <a:chOff x="7191545" y="0"/>
            <a:chExt cx="5000460" cy="1425988"/>
          </a:xfrm>
        </p:grpSpPr>
        <p:pic>
          <p:nvPicPr>
            <p:cNvPr id="17747" name="Google Shape;17747;p15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48" name="Google Shape;17748;p1539"/>
            <p:cNvGrpSpPr/>
            <p:nvPr/>
          </p:nvGrpSpPr>
          <p:grpSpPr>
            <a:xfrm>
              <a:off x="7191545" y="0"/>
              <a:ext cx="5000460" cy="1425988"/>
              <a:chOff x="7191545" y="0"/>
              <a:chExt cx="5000460" cy="1425988"/>
            </a:xfrm>
          </p:grpSpPr>
          <p:sp>
            <p:nvSpPr>
              <p:cNvPr id="17749" name="Google Shape;17749;p15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50" name="Google Shape;17750;p15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51" name="Google Shape;17751;p1539"/>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52" name="Google Shape;17752;p15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53" name="Google Shape;17753;p1539"/>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54" name="Google Shape;17754;p1539"/>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55" name="Google Shape;17755;p1539"/>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56" name="Google Shape;17756;p153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57" name="Google Shape;17757;p15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58" name="Google Shape;17758;p153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46829078"/>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matchingName="End 11">
  <p:cSld name="1_End 11">
    <p:spTree>
      <p:nvGrpSpPr>
        <p:cNvPr id="1" name="Shape 17769"/>
        <p:cNvGrpSpPr/>
        <p:nvPr/>
      </p:nvGrpSpPr>
      <p:grpSpPr>
        <a:xfrm>
          <a:off x="0" y="0"/>
          <a:ext cx="0" cy="0"/>
          <a:chOff x="0" y="0"/>
          <a:chExt cx="0" cy="0"/>
        </a:xfrm>
      </p:grpSpPr>
      <p:grpSp>
        <p:nvGrpSpPr>
          <p:cNvPr id="17770" name="Google Shape;17770;p1541"/>
          <p:cNvGrpSpPr/>
          <p:nvPr/>
        </p:nvGrpSpPr>
        <p:grpSpPr>
          <a:xfrm>
            <a:off x="0" y="0"/>
            <a:ext cx="12191996" cy="2148830"/>
            <a:chOff x="0" y="0"/>
            <a:chExt cx="12191996" cy="2148830"/>
          </a:xfrm>
        </p:grpSpPr>
        <p:sp>
          <p:nvSpPr>
            <p:cNvPr id="17771" name="Google Shape;17771;p15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72" name="Google Shape;17772;p15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773" name="Google Shape;17773;p1541"/>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74" name="Google Shape;17774;p1541"/>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75" name="Google Shape;17775;p15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776" name="Google Shape;17776;p15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01954645"/>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matchingName="1_Title Slide">
  <p:cSld name="4_Title Slide">
    <p:spTree>
      <p:nvGrpSpPr>
        <p:cNvPr id="1" name="Shape 17786"/>
        <p:cNvGrpSpPr/>
        <p:nvPr/>
      </p:nvGrpSpPr>
      <p:grpSpPr>
        <a:xfrm>
          <a:off x="0" y="0"/>
          <a:ext cx="0" cy="0"/>
          <a:chOff x="0" y="0"/>
          <a:chExt cx="0" cy="0"/>
        </a:xfrm>
      </p:grpSpPr>
      <p:sp>
        <p:nvSpPr>
          <p:cNvPr id="17787" name="Google Shape;17787;p1543"/>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88" name="Google Shape;17788;p1543"/>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89" name="Google Shape;17789;p1543"/>
          <p:cNvGrpSpPr/>
          <p:nvPr/>
        </p:nvGrpSpPr>
        <p:grpSpPr>
          <a:xfrm>
            <a:off x="3" y="0"/>
            <a:ext cx="1862669" cy="6629400"/>
            <a:chOff x="0" y="0"/>
            <a:chExt cx="1862669" cy="6629400"/>
          </a:xfrm>
        </p:grpSpPr>
        <p:sp>
          <p:nvSpPr>
            <p:cNvPr id="17790" name="Google Shape;17790;p1543"/>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1" name="Google Shape;17791;p1543"/>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792" name="Google Shape;17792;p1543"/>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93" name="Google Shape;17793;p1543"/>
          <p:cNvSpPr txBox="1">
            <a:spLocks noGrp="1"/>
          </p:cNvSpPr>
          <p:nvPr>
            <p:ph type="title"/>
          </p:nvPr>
        </p:nvSpPr>
        <p:spPr>
          <a:xfrm>
            <a:off x="1621872" y="1806427"/>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94" name="Google Shape;17794;p1543"/>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795" name="Google Shape;17795;p1543"/>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21719308"/>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17796"/>
        <p:cNvGrpSpPr/>
        <p:nvPr/>
      </p:nvGrpSpPr>
      <p:grpSpPr>
        <a:xfrm>
          <a:off x="0" y="0"/>
          <a:ext cx="0" cy="0"/>
          <a:chOff x="0" y="0"/>
          <a:chExt cx="0" cy="0"/>
        </a:xfrm>
      </p:grpSpPr>
      <p:sp>
        <p:nvSpPr>
          <p:cNvPr id="17797" name="Google Shape;17797;p154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8" name="Google Shape;17798;p154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99" name="Google Shape;17799;p1544"/>
          <p:cNvGrpSpPr/>
          <p:nvPr/>
        </p:nvGrpSpPr>
        <p:grpSpPr>
          <a:xfrm>
            <a:off x="3" y="0"/>
            <a:ext cx="1862669" cy="6629400"/>
            <a:chOff x="0" y="0"/>
            <a:chExt cx="1862669" cy="6629400"/>
          </a:xfrm>
        </p:grpSpPr>
        <p:sp>
          <p:nvSpPr>
            <p:cNvPr id="17800" name="Google Shape;17800;p154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1" name="Google Shape;17801;p154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02" name="Google Shape;17802;p154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03" name="Google Shape;17803;p1544"/>
          <p:cNvSpPr txBox="1">
            <a:spLocks noGrp="1"/>
          </p:cNvSpPr>
          <p:nvPr>
            <p:ph type="title"/>
          </p:nvPr>
        </p:nvSpPr>
        <p:spPr>
          <a:xfrm>
            <a:off x="1621872" y="1806427"/>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4" name="Google Shape;17804;p154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05" name="Google Shape;17805;p154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690560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matchingName="3_Title Slide">
  <p:cSld name="4_Title Slide">
    <p:spTree>
      <p:nvGrpSpPr>
        <p:cNvPr id="1" name="Shape 17806"/>
        <p:cNvGrpSpPr/>
        <p:nvPr/>
      </p:nvGrpSpPr>
      <p:grpSpPr>
        <a:xfrm>
          <a:off x="0" y="0"/>
          <a:ext cx="0" cy="0"/>
          <a:chOff x="0" y="0"/>
          <a:chExt cx="0" cy="0"/>
        </a:xfrm>
      </p:grpSpPr>
      <p:sp>
        <p:nvSpPr>
          <p:cNvPr id="17807" name="Google Shape;17807;p1545"/>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8" name="Google Shape;17808;p1545"/>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09" name="Google Shape;17809;p1545"/>
          <p:cNvGrpSpPr/>
          <p:nvPr/>
        </p:nvGrpSpPr>
        <p:grpSpPr>
          <a:xfrm>
            <a:off x="3" y="0"/>
            <a:ext cx="1862669" cy="6629400"/>
            <a:chOff x="0" y="0"/>
            <a:chExt cx="1862669" cy="6629400"/>
          </a:xfrm>
        </p:grpSpPr>
        <p:sp>
          <p:nvSpPr>
            <p:cNvPr id="17810" name="Google Shape;17810;p154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11" name="Google Shape;17811;p154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12" name="Google Shape;17812;p154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13" name="Google Shape;17813;p1545"/>
          <p:cNvSpPr txBox="1">
            <a:spLocks noGrp="1"/>
          </p:cNvSpPr>
          <p:nvPr>
            <p:ph type="title"/>
          </p:nvPr>
        </p:nvSpPr>
        <p:spPr>
          <a:xfrm>
            <a:off x="1621872" y="1806427"/>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4" name="Google Shape;17814;p154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15" name="Google Shape;17815;p154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49153722"/>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matchingName="Table of Content">
  <p:cSld name="1_Table of Content">
    <p:spTree>
      <p:nvGrpSpPr>
        <p:cNvPr id="1" name="Shape 17816"/>
        <p:cNvGrpSpPr/>
        <p:nvPr/>
      </p:nvGrpSpPr>
      <p:grpSpPr>
        <a:xfrm>
          <a:off x="0" y="0"/>
          <a:ext cx="0" cy="0"/>
          <a:chOff x="0" y="0"/>
          <a:chExt cx="0" cy="0"/>
        </a:xfrm>
      </p:grpSpPr>
      <p:sp>
        <p:nvSpPr>
          <p:cNvPr id="17817" name="Google Shape;17817;p1546"/>
          <p:cNvSpPr/>
          <p:nvPr/>
        </p:nvSpPr>
        <p:spPr>
          <a:xfrm>
            <a:off x="-10579" y="6620935"/>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18" name="Google Shape;17818;p1546"/>
          <p:cNvSpPr txBox="1">
            <a:spLocks noGrp="1"/>
          </p:cNvSpPr>
          <p:nvPr>
            <p:ph type="title"/>
          </p:nvPr>
        </p:nvSpPr>
        <p:spPr>
          <a:xfrm>
            <a:off x="218112" y="224844"/>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9" name="Google Shape;17819;p1546"/>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Font typeface="Noto Sans Symbols"/>
              <a:buChar char="▪"/>
              <a:defRPr sz="1867" b="1"/>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20" name="Google Shape;17820;p1546"/>
          <p:cNvSpPr txBox="1">
            <a:spLocks noGrp="1"/>
          </p:cNvSpPr>
          <p:nvPr>
            <p:ph type="body" idx="2"/>
          </p:nvPr>
        </p:nvSpPr>
        <p:spPr>
          <a:xfrm>
            <a:off x="3858935" y="5969002"/>
            <a:ext cx="8074901" cy="649818"/>
          </a:xfrm>
          <a:prstGeom prst="rect">
            <a:avLst/>
          </a:prstGeom>
          <a:noFill/>
          <a:ln>
            <a:noFill/>
          </a:ln>
        </p:spPr>
        <p:txBody>
          <a:bodyPr spcFirstLastPara="1" wrap="square" lIns="91400" tIns="45700" rIns="91400" bIns="45700" anchor="b" anchorCtr="0">
            <a:noAutofit/>
          </a:bodyPr>
          <a:lstStyle>
            <a:lvl1pPr marL="304831" lvl="0" indent="-208852" algn="l">
              <a:lnSpc>
                <a:spcPct val="100000"/>
              </a:lnSpc>
              <a:spcBef>
                <a:spcPts val="1000"/>
              </a:spcBef>
              <a:spcAft>
                <a:spcPts val="0"/>
              </a:spcAft>
              <a:buSzPts val="1333"/>
              <a:buChar char="•"/>
              <a:defRPr sz="1333"/>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21" name="Google Shape;17821;p154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22" name="Google Shape;17822;p154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1694721917"/>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matchingName="3_Title Slide_Yale Blue 8">
  <p:cSld name="4_Title Slide_Yale Blue 8">
    <p:spTree>
      <p:nvGrpSpPr>
        <p:cNvPr id="1" name="Shape 17823"/>
        <p:cNvGrpSpPr/>
        <p:nvPr/>
      </p:nvGrpSpPr>
      <p:grpSpPr>
        <a:xfrm>
          <a:off x="0" y="0"/>
          <a:ext cx="0" cy="0"/>
          <a:chOff x="0" y="0"/>
          <a:chExt cx="0" cy="0"/>
        </a:xfrm>
      </p:grpSpPr>
      <p:sp>
        <p:nvSpPr>
          <p:cNvPr id="17824" name="Google Shape;17824;p1547"/>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25" name="Google Shape;17825;p1547"/>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6" name="Google Shape;17826;p154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27" name="Google Shape;17827;p154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8" name="Google Shape;17828;p154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29" name="Google Shape;17829;p1547"/>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0" name="Google Shape;17830;p154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1" name="Google Shape;17831;p1547"/>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832" name="Google Shape;17832;p1547"/>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1844503303"/>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matchingName="1_Title Slide 2">
  <p:cSld name="4_Title Slide 2">
    <p:spTree>
      <p:nvGrpSpPr>
        <p:cNvPr id="1" name="Shape 17833"/>
        <p:cNvGrpSpPr/>
        <p:nvPr/>
      </p:nvGrpSpPr>
      <p:grpSpPr>
        <a:xfrm>
          <a:off x="0" y="0"/>
          <a:ext cx="0" cy="0"/>
          <a:chOff x="0" y="0"/>
          <a:chExt cx="0" cy="0"/>
        </a:xfrm>
      </p:grpSpPr>
      <p:sp>
        <p:nvSpPr>
          <p:cNvPr id="17834" name="Google Shape;17834;p1548"/>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5" name="Google Shape;17835;p1548"/>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36" name="Google Shape;17836;p1548"/>
          <p:cNvGrpSpPr/>
          <p:nvPr/>
        </p:nvGrpSpPr>
        <p:grpSpPr>
          <a:xfrm>
            <a:off x="3" y="0"/>
            <a:ext cx="1862669" cy="6629400"/>
            <a:chOff x="0" y="0"/>
            <a:chExt cx="1862669" cy="6629400"/>
          </a:xfrm>
        </p:grpSpPr>
        <p:sp>
          <p:nvSpPr>
            <p:cNvPr id="17837" name="Google Shape;17837;p154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8" name="Google Shape;17838;p1548"/>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39" name="Google Shape;17839;p154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40" name="Google Shape;17840;p1548"/>
          <p:cNvSpPr txBox="1">
            <a:spLocks noGrp="1"/>
          </p:cNvSpPr>
          <p:nvPr>
            <p:ph type="title"/>
          </p:nvPr>
        </p:nvSpPr>
        <p:spPr>
          <a:xfrm>
            <a:off x="1621872" y="1806427"/>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1" name="Google Shape;17841;p154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42" name="Google Shape;17842;p154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53924624"/>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matchingName="Table of Content 2">
  <p:cSld name="1_Table of Content 2">
    <p:spTree>
      <p:nvGrpSpPr>
        <p:cNvPr id="1" name="Shape 17843"/>
        <p:cNvGrpSpPr/>
        <p:nvPr/>
      </p:nvGrpSpPr>
      <p:grpSpPr>
        <a:xfrm>
          <a:off x="0" y="0"/>
          <a:ext cx="0" cy="0"/>
          <a:chOff x="0" y="0"/>
          <a:chExt cx="0" cy="0"/>
        </a:xfrm>
      </p:grpSpPr>
      <p:sp>
        <p:nvSpPr>
          <p:cNvPr id="17844" name="Google Shape;17844;p1549"/>
          <p:cNvSpPr/>
          <p:nvPr/>
        </p:nvSpPr>
        <p:spPr>
          <a:xfrm>
            <a:off x="-10579" y="6620935"/>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45" name="Google Shape;17845;p1549"/>
          <p:cNvSpPr txBox="1">
            <a:spLocks noGrp="1"/>
          </p:cNvSpPr>
          <p:nvPr>
            <p:ph type="title"/>
          </p:nvPr>
        </p:nvSpPr>
        <p:spPr>
          <a:xfrm>
            <a:off x="218112" y="224844"/>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6" name="Google Shape;17846;p1549"/>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Font typeface="Noto Sans Symbols"/>
              <a:buChar char="▪"/>
              <a:defRPr sz="1867" b="1"/>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47" name="Google Shape;17847;p1549"/>
          <p:cNvSpPr txBox="1">
            <a:spLocks noGrp="1"/>
          </p:cNvSpPr>
          <p:nvPr>
            <p:ph type="body" idx="2"/>
          </p:nvPr>
        </p:nvSpPr>
        <p:spPr>
          <a:xfrm>
            <a:off x="3858935" y="5969002"/>
            <a:ext cx="8074901" cy="649818"/>
          </a:xfrm>
          <a:prstGeom prst="rect">
            <a:avLst/>
          </a:prstGeom>
          <a:noFill/>
          <a:ln>
            <a:noFill/>
          </a:ln>
        </p:spPr>
        <p:txBody>
          <a:bodyPr spcFirstLastPara="1" wrap="square" lIns="91400" tIns="45700" rIns="91400" bIns="45700" anchor="b" anchorCtr="0">
            <a:noAutofit/>
          </a:bodyPr>
          <a:lstStyle>
            <a:lvl1pPr marL="304831" lvl="0" indent="-208852" algn="l">
              <a:lnSpc>
                <a:spcPct val="100000"/>
              </a:lnSpc>
              <a:spcBef>
                <a:spcPts val="1000"/>
              </a:spcBef>
              <a:spcAft>
                <a:spcPts val="0"/>
              </a:spcAft>
              <a:buSzPts val="1333"/>
              <a:buChar char="•"/>
              <a:defRPr sz="1333"/>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48" name="Google Shape;17848;p154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49" name="Google Shape;17849;p154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3895548140"/>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matchingName="3_Title Slide_Yale Blue 9">
  <p:cSld name="5_Title Slide_Yale Blue 9">
    <p:spTree>
      <p:nvGrpSpPr>
        <p:cNvPr id="1" name="Shape 17850"/>
        <p:cNvGrpSpPr/>
        <p:nvPr/>
      </p:nvGrpSpPr>
      <p:grpSpPr>
        <a:xfrm>
          <a:off x="0" y="0"/>
          <a:ext cx="0" cy="0"/>
          <a:chOff x="0" y="0"/>
          <a:chExt cx="0" cy="0"/>
        </a:xfrm>
      </p:grpSpPr>
      <p:sp>
        <p:nvSpPr>
          <p:cNvPr id="17851" name="Google Shape;17851;p1550"/>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52" name="Google Shape;17852;p1550"/>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3" name="Google Shape;17853;p155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54" name="Google Shape;17854;p155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5" name="Google Shape;17855;p155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56" name="Google Shape;17856;p1550"/>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7" name="Google Shape;17857;p1550"/>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8" name="Google Shape;17858;p1550"/>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859" name="Google Shape;17859;p1550"/>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421414746"/>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matchingName="Title and Bullets Layout 7">
  <p:cSld name="1_Title and Bullets Layout 7">
    <p:spTree>
      <p:nvGrpSpPr>
        <p:cNvPr id="1" name="Shape 17860"/>
        <p:cNvGrpSpPr/>
        <p:nvPr/>
      </p:nvGrpSpPr>
      <p:grpSpPr>
        <a:xfrm>
          <a:off x="0" y="0"/>
          <a:ext cx="0" cy="0"/>
          <a:chOff x="0" y="0"/>
          <a:chExt cx="0" cy="0"/>
        </a:xfrm>
      </p:grpSpPr>
      <p:sp>
        <p:nvSpPr>
          <p:cNvPr id="17861" name="Google Shape;17861;p1551"/>
          <p:cNvSpPr txBox="1">
            <a:spLocks noGrp="1"/>
          </p:cNvSpPr>
          <p:nvPr>
            <p:ph type="title"/>
          </p:nvPr>
        </p:nvSpPr>
        <p:spPr>
          <a:xfrm>
            <a:off x="848992" y="783844"/>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62" name="Google Shape;17862;p1551"/>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3" name="Google Shape;17863;p155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4" name="Google Shape;17864;p1551"/>
          <p:cNvSpPr txBox="1">
            <a:spLocks noGrp="1"/>
          </p:cNvSpPr>
          <p:nvPr>
            <p:ph type="body" idx="1"/>
          </p:nvPr>
        </p:nvSpPr>
        <p:spPr>
          <a:xfrm>
            <a:off x="848785" y="1615024"/>
            <a:ext cx="10176933" cy="3812115"/>
          </a:xfrm>
          <a:prstGeom prst="rect">
            <a:avLst/>
          </a:prstGeom>
          <a:noFill/>
          <a:ln>
            <a:noFill/>
          </a:ln>
        </p:spPr>
        <p:txBody>
          <a:bodyPr spcFirstLastPara="1" wrap="square" lIns="91400" tIns="45700" rIns="91400" bIns="45700" anchor="t" anchorCtr="0">
            <a:noAutofit/>
          </a:bodyPr>
          <a:lstStyle>
            <a:lvl1pPr marL="304831" lvl="0" indent="-242721" algn="l">
              <a:lnSpc>
                <a:spcPct val="100000"/>
              </a:lnSpc>
              <a:spcBef>
                <a:spcPts val="1000"/>
              </a:spcBef>
              <a:spcAft>
                <a:spcPts val="0"/>
              </a:spcAft>
              <a:buSzPts val="2133"/>
              <a:buChar char="•"/>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865" name="Google Shape;17865;p1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950061719"/>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matchingName="1_Title and Content 7">
  <p:cSld name="2_Title and Content 7">
    <p:spTree>
      <p:nvGrpSpPr>
        <p:cNvPr id="1" name="Shape 17866"/>
        <p:cNvGrpSpPr/>
        <p:nvPr/>
      </p:nvGrpSpPr>
      <p:grpSpPr>
        <a:xfrm>
          <a:off x="0" y="0"/>
          <a:ext cx="0" cy="0"/>
          <a:chOff x="0" y="0"/>
          <a:chExt cx="0" cy="0"/>
        </a:xfrm>
      </p:grpSpPr>
      <p:sp>
        <p:nvSpPr>
          <p:cNvPr id="17867" name="Google Shape;17867;p1552"/>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868" name="Google Shape;17868;p1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
        <p:nvSpPr>
          <p:cNvPr id="17869" name="Google Shape;17869;p155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0" name="Google Shape;17870;p1552"/>
          <p:cNvSpPr txBox="1">
            <a:spLocks noGrp="1"/>
          </p:cNvSpPr>
          <p:nvPr>
            <p:ph type="title"/>
          </p:nvPr>
        </p:nvSpPr>
        <p:spPr>
          <a:xfrm>
            <a:off x="848992" y="806860"/>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1" name="Google Shape;17871;p1552"/>
          <p:cNvSpPr txBox="1">
            <a:spLocks noGrp="1"/>
          </p:cNvSpPr>
          <p:nvPr>
            <p:ph type="body" idx="1"/>
          </p:nvPr>
        </p:nvSpPr>
        <p:spPr>
          <a:xfrm>
            <a:off x="848992" y="1637857"/>
            <a:ext cx="10156176" cy="4117159"/>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57973887"/>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matchingName="Two Section | Picture and Copy Layout 7">
  <p:cSld name="1_Two Section | Picture and Copy Layout 7">
    <p:spTree>
      <p:nvGrpSpPr>
        <p:cNvPr id="1" name="Shape 17872"/>
        <p:cNvGrpSpPr/>
        <p:nvPr/>
      </p:nvGrpSpPr>
      <p:grpSpPr>
        <a:xfrm>
          <a:off x="0" y="0"/>
          <a:ext cx="0" cy="0"/>
          <a:chOff x="0" y="0"/>
          <a:chExt cx="0" cy="0"/>
        </a:xfrm>
      </p:grpSpPr>
      <p:sp>
        <p:nvSpPr>
          <p:cNvPr id="17873" name="Google Shape;17873;p1553"/>
          <p:cNvSpPr/>
          <p:nvPr/>
        </p:nvSpPr>
        <p:spPr>
          <a:xfrm>
            <a:off x="0" y="6313121"/>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4" name="Google Shape;17874;p155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5" name="Google Shape;17875;p155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76" name="Google Shape;17876;p1553"/>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31" lvl="0" indent="-152416" algn="l">
              <a:lnSpc>
                <a:spcPct val="90000"/>
              </a:lnSpc>
              <a:spcBef>
                <a:spcPts val="1000"/>
              </a:spcBef>
              <a:spcAft>
                <a:spcPts val="0"/>
              </a:spcAft>
              <a:buSzPts val="2400"/>
              <a:buNone/>
              <a:defRPr sz="2133">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77" name="Google Shape;17877;p1553"/>
          <p:cNvSpPr txBox="1">
            <a:spLocks noGrp="1"/>
          </p:cNvSpPr>
          <p:nvPr>
            <p:ph type="title"/>
          </p:nvPr>
        </p:nvSpPr>
        <p:spPr>
          <a:xfrm>
            <a:off x="5549395" y="1154524"/>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878" name="Google Shape;17878;p1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0" y="6364409"/>
            <a:ext cx="5059329" cy="493593"/>
          </a:xfrm>
          <a:prstGeom prst="rect">
            <a:avLst/>
          </a:prstGeom>
          <a:noFill/>
          <a:ln>
            <a:noFill/>
          </a:ln>
        </p:spPr>
      </p:pic>
    </p:spTree>
    <p:extLst>
      <p:ext uri="{BB962C8B-B14F-4D97-AF65-F5344CB8AC3E}">
        <p14:creationId xmlns:p14="http://schemas.microsoft.com/office/powerpoint/2010/main" val="4177460929"/>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matchingName="2_Title Slide 2">
  <p:cSld name="4_Title Slide 2">
    <p:spTree>
      <p:nvGrpSpPr>
        <p:cNvPr id="1" name="Shape 17879"/>
        <p:cNvGrpSpPr/>
        <p:nvPr/>
      </p:nvGrpSpPr>
      <p:grpSpPr>
        <a:xfrm>
          <a:off x="0" y="0"/>
          <a:ext cx="0" cy="0"/>
          <a:chOff x="0" y="0"/>
          <a:chExt cx="0" cy="0"/>
        </a:xfrm>
      </p:grpSpPr>
      <p:sp>
        <p:nvSpPr>
          <p:cNvPr id="17880" name="Google Shape;17880;p155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1" name="Google Shape;17881;p155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82" name="Google Shape;17882;p1554"/>
          <p:cNvGrpSpPr/>
          <p:nvPr/>
        </p:nvGrpSpPr>
        <p:grpSpPr>
          <a:xfrm>
            <a:off x="3" y="0"/>
            <a:ext cx="1862669" cy="6629400"/>
            <a:chOff x="0" y="0"/>
            <a:chExt cx="1862669" cy="6629400"/>
          </a:xfrm>
        </p:grpSpPr>
        <p:sp>
          <p:nvSpPr>
            <p:cNvPr id="17883" name="Google Shape;17883;p155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4" name="Google Shape;17884;p155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85" name="Google Shape;17885;p155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86" name="Google Shape;17886;p1554"/>
          <p:cNvSpPr txBox="1">
            <a:spLocks noGrp="1"/>
          </p:cNvSpPr>
          <p:nvPr>
            <p:ph type="title"/>
          </p:nvPr>
        </p:nvSpPr>
        <p:spPr>
          <a:xfrm>
            <a:off x="1621872" y="1806427"/>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87" name="Google Shape;17887;p155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88" name="Google Shape;17888;p155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766153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matchingName="4_Title Slide_Yale Blue 9">
  <p:cSld name="5_Title Slide_Yale Blue 9">
    <p:spTree>
      <p:nvGrpSpPr>
        <p:cNvPr id="1" name="Shape 17889"/>
        <p:cNvGrpSpPr/>
        <p:nvPr/>
      </p:nvGrpSpPr>
      <p:grpSpPr>
        <a:xfrm>
          <a:off x="0" y="0"/>
          <a:ext cx="0" cy="0"/>
          <a:chOff x="0" y="0"/>
          <a:chExt cx="0" cy="0"/>
        </a:xfrm>
      </p:grpSpPr>
      <p:sp>
        <p:nvSpPr>
          <p:cNvPr id="17890" name="Google Shape;17890;p1555"/>
          <p:cNvSpPr txBox="1">
            <a:spLocks noGrp="1"/>
          </p:cNvSpPr>
          <p:nvPr>
            <p:ph type="body" idx="1"/>
          </p:nvPr>
        </p:nvSpPr>
        <p:spPr>
          <a:xfrm>
            <a:off x="2826559" y="5400858"/>
            <a:ext cx="8178613" cy="507856"/>
          </a:xfrm>
          <a:prstGeom prst="rect">
            <a:avLst/>
          </a:prstGeom>
          <a:noFill/>
          <a:ln>
            <a:noFill/>
          </a:ln>
        </p:spPr>
        <p:txBody>
          <a:bodyPr spcFirstLastPara="1" wrap="square" lIns="91400" tIns="45700" rIns="91400" bIns="45700" anchor="t" anchorCtr="0">
            <a:spAutoFit/>
          </a:bodyPr>
          <a:lstStyle>
            <a:lvl1pPr marL="304831" lvl="0" indent="-152416"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891" name="Google Shape;17891;p1555"/>
          <p:cNvSpPr txBox="1">
            <a:spLocks noGrp="1"/>
          </p:cNvSpPr>
          <p:nvPr>
            <p:ph type="title"/>
          </p:nvPr>
        </p:nvSpPr>
        <p:spPr>
          <a:xfrm>
            <a:off x="2826559"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2" name="Google Shape;17892;p155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93" name="Google Shape;17893;p155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4" name="Google Shape;17894;p155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95" name="Google Shape;17895;p1555"/>
          <p:cNvSpPr/>
          <p:nvPr/>
        </p:nvSpPr>
        <p:spPr>
          <a:xfrm rot="10799991">
            <a:off x="-19" y="2000235"/>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6" name="Google Shape;17896;p1555"/>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7" name="Google Shape;17897;p1555"/>
          <p:cNvSpPr txBox="1">
            <a:spLocks noGrp="1"/>
          </p:cNvSpPr>
          <p:nvPr>
            <p:ph type="body" idx="2"/>
          </p:nvPr>
        </p:nvSpPr>
        <p:spPr>
          <a:xfrm>
            <a:off x="2826559" y="3447397"/>
            <a:ext cx="8178613" cy="71331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pic>
        <p:nvPicPr>
          <p:cNvPr id="17898" name="Google Shape;17898;p1555"/>
          <p:cNvPicPr preferRelativeResize="0"/>
          <p:nvPr/>
        </p:nvPicPr>
        <p:blipFill rotWithShape="1">
          <a:blip r:embed="rId2">
            <a:alphaModFix/>
          </a:blip>
          <a:srcRect/>
          <a:stretch/>
        </p:blipFill>
        <p:spPr>
          <a:xfrm>
            <a:off x="2829833" y="4178335"/>
            <a:ext cx="4395959" cy="1140165"/>
          </a:xfrm>
          <a:prstGeom prst="rect">
            <a:avLst/>
          </a:prstGeom>
          <a:noFill/>
          <a:ln>
            <a:noFill/>
          </a:ln>
        </p:spPr>
      </p:pic>
    </p:spTree>
    <p:extLst>
      <p:ext uri="{BB962C8B-B14F-4D97-AF65-F5344CB8AC3E}">
        <p14:creationId xmlns:p14="http://schemas.microsoft.com/office/powerpoint/2010/main" val="3967377909"/>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matchingName="3_Title Slide 2">
  <p:cSld name="4_Title Slide 2">
    <p:spTree>
      <p:nvGrpSpPr>
        <p:cNvPr id="1" name="Shape 17899"/>
        <p:cNvGrpSpPr/>
        <p:nvPr/>
      </p:nvGrpSpPr>
      <p:grpSpPr>
        <a:xfrm>
          <a:off x="0" y="0"/>
          <a:ext cx="0" cy="0"/>
          <a:chOff x="0" y="0"/>
          <a:chExt cx="0" cy="0"/>
        </a:xfrm>
      </p:grpSpPr>
      <p:sp>
        <p:nvSpPr>
          <p:cNvPr id="17900" name="Google Shape;17900;p1556"/>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1" name="Google Shape;17901;p1556"/>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902" name="Google Shape;17902;p1556"/>
          <p:cNvGrpSpPr/>
          <p:nvPr/>
        </p:nvGrpSpPr>
        <p:grpSpPr>
          <a:xfrm>
            <a:off x="3" y="0"/>
            <a:ext cx="1862669" cy="6629400"/>
            <a:chOff x="0" y="0"/>
            <a:chExt cx="1862669" cy="6629400"/>
          </a:xfrm>
        </p:grpSpPr>
        <p:sp>
          <p:nvSpPr>
            <p:cNvPr id="17903" name="Google Shape;17903;p155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4" name="Google Shape;17904;p155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905" name="Google Shape;17905;p155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906" name="Google Shape;17906;p1556"/>
          <p:cNvSpPr txBox="1">
            <a:spLocks noGrp="1"/>
          </p:cNvSpPr>
          <p:nvPr>
            <p:ph type="title"/>
          </p:nvPr>
        </p:nvSpPr>
        <p:spPr>
          <a:xfrm>
            <a:off x="1621872" y="1806427"/>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07" name="Google Shape;17907;p155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08" name="Google Shape;17908;p155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31" lvl="0" indent="-231460" algn="l">
              <a:lnSpc>
                <a:spcPct val="100000"/>
              </a:lnSpc>
              <a:spcBef>
                <a:spcPts val="1000"/>
              </a:spcBef>
              <a:spcAft>
                <a:spcPts val="0"/>
              </a:spcAft>
              <a:buSzPts val="1867"/>
              <a:buChar char="•"/>
              <a:defRPr sz="1867"/>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3375829"/>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matchingName="SECTION_HEADER" type="secHead">
  <p:cSld name="1_SECTION_HEADER">
    <p:spTree>
      <p:nvGrpSpPr>
        <p:cNvPr id="1" name="Shape 17909"/>
        <p:cNvGrpSpPr/>
        <p:nvPr/>
      </p:nvGrpSpPr>
      <p:grpSpPr>
        <a:xfrm>
          <a:off x="0" y="0"/>
          <a:ext cx="0" cy="0"/>
          <a:chOff x="0" y="0"/>
          <a:chExt cx="0" cy="0"/>
        </a:xfrm>
      </p:grpSpPr>
      <p:sp>
        <p:nvSpPr>
          <p:cNvPr id="17910" name="Google Shape;17910;p1557"/>
          <p:cNvSpPr txBox="1">
            <a:spLocks noGrp="1"/>
          </p:cNvSpPr>
          <p:nvPr>
            <p:ph type="title"/>
          </p:nvPr>
        </p:nvSpPr>
        <p:spPr>
          <a:xfrm>
            <a:off x="963082" y="4406908"/>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6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1" name="Google Shape;17911;p1557"/>
          <p:cNvSpPr txBox="1">
            <a:spLocks noGrp="1"/>
          </p:cNvSpPr>
          <p:nvPr>
            <p:ph type="body" idx="1"/>
          </p:nvPr>
        </p:nvSpPr>
        <p:spPr>
          <a:xfrm>
            <a:off x="963082" y="2906714"/>
            <a:ext cx="10363196" cy="1500182"/>
          </a:xfrm>
          <a:prstGeom prst="rect">
            <a:avLst/>
          </a:prstGeom>
          <a:noFill/>
          <a:ln>
            <a:noFill/>
          </a:ln>
        </p:spPr>
        <p:txBody>
          <a:bodyPr spcFirstLastPara="1" wrap="square" lIns="91400" tIns="45700" rIns="91400" bIns="45700" anchor="b" anchorCtr="0">
            <a:noAutofit/>
          </a:bodyPr>
          <a:lstStyle>
            <a:lvl1pPr marL="304831" lvl="0" indent="-152416" algn="l">
              <a:lnSpc>
                <a:spcPct val="100000"/>
              </a:lnSpc>
              <a:spcBef>
                <a:spcPts val="1000"/>
              </a:spcBef>
              <a:spcAft>
                <a:spcPts val="0"/>
              </a:spcAft>
              <a:buSzPts val="2400"/>
              <a:buNone/>
              <a:defRPr sz="2000">
                <a:solidFill>
                  <a:srgbClr val="919497"/>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12" name="Google Shape;17912;p155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13" name="Google Shape;17913;p155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4" name="Google Shape;17914;p155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51653079"/>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matchingName="OBJECT_WITH_CAPTION_TEXT" type="objTx">
  <p:cSld name="1_OBJECT_WITH_CAPTION_TEXT">
    <p:spTree>
      <p:nvGrpSpPr>
        <p:cNvPr id="1" name="Shape 17915"/>
        <p:cNvGrpSpPr/>
        <p:nvPr/>
      </p:nvGrpSpPr>
      <p:grpSpPr>
        <a:xfrm>
          <a:off x="0" y="0"/>
          <a:ext cx="0" cy="0"/>
          <a:chOff x="0" y="0"/>
          <a:chExt cx="0" cy="0"/>
        </a:xfrm>
      </p:grpSpPr>
      <p:sp>
        <p:nvSpPr>
          <p:cNvPr id="17916" name="Google Shape;17916;p1558"/>
          <p:cNvSpPr txBox="1">
            <a:spLocks noGrp="1"/>
          </p:cNvSpPr>
          <p:nvPr>
            <p:ph type="title"/>
          </p:nvPr>
        </p:nvSpPr>
        <p:spPr>
          <a:xfrm>
            <a:off x="609606"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000"/>
              <a:buFont typeface="Calibri"/>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7" name="Google Shape;17917;p1558"/>
          <p:cNvSpPr txBox="1">
            <a:spLocks noGrp="1"/>
          </p:cNvSpPr>
          <p:nvPr>
            <p:ph type="body" idx="1"/>
          </p:nvPr>
        </p:nvSpPr>
        <p:spPr>
          <a:xfrm>
            <a:off x="4766733" y="273058"/>
            <a:ext cx="6815663" cy="5853110"/>
          </a:xfrm>
          <a:prstGeom prst="rect">
            <a:avLst/>
          </a:prstGeom>
          <a:noFill/>
          <a:ln>
            <a:noFill/>
          </a:ln>
        </p:spPr>
        <p:txBody>
          <a:bodyPr spcFirstLastPara="1" wrap="square" lIns="91400" tIns="45700" rIns="91400" bIns="45700" anchor="t" anchorCtr="0">
            <a:noAutofit/>
          </a:bodyPr>
          <a:lstStyle>
            <a:lvl1pPr marL="304831" lvl="0" indent="-287896" algn="l">
              <a:lnSpc>
                <a:spcPct val="100000"/>
              </a:lnSpc>
              <a:spcBef>
                <a:spcPts val="1000"/>
              </a:spcBef>
              <a:spcAft>
                <a:spcPts val="0"/>
              </a:spcAft>
              <a:buSzPts val="3200"/>
              <a:buChar char="•"/>
              <a:defRPr sz="32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18" name="Google Shape;17918;p1558"/>
          <p:cNvSpPr txBox="1">
            <a:spLocks noGrp="1"/>
          </p:cNvSpPr>
          <p:nvPr>
            <p:ph type="body" idx="2"/>
          </p:nvPr>
        </p:nvSpPr>
        <p:spPr>
          <a:xfrm>
            <a:off x="609606" y="1435105"/>
            <a:ext cx="4011079" cy="4691064"/>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14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19" name="Google Shape;17919;p1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20" name="Google Shape;17920;p1558"/>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1" name="Google Shape;17921;p1558"/>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47661959"/>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matchingName="EVERYDAY CONTENT ONLY">
  <p:cSld name="1_EVERYDAY CONTENT ONLY">
    <p:spTree>
      <p:nvGrpSpPr>
        <p:cNvPr id="1" name="Shape 17922"/>
        <p:cNvGrpSpPr/>
        <p:nvPr/>
      </p:nvGrpSpPr>
      <p:grpSpPr>
        <a:xfrm>
          <a:off x="0" y="0"/>
          <a:ext cx="0" cy="0"/>
          <a:chOff x="0" y="0"/>
          <a:chExt cx="0" cy="0"/>
        </a:xfrm>
      </p:grpSpPr>
      <p:sp>
        <p:nvSpPr>
          <p:cNvPr id="17923" name="Google Shape;17923;p1559"/>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24" name="Google Shape;17924;p1559"/>
          <p:cNvSpPr/>
          <p:nvPr/>
        </p:nvSpPr>
        <p:spPr>
          <a:xfrm>
            <a:off x="6863644"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5" name="Google Shape;17925;p1559"/>
          <p:cNvSpPr txBox="1">
            <a:spLocks noGrp="1"/>
          </p:cNvSpPr>
          <p:nvPr>
            <p:ph type="body" idx="1"/>
          </p:nvPr>
        </p:nvSpPr>
        <p:spPr>
          <a:xfrm>
            <a:off x="508546" y="1707791"/>
            <a:ext cx="11203667" cy="4648571"/>
          </a:xfrm>
          <a:prstGeom prst="rect">
            <a:avLst/>
          </a:prstGeom>
          <a:noFill/>
          <a:ln>
            <a:noFill/>
          </a:ln>
        </p:spPr>
        <p:txBody>
          <a:bodyPr spcFirstLastPara="1" wrap="square" lIns="91400" tIns="45700" rIns="91400" bIns="45700" anchor="t" anchorCtr="0">
            <a:noAutofit/>
          </a:bodyPr>
          <a:lstStyle>
            <a:lvl1pPr marL="304831" lvl="0" indent="-254026" algn="l">
              <a:lnSpc>
                <a:spcPct val="100000"/>
              </a:lnSpc>
              <a:spcBef>
                <a:spcPts val="1000"/>
              </a:spcBef>
              <a:spcAft>
                <a:spcPts val="0"/>
              </a:spcAft>
              <a:buSzPts val="2400"/>
              <a:buChar char="•"/>
              <a:defRPr>
                <a:solidFill>
                  <a:srgbClr val="4B545E"/>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26" name="Google Shape;17926;p1559"/>
          <p:cNvSpPr/>
          <p:nvPr/>
        </p:nvSpPr>
        <p:spPr>
          <a:xfrm>
            <a:off x="6863644"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7" name="Google Shape;17927;p1559"/>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8" name="Google Shape;17928;p1559"/>
          <p:cNvSpPr txBox="1">
            <a:spLocks noGrp="1"/>
          </p:cNvSpPr>
          <p:nvPr>
            <p:ph type="body" idx="2"/>
          </p:nvPr>
        </p:nvSpPr>
        <p:spPr>
          <a:xfrm>
            <a:off x="332186" y="953347"/>
            <a:ext cx="11430109" cy="415923"/>
          </a:xfrm>
          <a:prstGeom prst="rect">
            <a:avLst/>
          </a:prstGeom>
          <a:noFill/>
          <a:ln>
            <a:noFill/>
          </a:ln>
        </p:spPr>
        <p:txBody>
          <a:bodyPr spcFirstLastPara="1" wrap="square" lIns="91400" tIns="45700" rIns="91400" bIns="45700" anchor="t" anchorCtr="0">
            <a:normAutofit/>
          </a:bodyPr>
          <a:lstStyle>
            <a:lvl1pPr marL="304831" lvl="0" indent="-152416" algn="l">
              <a:lnSpc>
                <a:spcPct val="100000"/>
              </a:lnSpc>
              <a:spcBef>
                <a:spcPts val="1000"/>
              </a:spcBef>
              <a:spcAft>
                <a:spcPts val="0"/>
              </a:spcAft>
              <a:buSzPts val="2400"/>
              <a:buNone/>
              <a:defRPr sz="1400">
                <a:solidFill>
                  <a:srgbClr val="FFFFFF"/>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929" name="Google Shape;17929;p1559"/>
          <p:cNvCxnSpPr/>
          <p:nvPr/>
        </p:nvCxnSpPr>
        <p:spPr>
          <a:xfrm>
            <a:off x="11311722" y="6447272"/>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30" name="Google Shape;17930;p1559"/>
          <p:cNvSpPr txBox="1">
            <a:spLocks noGrp="1"/>
          </p:cNvSpPr>
          <p:nvPr>
            <p:ph type="sldNum" idx="12"/>
          </p:nvPr>
        </p:nvSpPr>
        <p:spPr>
          <a:xfrm>
            <a:off x="11202597" y="6454533"/>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31" name="Google Shape;17931;p1559"/>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916644874"/>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6_Quotation">
  <p:cSld name="8_Quotation">
    <p:spTree>
      <p:nvGrpSpPr>
        <p:cNvPr id="1" name="Shape 17932"/>
        <p:cNvGrpSpPr/>
        <p:nvPr/>
      </p:nvGrpSpPr>
      <p:grpSpPr>
        <a:xfrm>
          <a:off x="0" y="0"/>
          <a:ext cx="0" cy="0"/>
          <a:chOff x="0" y="0"/>
          <a:chExt cx="0" cy="0"/>
        </a:xfrm>
      </p:grpSpPr>
      <p:sp>
        <p:nvSpPr>
          <p:cNvPr id="17933" name="Google Shape;17933;p156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34" name="Google Shape;17934;p156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35" name="Google Shape;17935;p1560"/>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36" name="Google Shape;17936;p156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37" name="Google Shape;17937;p15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38" name="Google Shape;17938;p156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39" name="Google Shape;17939;p1560"/>
          <p:cNvGrpSpPr/>
          <p:nvPr/>
        </p:nvGrpSpPr>
        <p:grpSpPr>
          <a:xfrm>
            <a:off x="7191545" y="0"/>
            <a:ext cx="5000460" cy="1425988"/>
            <a:chOff x="7191545" y="0"/>
            <a:chExt cx="5000460" cy="1425988"/>
          </a:xfrm>
        </p:grpSpPr>
        <p:pic>
          <p:nvPicPr>
            <p:cNvPr id="17940" name="Google Shape;17940;p15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41" name="Google Shape;17941;p1560"/>
            <p:cNvGrpSpPr/>
            <p:nvPr/>
          </p:nvGrpSpPr>
          <p:grpSpPr>
            <a:xfrm>
              <a:off x="7191545" y="0"/>
              <a:ext cx="5000460" cy="1425988"/>
              <a:chOff x="7191545" y="0"/>
              <a:chExt cx="5000460" cy="1425988"/>
            </a:xfrm>
          </p:grpSpPr>
          <p:sp>
            <p:nvSpPr>
              <p:cNvPr id="17942" name="Google Shape;17942;p15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43" name="Google Shape;17943;p15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44" name="Google Shape;17944;p1560"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230868420"/>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matchingName="EVERYDAY CONTENT ONLY 2">
  <p:cSld name="2_EVERYDAY CONTENT ONLY 2">
    <p:spTree>
      <p:nvGrpSpPr>
        <p:cNvPr id="1" name="Shape 17945"/>
        <p:cNvGrpSpPr/>
        <p:nvPr/>
      </p:nvGrpSpPr>
      <p:grpSpPr>
        <a:xfrm>
          <a:off x="0" y="0"/>
          <a:ext cx="0" cy="0"/>
          <a:chOff x="0" y="0"/>
          <a:chExt cx="0" cy="0"/>
        </a:xfrm>
      </p:grpSpPr>
      <p:sp>
        <p:nvSpPr>
          <p:cNvPr id="17946" name="Google Shape;17946;p156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47" name="Google Shape;17947;p1561"/>
          <p:cNvSpPr/>
          <p:nvPr/>
        </p:nvSpPr>
        <p:spPr>
          <a:xfrm>
            <a:off x="6863644"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48" name="Google Shape;17948;p1561"/>
          <p:cNvSpPr txBox="1">
            <a:spLocks noGrp="1"/>
          </p:cNvSpPr>
          <p:nvPr>
            <p:ph type="body" idx="1"/>
          </p:nvPr>
        </p:nvSpPr>
        <p:spPr>
          <a:xfrm>
            <a:off x="508546" y="1707791"/>
            <a:ext cx="11203667" cy="4648571"/>
          </a:xfrm>
          <a:prstGeom prst="rect">
            <a:avLst/>
          </a:prstGeom>
          <a:noFill/>
          <a:ln>
            <a:noFill/>
          </a:ln>
        </p:spPr>
        <p:txBody>
          <a:bodyPr spcFirstLastPara="1" wrap="square" lIns="91400" tIns="45700" rIns="91400" bIns="45700" anchor="t" anchorCtr="0">
            <a:noAutofit/>
          </a:bodyPr>
          <a:lstStyle>
            <a:lvl1pPr marL="304831" lvl="0" indent="-254026" algn="l">
              <a:lnSpc>
                <a:spcPct val="100000"/>
              </a:lnSpc>
              <a:spcBef>
                <a:spcPts val="1000"/>
              </a:spcBef>
              <a:spcAft>
                <a:spcPts val="0"/>
              </a:spcAft>
              <a:buSzPts val="2400"/>
              <a:buChar char="•"/>
              <a:defRPr>
                <a:solidFill>
                  <a:srgbClr val="4B545E"/>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49" name="Google Shape;17949;p1561"/>
          <p:cNvSpPr/>
          <p:nvPr/>
        </p:nvSpPr>
        <p:spPr>
          <a:xfrm>
            <a:off x="6863644"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50" name="Google Shape;17950;p156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51" name="Google Shape;17951;p1561"/>
          <p:cNvSpPr txBox="1">
            <a:spLocks noGrp="1"/>
          </p:cNvSpPr>
          <p:nvPr>
            <p:ph type="body" idx="2"/>
          </p:nvPr>
        </p:nvSpPr>
        <p:spPr>
          <a:xfrm>
            <a:off x="332186" y="953347"/>
            <a:ext cx="11430109" cy="415923"/>
          </a:xfrm>
          <a:prstGeom prst="rect">
            <a:avLst/>
          </a:prstGeom>
          <a:noFill/>
          <a:ln>
            <a:noFill/>
          </a:ln>
        </p:spPr>
        <p:txBody>
          <a:bodyPr spcFirstLastPara="1" wrap="square" lIns="91400" tIns="45700" rIns="91400" bIns="45700" anchor="t" anchorCtr="0">
            <a:normAutofit/>
          </a:bodyPr>
          <a:lstStyle>
            <a:lvl1pPr marL="304831" lvl="0" indent="-152416" algn="l">
              <a:lnSpc>
                <a:spcPct val="100000"/>
              </a:lnSpc>
              <a:spcBef>
                <a:spcPts val="1000"/>
              </a:spcBef>
              <a:spcAft>
                <a:spcPts val="0"/>
              </a:spcAft>
              <a:buSzPts val="2400"/>
              <a:buNone/>
              <a:defRPr sz="1400">
                <a:solidFill>
                  <a:srgbClr val="FFFFFF"/>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952" name="Google Shape;17952;p1561"/>
          <p:cNvCxnSpPr/>
          <p:nvPr/>
        </p:nvCxnSpPr>
        <p:spPr>
          <a:xfrm>
            <a:off x="11311722" y="6447272"/>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53" name="Google Shape;17953;p1561"/>
          <p:cNvSpPr txBox="1">
            <a:spLocks noGrp="1"/>
          </p:cNvSpPr>
          <p:nvPr>
            <p:ph type="sldNum" idx="12"/>
          </p:nvPr>
        </p:nvSpPr>
        <p:spPr>
          <a:xfrm>
            <a:off x="11202597" y="6454533"/>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54" name="Google Shape;17954;p1561"/>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4221914165"/>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matchingName="Photo Slide 13">
  <p:cSld name="2_Photo Slide 13">
    <p:spTree>
      <p:nvGrpSpPr>
        <p:cNvPr id="1" name="Shape 17971"/>
        <p:cNvGrpSpPr/>
        <p:nvPr/>
      </p:nvGrpSpPr>
      <p:grpSpPr>
        <a:xfrm>
          <a:off x="0" y="0"/>
          <a:ext cx="0" cy="0"/>
          <a:chOff x="0" y="0"/>
          <a:chExt cx="0" cy="0"/>
        </a:xfrm>
      </p:grpSpPr>
      <p:sp>
        <p:nvSpPr>
          <p:cNvPr id="17972" name="Google Shape;17972;p156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973" name="Google Shape;17973;p1564"/>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974" name="Google Shape;17974;p1564"/>
          <p:cNvGrpSpPr/>
          <p:nvPr/>
        </p:nvGrpSpPr>
        <p:grpSpPr>
          <a:xfrm>
            <a:off x="3" y="5379427"/>
            <a:ext cx="2807363" cy="753895"/>
            <a:chOff x="0" y="5379424"/>
            <a:chExt cx="2807363" cy="753895"/>
          </a:xfrm>
        </p:grpSpPr>
        <p:sp>
          <p:nvSpPr>
            <p:cNvPr id="17975" name="Google Shape;17975;p156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76" name="Google Shape;17976;p156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977" name="Google Shape;17977;p1564"/>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273680001"/>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matchingName="7_Quotation">
  <p:cSld name="8_Quotation">
    <p:spTree>
      <p:nvGrpSpPr>
        <p:cNvPr id="1" name="Shape 17978"/>
        <p:cNvGrpSpPr/>
        <p:nvPr/>
      </p:nvGrpSpPr>
      <p:grpSpPr>
        <a:xfrm>
          <a:off x="0" y="0"/>
          <a:ext cx="0" cy="0"/>
          <a:chOff x="0" y="0"/>
          <a:chExt cx="0" cy="0"/>
        </a:xfrm>
      </p:grpSpPr>
      <p:sp>
        <p:nvSpPr>
          <p:cNvPr id="17979" name="Google Shape;17979;p156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80" name="Google Shape;17980;p15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81" name="Google Shape;17981;p1565"/>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82" name="Google Shape;17982;p1565"/>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83" name="Google Shape;17983;p15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84" name="Google Shape;17984;p156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85" name="Google Shape;17985;p1565"/>
          <p:cNvGrpSpPr/>
          <p:nvPr/>
        </p:nvGrpSpPr>
        <p:grpSpPr>
          <a:xfrm>
            <a:off x="7191545" y="0"/>
            <a:ext cx="5000460" cy="1425988"/>
            <a:chOff x="7191545" y="0"/>
            <a:chExt cx="5000460" cy="1425988"/>
          </a:xfrm>
        </p:grpSpPr>
        <p:pic>
          <p:nvPicPr>
            <p:cNvPr id="17986" name="Google Shape;17986;p15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87" name="Google Shape;17987;p1565"/>
            <p:cNvGrpSpPr/>
            <p:nvPr/>
          </p:nvGrpSpPr>
          <p:grpSpPr>
            <a:xfrm>
              <a:off x="7191545" y="0"/>
              <a:ext cx="5000460" cy="1425988"/>
              <a:chOff x="7191545" y="0"/>
              <a:chExt cx="5000460" cy="1425988"/>
            </a:xfrm>
          </p:grpSpPr>
          <p:sp>
            <p:nvSpPr>
              <p:cNvPr id="17988" name="Google Shape;17988;p15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89" name="Google Shape;17989;p15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90" name="Google Shape;17990;p1565"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108861040"/>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matchingName="1_EVERYDAY CONTENT ONLY 2">
  <p:cSld name="2_EVERYDAY CONTENT ONLY 2">
    <p:spTree>
      <p:nvGrpSpPr>
        <p:cNvPr id="1" name="Shape 17991"/>
        <p:cNvGrpSpPr/>
        <p:nvPr/>
      </p:nvGrpSpPr>
      <p:grpSpPr>
        <a:xfrm>
          <a:off x="0" y="0"/>
          <a:ext cx="0" cy="0"/>
          <a:chOff x="0" y="0"/>
          <a:chExt cx="0" cy="0"/>
        </a:xfrm>
      </p:grpSpPr>
      <p:sp>
        <p:nvSpPr>
          <p:cNvPr id="17992" name="Google Shape;17992;p1566"/>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93" name="Google Shape;17993;p1566"/>
          <p:cNvSpPr/>
          <p:nvPr/>
        </p:nvSpPr>
        <p:spPr>
          <a:xfrm>
            <a:off x="6863644"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4" name="Google Shape;17994;p1566"/>
          <p:cNvSpPr txBox="1">
            <a:spLocks noGrp="1"/>
          </p:cNvSpPr>
          <p:nvPr>
            <p:ph type="body" idx="1"/>
          </p:nvPr>
        </p:nvSpPr>
        <p:spPr>
          <a:xfrm>
            <a:off x="508546" y="1707791"/>
            <a:ext cx="11203667" cy="4648571"/>
          </a:xfrm>
          <a:prstGeom prst="rect">
            <a:avLst/>
          </a:prstGeom>
          <a:noFill/>
          <a:ln>
            <a:noFill/>
          </a:ln>
        </p:spPr>
        <p:txBody>
          <a:bodyPr spcFirstLastPara="1" wrap="square" lIns="91400" tIns="45700" rIns="91400" bIns="45700" anchor="t" anchorCtr="0">
            <a:noAutofit/>
          </a:bodyPr>
          <a:lstStyle>
            <a:lvl1pPr marL="304831" lvl="0" indent="-254026" algn="l">
              <a:lnSpc>
                <a:spcPct val="100000"/>
              </a:lnSpc>
              <a:spcBef>
                <a:spcPts val="1000"/>
              </a:spcBef>
              <a:spcAft>
                <a:spcPts val="0"/>
              </a:spcAft>
              <a:buSzPts val="2400"/>
              <a:buChar char="•"/>
              <a:defRPr>
                <a:solidFill>
                  <a:srgbClr val="4B545E"/>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7995" name="Google Shape;17995;p1566"/>
          <p:cNvSpPr/>
          <p:nvPr/>
        </p:nvSpPr>
        <p:spPr>
          <a:xfrm>
            <a:off x="6863644"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6" name="Google Shape;17996;p1566"/>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97" name="Google Shape;17997;p1566"/>
          <p:cNvSpPr txBox="1">
            <a:spLocks noGrp="1"/>
          </p:cNvSpPr>
          <p:nvPr>
            <p:ph type="body" idx="2"/>
          </p:nvPr>
        </p:nvSpPr>
        <p:spPr>
          <a:xfrm>
            <a:off x="332186" y="953347"/>
            <a:ext cx="11430109" cy="415923"/>
          </a:xfrm>
          <a:prstGeom prst="rect">
            <a:avLst/>
          </a:prstGeom>
          <a:noFill/>
          <a:ln>
            <a:noFill/>
          </a:ln>
        </p:spPr>
        <p:txBody>
          <a:bodyPr spcFirstLastPara="1" wrap="square" lIns="91400" tIns="45700" rIns="91400" bIns="45700" anchor="t" anchorCtr="0">
            <a:normAutofit/>
          </a:bodyPr>
          <a:lstStyle>
            <a:lvl1pPr marL="304831" lvl="0" indent="-152416" algn="l">
              <a:lnSpc>
                <a:spcPct val="100000"/>
              </a:lnSpc>
              <a:spcBef>
                <a:spcPts val="1000"/>
              </a:spcBef>
              <a:spcAft>
                <a:spcPts val="0"/>
              </a:spcAft>
              <a:buSzPts val="2400"/>
              <a:buNone/>
              <a:defRPr sz="1400">
                <a:solidFill>
                  <a:srgbClr val="FFFFFF"/>
                </a:solidFill>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7998" name="Google Shape;17998;p1566"/>
          <p:cNvCxnSpPr/>
          <p:nvPr/>
        </p:nvCxnSpPr>
        <p:spPr>
          <a:xfrm>
            <a:off x="11311722" y="6447272"/>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99" name="Google Shape;17999;p1566"/>
          <p:cNvSpPr txBox="1">
            <a:spLocks noGrp="1"/>
          </p:cNvSpPr>
          <p:nvPr>
            <p:ph type="sldNum" idx="12"/>
          </p:nvPr>
        </p:nvSpPr>
        <p:spPr>
          <a:xfrm>
            <a:off x="11202597" y="6454533"/>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8000" name="Google Shape;18000;p1566"/>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4528125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matchingName="1_Photo Slide 13">
  <p:cSld name="2_Photo Slide 13">
    <p:spTree>
      <p:nvGrpSpPr>
        <p:cNvPr id="1" name="Shape 18017"/>
        <p:cNvGrpSpPr/>
        <p:nvPr/>
      </p:nvGrpSpPr>
      <p:grpSpPr>
        <a:xfrm>
          <a:off x="0" y="0"/>
          <a:ext cx="0" cy="0"/>
          <a:chOff x="0" y="0"/>
          <a:chExt cx="0" cy="0"/>
        </a:xfrm>
      </p:grpSpPr>
      <p:sp>
        <p:nvSpPr>
          <p:cNvPr id="18018" name="Google Shape;18018;p156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8019" name="Google Shape;18019;p1569"/>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020" name="Google Shape;18020;p1569"/>
          <p:cNvGrpSpPr/>
          <p:nvPr/>
        </p:nvGrpSpPr>
        <p:grpSpPr>
          <a:xfrm>
            <a:off x="3" y="5379427"/>
            <a:ext cx="2807363" cy="753895"/>
            <a:chOff x="0" y="5379424"/>
            <a:chExt cx="2807363" cy="753895"/>
          </a:xfrm>
        </p:grpSpPr>
        <p:sp>
          <p:nvSpPr>
            <p:cNvPr id="18021" name="Google Shape;18021;p156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22" name="Google Shape;18022;p156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023" name="Google Shape;18023;p1569"/>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947083880"/>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matchingName="Quotation 18">
  <p:cSld name="2_Quotation 18">
    <p:spTree>
      <p:nvGrpSpPr>
        <p:cNvPr id="1" name="Shape 18033"/>
        <p:cNvGrpSpPr/>
        <p:nvPr/>
      </p:nvGrpSpPr>
      <p:grpSpPr>
        <a:xfrm>
          <a:off x="0" y="0"/>
          <a:ext cx="0" cy="0"/>
          <a:chOff x="0" y="0"/>
          <a:chExt cx="0" cy="0"/>
        </a:xfrm>
      </p:grpSpPr>
      <p:sp>
        <p:nvSpPr>
          <p:cNvPr id="18034" name="Google Shape;18034;p157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35" name="Google Shape;18035;p15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36" name="Google Shape;18036;p1571"/>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37" name="Google Shape;18037;p157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38" name="Google Shape;18038;p15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39" name="Google Shape;18039;p157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40" name="Google Shape;18040;p1571"/>
          <p:cNvGrpSpPr/>
          <p:nvPr/>
        </p:nvGrpSpPr>
        <p:grpSpPr>
          <a:xfrm>
            <a:off x="7191545" y="0"/>
            <a:ext cx="5000460" cy="1425988"/>
            <a:chOff x="7191545" y="0"/>
            <a:chExt cx="5000460" cy="1425988"/>
          </a:xfrm>
        </p:grpSpPr>
        <p:pic>
          <p:nvPicPr>
            <p:cNvPr id="18041" name="Google Shape;18041;p15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42" name="Google Shape;18042;p1571"/>
            <p:cNvGrpSpPr/>
            <p:nvPr/>
          </p:nvGrpSpPr>
          <p:grpSpPr>
            <a:xfrm>
              <a:off x="7191545" y="0"/>
              <a:ext cx="5000460" cy="1425988"/>
              <a:chOff x="7191545" y="0"/>
              <a:chExt cx="5000460" cy="1425988"/>
            </a:xfrm>
          </p:grpSpPr>
          <p:sp>
            <p:nvSpPr>
              <p:cNvPr id="18043" name="Google Shape;18043;p15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44" name="Google Shape;18044;p15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045" name="Google Shape;18045;p1571"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699329430"/>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matchingName="Two Content 12">
  <p:cSld name="2_Two Content 12">
    <p:spTree>
      <p:nvGrpSpPr>
        <p:cNvPr id="1" name="Shape 18046"/>
        <p:cNvGrpSpPr/>
        <p:nvPr/>
      </p:nvGrpSpPr>
      <p:grpSpPr>
        <a:xfrm>
          <a:off x="0" y="0"/>
          <a:ext cx="0" cy="0"/>
          <a:chOff x="0" y="0"/>
          <a:chExt cx="0" cy="0"/>
        </a:xfrm>
      </p:grpSpPr>
      <p:sp>
        <p:nvSpPr>
          <p:cNvPr id="18047" name="Google Shape;18047;p157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48" name="Google Shape;18048;p1572"/>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8049" name="Google Shape;18049;p1572"/>
          <p:cNvGrpSpPr/>
          <p:nvPr/>
        </p:nvGrpSpPr>
        <p:grpSpPr>
          <a:xfrm>
            <a:off x="7191545" y="0"/>
            <a:ext cx="5000460" cy="1425988"/>
            <a:chOff x="7191545" y="0"/>
            <a:chExt cx="5000460" cy="1425988"/>
          </a:xfrm>
        </p:grpSpPr>
        <p:pic>
          <p:nvPicPr>
            <p:cNvPr id="18050" name="Google Shape;18050;p15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51" name="Google Shape;18051;p1572"/>
            <p:cNvGrpSpPr/>
            <p:nvPr/>
          </p:nvGrpSpPr>
          <p:grpSpPr>
            <a:xfrm>
              <a:off x="7191545" y="0"/>
              <a:ext cx="5000460" cy="1425988"/>
              <a:chOff x="7191545" y="0"/>
              <a:chExt cx="5000460" cy="1425988"/>
            </a:xfrm>
          </p:grpSpPr>
          <p:sp>
            <p:nvSpPr>
              <p:cNvPr id="18052" name="Google Shape;18052;p15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53" name="Google Shape;18053;p15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54" name="Google Shape;18054;p1572"/>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55" name="Google Shape;18055;p1572"/>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56" name="Google Shape;18056;p15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57" name="Google Shape;18057;p157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56908669"/>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matchingName="Comparison 11">
  <p:cSld name="2_Comparison 11">
    <p:spTree>
      <p:nvGrpSpPr>
        <p:cNvPr id="1" name="Shape 18058"/>
        <p:cNvGrpSpPr/>
        <p:nvPr/>
      </p:nvGrpSpPr>
      <p:grpSpPr>
        <a:xfrm>
          <a:off x="0" y="0"/>
          <a:ext cx="0" cy="0"/>
          <a:chOff x="0" y="0"/>
          <a:chExt cx="0" cy="0"/>
        </a:xfrm>
      </p:grpSpPr>
      <p:grpSp>
        <p:nvGrpSpPr>
          <p:cNvPr id="18059" name="Google Shape;18059;p1573"/>
          <p:cNvGrpSpPr/>
          <p:nvPr/>
        </p:nvGrpSpPr>
        <p:grpSpPr>
          <a:xfrm>
            <a:off x="7191545" y="0"/>
            <a:ext cx="5000460" cy="1425988"/>
            <a:chOff x="7191545" y="0"/>
            <a:chExt cx="5000460" cy="1425988"/>
          </a:xfrm>
        </p:grpSpPr>
        <p:pic>
          <p:nvPicPr>
            <p:cNvPr id="18060" name="Google Shape;18060;p157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61" name="Google Shape;18061;p1573"/>
            <p:cNvGrpSpPr/>
            <p:nvPr/>
          </p:nvGrpSpPr>
          <p:grpSpPr>
            <a:xfrm>
              <a:off x="7191545" y="0"/>
              <a:ext cx="5000460" cy="1425988"/>
              <a:chOff x="7191545" y="0"/>
              <a:chExt cx="5000460" cy="1425988"/>
            </a:xfrm>
          </p:grpSpPr>
          <p:sp>
            <p:nvSpPr>
              <p:cNvPr id="18062" name="Google Shape;18062;p157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63" name="Google Shape;18063;p157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64" name="Google Shape;18064;p1573"/>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65" name="Google Shape;18065;p157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66" name="Google Shape;18066;p1573"/>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67" name="Google Shape;18067;p1573"/>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68" name="Google Shape;18068;p1573"/>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69" name="Google Shape;18069;p157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70" name="Google Shape;18070;p157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71" name="Google Shape;18071;p157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03847963"/>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matchingName="End 12">
  <p:cSld name="2_End 12">
    <p:spTree>
      <p:nvGrpSpPr>
        <p:cNvPr id="1" name="Shape 18082"/>
        <p:cNvGrpSpPr/>
        <p:nvPr/>
      </p:nvGrpSpPr>
      <p:grpSpPr>
        <a:xfrm>
          <a:off x="0" y="0"/>
          <a:ext cx="0" cy="0"/>
          <a:chOff x="0" y="0"/>
          <a:chExt cx="0" cy="0"/>
        </a:xfrm>
      </p:grpSpPr>
      <p:grpSp>
        <p:nvGrpSpPr>
          <p:cNvPr id="18083" name="Google Shape;18083;p1575"/>
          <p:cNvGrpSpPr/>
          <p:nvPr/>
        </p:nvGrpSpPr>
        <p:grpSpPr>
          <a:xfrm>
            <a:off x="0" y="0"/>
            <a:ext cx="12191996" cy="2148830"/>
            <a:chOff x="0" y="0"/>
            <a:chExt cx="12191996" cy="2148830"/>
          </a:xfrm>
        </p:grpSpPr>
        <p:sp>
          <p:nvSpPr>
            <p:cNvPr id="18084" name="Google Shape;18084;p157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85" name="Google Shape;18085;p157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086" name="Google Shape;18086;p1575"/>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87" name="Google Shape;18087;p1575"/>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088" name="Google Shape;18088;p157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089" name="Google Shape;18089;p157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063008101"/>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matchingName="6_Quotation 2">
  <p:cSld name="8_Quotation 2">
    <p:spTree>
      <p:nvGrpSpPr>
        <p:cNvPr id="1" name="Shape 18099"/>
        <p:cNvGrpSpPr/>
        <p:nvPr/>
      </p:nvGrpSpPr>
      <p:grpSpPr>
        <a:xfrm>
          <a:off x="0" y="0"/>
          <a:ext cx="0" cy="0"/>
          <a:chOff x="0" y="0"/>
          <a:chExt cx="0" cy="0"/>
        </a:xfrm>
      </p:grpSpPr>
      <p:sp>
        <p:nvSpPr>
          <p:cNvPr id="18100" name="Google Shape;18100;p15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01" name="Google Shape;18101;p1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2" name="Google Shape;18102;p1577"/>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103" name="Google Shape;18103;p1577"/>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04" name="Google Shape;18104;p1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05" name="Google Shape;18105;p1577"/>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06" name="Google Shape;18106;p1577"/>
          <p:cNvGrpSpPr/>
          <p:nvPr/>
        </p:nvGrpSpPr>
        <p:grpSpPr>
          <a:xfrm>
            <a:off x="7191545" y="0"/>
            <a:ext cx="5000460" cy="1425988"/>
            <a:chOff x="7191545" y="0"/>
            <a:chExt cx="5000460" cy="1425988"/>
          </a:xfrm>
        </p:grpSpPr>
        <p:pic>
          <p:nvPicPr>
            <p:cNvPr id="18107" name="Google Shape;18107;p1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08" name="Google Shape;18108;p1577"/>
            <p:cNvGrpSpPr/>
            <p:nvPr/>
          </p:nvGrpSpPr>
          <p:grpSpPr>
            <a:xfrm>
              <a:off x="7191545" y="0"/>
              <a:ext cx="5000460" cy="1425988"/>
              <a:chOff x="7191545" y="0"/>
              <a:chExt cx="5000460" cy="1425988"/>
            </a:xfrm>
          </p:grpSpPr>
          <p:sp>
            <p:nvSpPr>
              <p:cNvPr id="18109" name="Google Shape;18109;p1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0" name="Google Shape;18110;p1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11" name="Google Shape;18111;p1577"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1222460417"/>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matchingName="Cover B 3">
  <p:cSld name="1_Cover B 3">
    <p:spTree>
      <p:nvGrpSpPr>
        <p:cNvPr id="1" name="Shape 18112"/>
        <p:cNvGrpSpPr/>
        <p:nvPr/>
      </p:nvGrpSpPr>
      <p:grpSpPr>
        <a:xfrm>
          <a:off x="0" y="0"/>
          <a:ext cx="0" cy="0"/>
          <a:chOff x="0" y="0"/>
          <a:chExt cx="0" cy="0"/>
        </a:xfrm>
      </p:grpSpPr>
      <p:sp>
        <p:nvSpPr>
          <p:cNvPr id="18113" name="Google Shape;18113;p1578"/>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4" name="Google Shape;18114;p1578"/>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18115" name="Google Shape;18115;p1578"/>
          <p:cNvGrpSpPr/>
          <p:nvPr/>
        </p:nvGrpSpPr>
        <p:grpSpPr>
          <a:xfrm>
            <a:off x="0" y="0"/>
            <a:ext cx="6418722" cy="1509820"/>
            <a:chOff x="0" y="0"/>
            <a:chExt cx="6418722" cy="1509820"/>
          </a:xfrm>
        </p:grpSpPr>
        <p:sp>
          <p:nvSpPr>
            <p:cNvPr id="18116" name="Google Shape;18116;p1578"/>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7" name="Google Shape;18117;p1578"/>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18118" name="Google Shape;18118;p1578"/>
          <p:cNvPicPr preferRelativeResize="0"/>
          <p:nvPr/>
        </p:nvPicPr>
        <p:blipFill rotWithShape="1">
          <a:blip r:embed="rId2">
            <a:alphaModFix/>
          </a:blip>
          <a:srcRect/>
          <a:stretch/>
        </p:blipFill>
        <p:spPr>
          <a:xfrm>
            <a:off x="513347" y="136529"/>
            <a:ext cx="1945203" cy="879972"/>
          </a:xfrm>
          <a:prstGeom prst="rect">
            <a:avLst/>
          </a:prstGeom>
          <a:noFill/>
          <a:ln>
            <a:noFill/>
          </a:ln>
        </p:spPr>
      </p:pic>
    </p:spTree>
    <p:extLst>
      <p:ext uri="{BB962C8B-B14F-4D97-AF65-F5344CB8AC3E}">
        <p14:creationId xmlns:p14="http://schemas.microsoft.com/office/powerpoint/2010/main" val="3810618792"/>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matchingName="Photo Slide 14">
  <p:cSld name="2_Photo Slide 14">
    <p:spTree>
      <p:nvGrpSpPr>
        <p:cNvPr id="1" name="Shape 18135"/>
        <p:cNvGrpSpPr/>
        <p:nvPr/>
      </p:nvGrpSpPr>
      <p:grpSpPr>
        <a:xfrm>
          <a:off x="0" y="0"/>
          <a:ext cx="0" cy="0"/>
          <a:chOff x="0" y="0"/>
          <a:chExt cx="0" cy="0"/>
        </a:xfrm>
      </p:grpSpPr>
      <p:sp>
        <p:nvSpPr>
          <p:cNvPr id="18136" name="Google Shape;18136;p158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8137" name="Google Shape;18137;p1581"/>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138" name="Google Shape;18138;p1581"/>
          <p:cNvGrpSpPr/>
          <p:nvPr/>
        </p:nvGrpSpPr>
        <p:grpSpPr>
          <a:xfrm>
            <a:off x="3" y="5379427"/>
            <a:ext cx="2807363" cy="753895"/>
            <a:chOff x="0" y="5379424"/>
            <a:chExt cx="2807363" cy="753895"/>
          </a:xfrm>
        </p:grpSpPr>
        <p:sp>
          <p:nvSpPr>
            <p:cNvPr id="18139" name="Google Shape;18139;p158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0" name="Google Shape;18140;p158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141" name="Google Shape;18141;p1581"/>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365649277"/>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matchingName="Quotation 19">
  <p:cSld name="2_Quotation 19">
    <p:spTree>
      <p:nvGrpSpPr>
        <p:cNvPr id="1" name="Shape 18142"/>
        <p:cNvGrpSpPr/>
        <p:nvPr/>
      </p:nvGrpSpPr>
      <p:grpSpPr>
        <a:xfrm>
          <a:off x="0" y="0"/>
          <a:ext cx="0" cy="0"/>
          <a:chOff x="0" y="0"/>
          <a:chExt cx="0" cy="0"/>
        </a:xfrm>
      </p:grpSpPr>
      <p:sp>
        <p:nvSpPr>
          <p:cNvPr id="18143" name="Google Shape;18143;p15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4" name="Google Shape;18144;p15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45" name="Google Shape;18145;p1582"/>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146" name="Google Shape;18146;p158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47" name="Google Shape;18147;p15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48" name="Google Shape;18148;p158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49" name="Google Shape;18149;p1582"/>
          <p:cNvGrpSpPr/>
          <p:nvPr/>
        </p:nvGrpSpPr>
        <p:grpSpPr>
          <a:xfrm>
            <a:off x="7191545" y="0"/>
            <a:ext cx="5000460" cy="1425988"/>
            <a:chOff x="7191545" y="0"/>
            <a:chExt cx="5000460" cy="1425988"/>
          </a:xfrm>
        </p:grpSpPr>
        <p:pic>
          <p:nvPicPr>
            <p:cNvPr id="18150" name="Google Shape;18150;p15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51" name="Google Shape;18151;p1582"/>
            <p:cNvGrpSpPr/>
            <p:nvPr/>
          </p:nvGrpSpPr>
          <p:grpSpPr>
            <a:xfrm>
              <a:off x="7191545" y="0"/>
              <a:ext cx="5000460" cy="1425988"/>
              <a:chOff x="7191545" y="0"/>
              <a:chExt cx="5000460" cy="1425988"/>
            </a:xfrm>
          </p:grpSpPr>
          <p:sp>
            <p:nvSpPr>
              <p:cNvPr id="18152" name="Google Shape;18152;p15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53" name="Google Shape;18153;p15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54" name="Google Shape;18154;p1582"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737663592"/>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matchingName="Quotation 20">
  <p:cSld name="2_Quotation 20">
    <p:spTree>
      <p:nvGrpSpPr>
        <p:cNvPr id="1" name="Shape 18155"/>
        <p:cNvGrpSpPr/>
        <p:nvPr/>
      </p:nvGrpSpPr>
      <p:grpSpPr>
        <a:xfrm>
          <a:off x="0" y="0"/>
          <a:ext cx="0" cy="0"/>
          <a:chOff x="0" y="0"/>
          <a:chExt cx="0" cy="0"/>
        </a:xfrm>
      </p:grpSpPr>
      <p:sp>
        <p:nvSpPr>
          <p:cNvPr id="18156" name="Google Shape;18156;p158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57" name="Google Shape;18157;p158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8" name="Google Shape;18158;p1583"/>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159" name="Google Shape;18159;p1583"/>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60" name="Google Shape;18160;p1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61" name="Google Shape;18161;p158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62" name="Google Shape;18162;p1583"/>
          <p:cNvGrpSpPr/>
          <p:nvPr/>
        </p:nvGrpSpPr>
        <p:grpSpPr>
          <a:xfrm>
            <a:off x="7191545" y="0"/>
            <a:ext cx="5000460" cy="1425988"/>
            <a:chOff x="7191545" y="0"/>
            <a:chExt cx="5000460" cy="1425988"/>
          </a:xfrm>
        </p:grpSpPr>
        <p:pic>
          <p:nvPicPr>
            <p:cNvPr id="18163" name="Google Shape;18163;p1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64" name="Google Shape;18164;p1583"/>
            <p:cNvGrpSpPr/>
            <p:nvPr/>
          </p:nvGrpSpPr>
          <p:grpSpPr>
            <a:xfrm>
              <a:off x="7191545" y="0"/>
              <a:ext cx="5000460" cy="1425988"/>
              <a:chOff x="7191545" y="0"/>
              <a:chExt cx="5000460" cy="1425988"/>
            </a:xfrm>
          </p:grpSpPr>
          <p:sp>
            <p:nvSpPr>
              <p:cNvPr id="18165" name="Google Shape;18165;p1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66" name="Google Shape;18166;p1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67" name="Google Shape;18167;p1583"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47296135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matchingName="Title and Content 15">
  <p:cSld name="2_Title and Content 15">
    <p:spTree>
      <p:nvGrpSpPr>
        <p:cNvPr id="1" name="Shape 18168"/>
        <p:cNvGrpSpPr/>
        <p:nvPr/>
      </p:nvGrpSpPr>
      <p:grpSpPr>
        <a:xfrm>
          <a:off x="0" y="0"/>
          <a:ext cx="0" cy="0"/>
          <a:chOff x="0" y="0"/>
          <a:chExt cx="0" cy="0"/>
        </a:xfrm>
      </p:grpSpPr>
      <p:grpSp>
        <p:nvGrpSpPr>
          <p:cNvPr id="18169" name="Google Shape;18169;p1584"/>
          <p:cNvGrpSpPr/>
          <p:nvPr/>
        </p:nvGrpSpPr>
        <p:grpSpPr>
          <a:xfrm>
            <a:off x="7191545" y="0"/>
            <a:ext cx="5000460" cy="1425988"/>
            <a:chOff x="7191545" y="0"/>
            <a:chExt cx="5000460" cy="1425988"/>
          </a:xfrm>
        </p:grpSpPr>
        <p:pic>
          <p:nvPicPr>
            <p:cNvPr id="18170" name="Google Shape;18170;p15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71" name="Google Shape;18171;p1584"/>
            <p:cNvGrpSpPr/>
            <p:nvPr/>
          </p:nvGrpSpPr>
          <p:grpSpPr>
            <a:xfrm>
              <a:off x="7191545" y="0"/>
              <a:ext cx="5000460" cy="1425988"/>
              <a:chOff x="7191545" y="0"/>
              <a:chExt cx="5000460" cy="1425988"/>
            </a:xfrm>
          </p:grpSpPr>
          <p:sp>
            <p:nvSpPr>
              <p:cNvPr id="18172" name="Google Shape;18172;p15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73" name="Google Shape;18173;p15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74" name="Google Shape;18174;p1584"/>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75" name="Google Shape;18175;p158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176" name="Google Shape;18176;p158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77" name="Google Shape;18177;p15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78" name="Google Shape;18178;p158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98428070"/>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matchingName="Two Content 13">
  <p:cSld name="2_Two Content 13">
    <p:spTree>
      <p:nvGrpSpPr>
        <p:cNvPr id="1" name="Shape 18179"/>
        <p:cNvGrpSpPr/>
        <p:nvPr/>
      </p:nvGrpSpPr>
      <p:grpSpPr>
        <a:xfrm>
          <a:off x="0" y="0"/>
          <a:ext cx="0" cy="0"/>
          <a:chOff x="0" y="0"/>
          <a:chExt cx="0" cy="0"/>
        </a:xfrm>
      </p:grpSpPr>
      <p:sp>
        <p:nvSpPr>
          <p:cNvPr id="18180" name="Google Shape;18180;p1585"/>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81" name="Google Shape;18181;p1585"/>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8182" name="Google Shape;18182;p1585"/>
          <p:cNvGrpSpPr/>
          <p:nvPr/>
        </p:nvGrpSpPr>
        <p:grpSpPr>
          <a:xfrm>
            <a:off x="7191545" y="0"/>
            <a:ext cx="5000460" cy="1425988"/>
            <a:chOff x="7191545" y="0"/>
            <a:chExt cx="5000460" cy="1425988"/>
          </a:xfrm>
        </p:grpSpPr>
        <p:pic>
          <p:nvPicPr>
            <p:cNvPr id="18183" name="Google Shape;18183;p15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84" name="Google Shape;18184;p1585"/>
            <p:cNvGrpSpPr/>
            <p:nvPr/>
          </p:nvGrpSpPr>
          <p:grpSpPr>
            <a:xfrm>
              <a:off x="7191545" y="0"/>
              <a:ext cx="5000460" cy="1425988"/>
              <a:chOff x="7191545" y="0"/>
              <a:chExt cx="5000460" cy="1425988"/>
            </a:xfrm>
          </p:grpSpPr>
          <p:sp>
            <p:nvSpPr>
              <p:cNvPr id="18185" name="Google Shape;18185;p15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86" name="Google Shape;18186;p15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87" name="Google Shape;18187;p1585"/>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188" name="Google Shape;18188;p1585"/>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89" name="Google Shape;18189;p15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90" name="Google Shape;18190;p1585"/>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68232799"/>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matchingName="Comparison 12">
  <p:cSld name="2_Comparison 12">
    <p:spTree>
      <p:nvGrpSpPr>
        <p:cNvPr id="1" name="Shape 18191"/>
        <p:cNvGrpSpPr/>
        <p:nvPr/>
      </p:nvGrpSpPr>
      <p:grpSpPr>
        <a:xfrm>
          <a:off x="0" y="0"/>
          <a:ext cx="0" cy="0"/>
          <a:chOff x="0" y="0"/>
          <a:chExt cx="0" cy="0"/>
        </a:xfrm>
      </p:grpSpPr>
      <p:grpSp>
        <p:nvGrpSpPr>
          <p:cNvPr id="18192" name="Google Shape;18192;p1586"/>
          <p:cNvGrpSpPr/>
          <p:nvPr/>
        </p:nvGrpSpPr>
        <p:grpSpPr>
          <a:xfrm>
            <a:off x="7191545" y="0"/>
            <a:ext cx="5000460" cy="1425988"/>
            <a:chOff x="7191545" y="0"/>
            <a:chExt cx="5000460" cy="1425988"/>
          </a:xfrm>
        </p:grpSpPr>
        <p:pic>
          <p:nvPicPr>
            <p:cNvPr id="18193" name="Google Shape;18193;p15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94" name="Google Shape;18194;p1586"/>
            <p:cNvGrpSpPr/>
            <p:nvPr/>
          </p:nvGrpSpPr>
          <p:grpSpPr>
            <a:xfrm>
              <a:off x="7191545" y="0"/>
              <a:ext cx="5000460" cy="1425988"/>
              <a:chOff x="7191545" y="0"/>
              <a:chExt cx="5000460" cy="1425988"/>
            </a:xfrm>
          </p:grpSpPr>
          <p:sp>
            <p:nvSpPr>
              <p:cNvPr id="18195" name="Google Shape;18195;p15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96" name="Google Shape;18196;p15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97" name="Google Shape;18197;p1586"/>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98" name="Google Shape;18198;p158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199" name="Google Shape;18199;p1586"/>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00" name="Google Shape;18200;p1586"/>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01" name="Google Shape;18201;p1586"/>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02" name="Google Shape;18202;p158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03" name="Google Shape;18203;p15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04" name="Google Shape;18204;p158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4205527"/>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matchingName="End 13">
  <p:cSld name="2_End 13">
    <p:spTree>
      <p:nvGrpSpPr>
        <p:cNvPr id="1" name="Shape 18215"/>
        <p:cNvGrpSpPr/>
        <p:nvPr/>
      </p:nvGrpSpPr>
      <p:grpSpPr>
        <a:xfrm>
          <a:off x="0" y="0"/>
          <a:ext cx="0" cy="0"/>
          <a:chOff x="0" y="0"/>
          <a:chExt cx="0" cy="0"/>
        </a:xfrm>
      </p:grpSpPr>
      <p:grpSp>
        <p:nvGrpSpPr>
          <p:cNvPr id="18216" name="Google Shape;18216;p1588"/>
          <p:cNvGrpSpPr/>
          <p:nvPr/>
        </p:nvGrpSpPr>
        <p:grpSpPr>
          <a:xfrm>
            <a:off x="0" y="0"/>
            <a:ext cx="12191996" cy="2148830"/>
            <a:chOff x="0" y="0"/>
            <a:chExt cx="12191996" cy="2148830"/>
          </a:xfrm>
        </p:grpSpPr>
        <p:sp>
          <p:nvSpPr>
            <p:cNvPr id="18217" name="Google Shape;18217;p158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18" name="Google Shape;18218;p158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19" name="Google Shape;18219;p1588"/>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20" name="Google Shape;18220;p1588"/>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21" name="Google Shape;18221;p158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22" name="Google Shape;18222;p158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90798620"/>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matchingName="1_Quotation 18">
  <p:cSld name="2_Quotation 18">
    <p:spTree>
      <p:nvGrpSpPr>
        <p:cNvPr id="1" name="Shape 18232"/>
        <p:cNvGrpSpPr/>
        <p:nvPr/>
      </p:nvGrpSpPr>
      <p:grpSpPr>
        <a:xfrm>
          <a:off x="0" y="0"/>
          <a:ext cx="0" cy="0"/>
          <a:chOff x="0" y="0"/>
          <a:chExt cx="0" cy="0"/>
        </a:xfrm>
      </p:grpSpPr>
      <p:sp>
        <p:nvSpPr>
          <p:cNvPr id="18233" name="Google Shape;18233;p159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34" name="Google Shape;18234;p159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5" name="Google Shape;18235;p1590"/>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36" name="Google Shape;18236;p159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37" name="Google Shape;18237;p1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38" name="Google Shape;18238;p159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39" name="Google Shape;18239;p1590"/>
          <p:cNvGrpSpPr/>
          <p:nvPr/>
        </p:nvGrpSpPr>
        <p:grpSpPr>
          <a:xfrm>
            <a:off x="7191545" y="0"/>
            <a:ext cx="5000460" cy="1425988"/>
            <a:chOff x="7191545" y="0"/>
            <a:chExt cx="5000460" cy="1425988"/>
          </a:xfrm>
        </p:grpSpPr>
        <p:pic>
          <p:nvPicPr>
            <p:cNvPr id="18240" name="Google Shape;18240;p1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41" name="Google Shape;18241;p1590"/>
            <p:cNvGrpSpPr/>
            <p:nvPr/>
          </p:nvGrpSpPr>
          <p:grpSpPr>
            <a:xfrm>
              <a:off x="7191545" y="0"/>
              <a:ext cx="5000460" cy="1425988"/>
              <a:chOff x="7191545" y="0"/>
              <a:chExt cx="5000460" cy="1425988"/>
            </a:xfrm>
          </p:grpSpPr>
          <p:sp>
            <p:nvSpPr>
              <p:cNvPr id="18242" name="Google Shape;18242;p1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43" name="Google Shape;18243;p1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244" name="Google Shape;18244;p1590"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149258120"/>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matchingName="1_Two Content 12">
  <p:cSld name="2_Two Content 12">
    <p:spTree>
      <p:nvGrpSpPr>
        <p:cNvPr id="1" name="Shape 18245"/>
        <p:cNvGrpSpPr/>
        <p:nvPr/>
      </p:nvGrpSpPr>
      <p:grpSpPr>
        <a:xfrm>
          <a:off x="0" y="0"/>
          <a:ext cx="0" cy="0"/>
          <a:chOff x="0" y="0"/>
          <a:chExt cx="0" cy="0"/>
        </a:xfrm>
      </p:grpSpPr>
      <p:sp>
        <p:nvSpPr>
          <p:cNvPr id="18246" name="Google Shape;18246;p1591"/>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47" name="Google Shape;18247;p1591"/>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8248" name="Google Shape;18248;p1591"/>
          <p:cNvGrpSpPr/>
          <p:nvPr/>
        </p:nvGrpSpPr>
        <p:grpSpPr>
          <a:xfrm>
            <a:off x="7191545" y="0"/>
            <a:ext cx="5000460" cy="1425988"/>
            <a:chOff x="7191545" y="0"/>
            <a:chExt cx="5000460" cy="1425988"/>
          </a:xfrm>
        </p:grpSpPr>
        <p:pic>
          <p:nvPicPr>
            <p:cNvPr id="18249" name="Google Shape;18249;p1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50" name="Google Shape;18250;p1591"/>
            <p:cNvGrpSpPr/>
            <p:nvPr/>
          </p:nvGrpSpPr>
          <p:grpSpPr>
            <a:xfrm>
              <a:off x="7191545" y="0"/>
              <a:ext cx="5000460" cy="1425988"/>
              <a:chOff x="7191545" y="0"/>
              <a:chExt cx="5000460" cy="1425988"/>
            </a:xfrm>
          </p:grpSpPr>
          <p:sp>
            <p:nvSpPr>
              <p:cNvPr id="18251" name="Google Shape;18251;p1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52" name="Google Shape;18252;p1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53" name="Google Shape;18253;p1591"/>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54" name="Google Shape;18254;p1591"/>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55" name="Google Shape;18255;p1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56" name="Google Shape;18256;p159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62467780"/>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matchingName="1_Comparison 11">
  <p:cSld name="2_Comparison 11">
    <p:spTree>
      <p:nvGrpSpPr>
        <p:cNvPr id="1" name="Shape 18257"/>
        <p:cNvGrpSpPr/>
        <p:nvPr/>
      </p:nvGrpSpPr>
      <p:grpSpPr>
        <a:xfrm>
          <a:off x="0" y="0"/>
          <a:ext cx="0" cy="0"/>
          <a:chOff x="0" y="0"/>
          <a:chExt cx="0" cy="0"/>
        </a:xfrm>
      </p:grpSpPr>
      <p:grpSp>
        <p:nvGrpSpPr>
          <p:cNvPr id="18258" name="Google Shape;18258;p1592"/>
          <p:cNvGrpSpPr/>
          <p:nvPr/>
        </p:nvGrpSpPr>
        <p:grpSpPr>
          <a:xfrm>
            <a:off x="7191545" y="0"/>
            <a:ext cx="5000460" cy="1425988"/>
            <a:chOff x="7191545" y="0"/>
            <a:chExt cx="5000460" cy="1425988"/>
          </a:xfrm>
        </p:grpSpPr>
        <p:pic>
          <p:nvPicPr>
            <p:cNvPr id="18259" name="Google Shape;18259;p1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60" name="Google Shape;18260;p1592"/>
            <p:cNvGrpSpPr/>
            <p:nvPr/>
          </p:nvGrpSpPr>
          <p:grpSpPr>
            <a:xfrm>
              <a:off x="7191545" y="0"/>
              <a:ext cx="5000460" cy="1425988"/>
              <a:chOff x="7191545" y="0"/>
              <a:chExt cx="5000460" cy="1425988"/>
            </a:xfrm>
          </p:grpSpPr>
          <p:sp>
            <p:nvSpPr>
              <p:cNvPr id="18261" name="Google Shape;18261;p1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62" name="Google Shape;18262;p1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63" name="Google Shape;18263;p159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64" name="Google Shape;18264;p159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65" name="Google Shape;18265;p1592"/>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66" name="Google Shape;18266;p1592"/>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67" name="Google Shape;18267;p1592"/>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68" name="Google Shape;18268;p159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69" name="Google Shape;18269;p1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70" name="Google Shape;18270;p159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50761066"/>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matchingName="1_End 12">
  <p:cSld name="2_End 12">
    <p:spTree>
      <p:nvGrpSpPr>
        <p:cNvPr id="1" name="Shape 18281"/>
        <p:cNvGrpSpPr/>
        <p:nvPr/>
      </p:nvGrpSpPr>
      <p:grpSpPr>
        <a:xfrm>
          <a:off x="0" y="0"/>
          <a:ext cx="0" cy="0"/>
          <a:chOff x="0" y="0"/>
          <a:chExt cx="0" cy="0"/>
        </a:xfrm>
      </p:grpSpPr>
      <p:grpSp>
        <p:nvGrpSpPr>
          <p:cNvPr id="18282" name="Google Shape;18282;p1594"/>
          <p:cNvGrpSpPr/>
          <p:nvPr/>
        </p:nvGrpSpPr>
        <p:grpSpPr>
          <a:xfrm>
            <a:off x="0" y="0"/>
            <a:ext cx="12191996" cy="2148830"/>
            <a:chOff x="0" y="0"/>
            <a:chExt cx="12191996" cy="2148830"/>
          </a:xfrm>
        </p:grpSpPr>
        <p:sp>
          <p:nvSpPr>
            <p:cNvPr id="18283" name="Google Shape;18283;p159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84" name="Google Shape;18284;p159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85" name="Google Shape;18285;p1594"/>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86" name="Google Shape;18286;p1594"/>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287" name="Google Shape;18287;p159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88" name="Google Shape;18288;p159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392138586"/>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matchingName="7_Quotation 2">
  <p:cSld name="8_Quotation 2">
    <p:spTree>
      <p:nvGrpSpPr>
        <p:cNvPr id="1" name="Shape 18298"/>
        <p:cNvGrpSpPr/>
        <p:nvPr/>
      </p:nvGrpSpPr>
      <p:grpSpPr>
        <a:xfrm>
          <a:off x="0" y="0"/>
          <a:ext cx="0" cy="0"/>
          <a:chOff x="0" y="0"/>
          <a:chExt cx="0" cy="0"/>
        </a:xfrm>
      </p:grpSpPr>
      <p:sp>
        <p:nvSpPr>
          <p:cNvPr id="18299" name="Google Shape;18299;p159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00" name="Google Shape;18300;p159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01" name="Google Shape;18301;p1596"/>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02" name="Google Shape;18302;p1596"/>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03" name="Google Shape;18303;p159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04" name="Google Shape;18304;p1596"/>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05" name="Google Shape;18305;p1596"/>
          <p:cNvGrpSpPr/>
          <p:nvPr/>
        </p:nvGrpSpPr>
        <p:grpSpPr>
          <a:xfrm>
            <a:off x="7191545" y="0"/>
            <a:ext cx="5000460" cy="1425988"/>
            <a:chOff x="7191545" y="0"/>
            <a:chExt cx="5000460" cy="1425988"/>
          </a:xfrm>
        </p:grpSpPr>
        <p:pic>
          <p:nvPicPr>
            <p:cNvPr id="18306" name="Google Shape;18306;p159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07" name="Google Shape;18307;p1596"/>
            <p:cNvGrpSpPr/>
            <p:nvPr/>
          </p:nvGrpSpPr>
          <p:grpSpPr>
            <a:xfrm>
              <a:off x="7191545" y="0"/>
              <a:ext cx="5000460" cy="1425988"/>
              <a:chOff x="7191545" y="0"/>
              <a:chExt cx="5000460" cy="1425988"/>
            </a:xfrm>
          </p:grpSpPr>
          <p:sp>
            <p:nvSpPr>
              <p:cNvPr id="18308" name="Google Shape;18308;p159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09" name="Google Shape;18309;p159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10" name="Google Shape;18310;p1596"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185898990"/>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matchingName="1_Photo Slide 14">
  <p:cSld name="2_Photo Slide 14">
    <p:spTree>
      <p:nvGrpSpPr>
        <p:cNvPr id="1" name="Shape 18327"/>
        <p:cNvGrpSpPr/>
        <p:nvPr/>
      </p:nvGrpSpPr>
      <p:grpSpPr>
        <a:xfrm>
          <a:off x="0" y="0"/>
          <a:ext cx="0" cy="0"/>
          <a:chOff x="0" y="0"/>
          <a:chExt cx="0" cy="0"/>
        </a:xfrm>
      </p:grpSpPr>
      <p:sp>
        <p:nvSpPr>
          <p:cNvPr id="18328" name="Google Shape;18328;p159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8329" name="Google Shape;18329;p1599"/>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330" name="Google Shape;18330;p1599"/>
          <p:cNvGrpSpPr/>
          <p:nvPr/>
        </p:nvGrpSpPr>
        <p:grpSpPr>
          <a:xfrm>
            <a:off x="3" y="5379427"/>
            <a:ext cx="2807363" cy="753895"/>
            <a:chOff x="0" y="5379424"/>
            <a:chExt cx="2807363" cy="753895"/>
          </a:xfrm>
        </p:grpSpPr>
        <p:sp>
          <p:nvSpPr>
            <p:cNvPr id="18331" name="Google Shape;18331;p159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2" name="Google Shape;18332;p159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333" name="Google Shape;18333;p1599"/>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10383575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matchingName="1_Quotation 19">
  <p:cSld name="2_Quotation 19">
    <p:spTree>
      <p:nvGrpSpPr>
        <p:cNvPr id="1" name="Shape 18334"/>
        <p:cNvGrpSpPr/>
        <p:nvPr/>
      </p:nvGrpSpPr>
      <p:grpSpPr>
        <a:xfrm>
          <a:off x="0" y="0"/>
          <a:ext cx="0" cy="0"/>
          <a:chOff x="0" y="0"/>
          <a:chExt cx="0" cy="0"/>
        </a:xfrm>
      </p:grpSpPr>
      <p:sp>
        <p:nvSpPr>
          <p:cNvPr id="18335" name="Google Shape;18335;p16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6" name="Google Shape;18336;p16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37" name="Google Shape;18337;p1600"/>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38" name="Google Shape;18338;p160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39" name="Google Shape;18339;p16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40" name="Google Shape;18340;p160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41" name="Google Shape;18341;p1600"/>
          <p:cNvGrpSpPr/>
          <p:nvPr/>
        </p:nvGrpSpPr>
        <p:grpSpPr>
          <a:xfrm>
            <a:off x="7191545" y="0"/>
            <a:ext cx="5000460" cy="1425988"/>
            <a:chOff x="7191545" y="0"/>
            <a:chExt cx="5000460" cy="1425988"/>
          </a:xfrm>
        </p:grpSpPr>
        <p:pic>
          <p:nvPicPr>
            <p:cNvPr id="18342" name="Google Shape;18342;p16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43" name="Google Shape;18343;p1600"/>
            <p:cNvGrpSpPr/>
            <p:nvPr/>
          </p:nvGrpSpPr>
          <p:grpSpPr>
            <a:xfrm>
              <a:off x="7191545" y="0"/>
              <a:ext cx="5000460" cy="1425988"/>
              <a:chOff x="7191545" y="0"/>
              <a:chExt cx="5000460" cy="1425988"/>
            </a:xfrm>
          </p:grpSpPr>
          <p:sp>
            <p:nvSpPr>
              <p:cNvPr id="18344" name="Google Shape;18344;p16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45" name="Google Shape;18345;p16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46" name="Google Shape;18346;p1600"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063207564"/>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matchingName="1_Quotation 20">
  <p:cSld name="2_Quotation 20">
    <p:spTree>
      <p:nvGrpSpPr>
        <p:cNvPr id="1" name="Shape 18347"/>
        <p:cNvGrpSpPr/>
        <p:nvPr/>
      </p:nvGrpSpPr>
      <p:grpSpPr>
        <a:xfrm>
          <a:off x="0" y="0"/>
          <a:ext cx="0" cy="0"/>
          <a:chOff x="0" y="0"/>
          <a:chExt cx="0" cy="0"/>
        </a:xfrm>
      </p:grpSpPr>
      <p:sp>
        <p:nvSpPr>
          <p:cNvPr id="18348" name="Google Shape;18348;p160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49" name="Google Shape;18349;p16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50" name="Google Shape;18350;p1601"/>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51" name="Google Shape;18351;p1601"/>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52" name="Google Shape;18352;p16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53" name="Google Shape;18353;p1601"/>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54" name="Google Shape;18354;p1601"/>
          <p:cNvGrpSpPr/>
          <p:nvPr/>
        </p:nvGrpSpPr>
        <p:grpSpPr>
          <a:xfrm>
            <a:off x="7191545" y="0"/>
            <a:ext cx="5000460" cy="1425988"/>
            <a:chOff x="7191545" y="0"/>
            <a:chExt cx="5000460" cy="1425988"/>
          </a:xfrm>
        </p:grpSpPr>
        <p:pic>
          <p:nvPicPr>
            <p:cNvPr id="18355" name="Google Shape;18355;p16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56" name="Google Shape;18356;p1601"/>
            <p:cNvGrpSpPr/>
            <p:nvPr/>
          </p:nvGrpSpPr>
          <p:grpSpPr>
            <a:xfrm>
              <a:off x="7191545" y="0"/>
              <a:ext cx="5000460" cy="1425988"/>
              <a:chOff x="7191545" y="0"/>
              <a:chExt cx="5000460" cy="1425988"/>
            </a:xfrm>
          </p:grpSpPr>
          <p:sp>
            <p:nvSpPr>
              <p:cNvPr id="18357" name="Google Shape;18357;p16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58" name="Google Shape;18358;p16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59" name="Google Shape;18359;p1601"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4172817810"/>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matchingName="1_Title and Content 15">
  <p:cSld name="2_Title and Content 15">
    <p:spTree>
      <p:nvGrpSpPr>
        <p:cNvPr id="1" name="Shape 18360"/>
        <p:cNvGrpSpPr/>
        <p:nvPr/>
      </p:nvGrpSpPr>
      <p:grpSpPr>
        <a:xfrm>
          <a:off x="0" y="0"/>
          <a:ext cx="0" cy="0"/>
          <a:chOff x="0" y="0"/>
          <a:chExt cx="0" cy="0"/>
        </a:xfrm>
      </p:grpSpPr>
      <p:grpSp>
        <p:nvGrpSpPr>
          <p:cNvPr id="18361" name="Google Shape;18361;p1602"/>
          <p:cNvGrpSpPr/>
          <p:nvPr/>
        </p:nvGrpSpPr>
        <p:grpSpPr>
          <a:xfrm>
            <a:off x="7191545" y="0"/>
            <a:ext cx="5000460" cy="1425988"/>
            <a:chOff x="7191545" y="0"/>
            <a:chExt cx="5000460" cy="1425988"/>
          </a:xfrm>
        </p:grpSpPr>
        <p:pic>
          <p:nvPicPr>
            <p:cNvPr id="18362" name="Google Shape;18362;p16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63" name="Google Shape;18363;p1602"/>
            <p:cNvGrpSpPr/>
            <p:nvPr/>
          </p:nvGrpSpPr>
          <p:grpSpPr>
            <a:xfrm>
              <a:off x="7191545" y="0"/>
              <a:ext cx="5000460" cy="1425988"/>
              <a:chOff x="7191545" y="0"/>
              <a:chExt cx="5000460" cy="1425988"/>
            </a:xfrm>
          </p:grpSpPr>
          <p:sp>
            <p:nvSpPr>
              <p:cNvPr id="18364" name="Google Shape;18364;p16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65" name="Google Shape;18365;p16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66" name="Google Shape;18366;p160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67" name="Google Shape;18367;p160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68" name="Google Shape;18368;p160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69" name="Google Shape;18369;p16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70" name="Google Shape;18370;p160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84052354"/>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matchingName="1_Two Content 13">
  <p:cSld name="2_Two Content 13">
    <p:spTree>
      <p:nvGrpSpPr>
        <p:cNvPr id="1" name="Shape 18371"/>
        <p:cNvGrpSpPr/>
        <p:nvPr/>
      </p:nvGrpSpPr>
      <p:grpSpPr>
        <a:xfrm>
          <a:off x="0" y="0"/>
          <a:ext cx="0" cy="0"/>
          <a:chOff x="0" y="0"/>
          <a:chExt cx="0" cy="0"/>
        </a:xfrm>
      </p:grpSpPr>
      <p:sp>
        <p:nvSpPr>
          <p:cNvPr id="18372" name="Google Shape;18372;p1603"/>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73" name="Google Shape;18373;p1603"/>
          <p:cNvSpPr txBox="1">
            <a:spLocks noGrp="1"/>
          </p:cNvSpPr>
          <p:nvPr>
            <p:ph type="body" idx="1"/>
          </p:nvPr>
        </p:nvSpPr>
        <p:spPr>
          <a:xfrm>
            <a:off x="609606"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grpSp>
        <p:nvGrpSpPr>
          <p:cNvPr id="18374" name="Google Shape;18374;p1603"/>
          <p:cNvGrpSpPr/>
          <p:nvPr/>
        </p:nvGrpSpPr>
        <p:grpSpPr>
          <a:xfrm>
            <a:off x="7191545" y="0"/>
            <a:ext cx="5000460" cy="1425988"/>
            <a:chOff x="7191545" y="0"/>
            <a:chExt cx="5000460" cy="1425988"/>
          </a:xfrm>
        </p:grpSpPr>
        <p:pic>
          <p:nvPicPr>
            <p:cNvPr id="18375" name="Google Shape;18375;p16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76" name="Google Shape;18376;p1603"/>
            <p:cNvGrpSpPr/>
            <p:nvPr/>
          </p:nvGrpSpPr>
          <p:grpSpPr>
            <a:xfrm>
              <a:off x="7191545" y="0"/>
              <a:ext cx="5000460" cy="1425988"/>
              <a:chOff x="7191545" y="0"/>
              <a:chExt cx="5000460" cy="1425988"/>
            </a:xfrm>
          </p:grpSpPr>
          <p:sp>
            <p:nvSpPr>
              <p:cNvPr id="18377" name="Google Shape;18377;p16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78" name="Google Shape;18378;p16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79" name="Google Shape;18379;p1603"/>
          <p:cNvSpPr txBox="1">
            <a:spLocks noGrp="1"/>
          </p:cNvSpPr>
          <p:nvPr>
            <p:ph type="body" idx="2"/>
          </p:nvPr>
        </p:nvSpPr>
        <p:spPr>
          <a:xfrm>
            <a:off x="6172203" y="1825627"/>
            <a:ext cx="5410203"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80" name="Google Shape;18380;p1603"/>
          <p:cNvSpPr txBox="1">
            <a:spLocks noGrp="1"/>
          </p:cNvSpPr>
          <p:nvPr>
            <p:ph type="sldNum" idx="12"/>
          </p:nvPr>
        </p:nvSpPr>
        <p:spPr>
          <a:xfrm>
            <a:off x="883919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81" name="Google Shape;18381;p16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82" name="Google Shape;18382;p1603"/>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23569907"/>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matchingName="1_Comparison 12">
  <p:cSld name="2_Comparison 12">
    <p:spTree>
      <p:nvGrpSpPr>
        <p:cNvPr id="1" name="Shape 18383"/>
        <p:cNvGrpSpPr/>
        <p:nvPr/>
      </p:nvGrpSpPr>
      <p:grpSpPr>
        <a:xfrm>
          <a:off x="0" y="0"/>
          <a:ext cx="0" cy="0"/>
          <a:chOff x="0" y="0"/>
          <a:chExt cx="0" cy="0"/>
        </a:xfrm>
      </p:grpSpPr>
      <p:grpSp>
        <p:nvGrpSpPr>
          <p:cNvPr id="18384" name="Google Shape;18384;p1604"/>
          <p:cNvGrpSpPr/>
          <p:nvPr/>
        </p:nvGrpSpPr>
        <p:grpSpPr>
          <a:xfrm>
            <a:off x="7191545" y="0"/>
            <a:ext cx="5000460" cy="1425988"/>
            <a:chOff x="7191545" y="0"/>
            <a:chExt cx="5000460" cy="1425988"/>
          </a:xfrm>
        </p:grpSpPr>
        <p:pic>
          <p:nvPicPr>
            <p:cNvPr id="18385" name="Google Shape;18385;p16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86" name="Google Shape;18386;p1604"/>
            <p:cNvGrpSpPr/>
            <p:nvPr/>
          </p:nvGrpSpPr>
          <p:grpSpPr>
            <a:xfrm>
              <a:off x="7191545" y="0"/>
              <a:ext cx="5000460" cy="1425988"/>
              <a:chOff x="7191545" y="0"/>
              <a:chExt cx="5000460" cy="1425988"/>
            </a:xfrm>
          </p:grpSpPr>
          <p:sp>
            <p:nvSpPr>
              <p:cNvPr id="18387" name="Google Shape;18387;p16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88" name="Google Shape;18388;p16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89" name="Google Shape;18389;p1604"/>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90" name="Google Shape;18390;p1604"/>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91" name="Google Shape;18391;p1604"/>
          <p:cNvSpPr txBox="1">
            <a:spLocks noGrp="1"/>
          </p:cNvSpPr>
          <p:nvPr>
            <p:ph type="body" idx="2"/>
          </p:nvPr>
        </p:nvSpPr>
        <p:spPr>
          <a:xfrm>
            <a:off x="609604" y="2505074"/>
            <a:ext cx="5387973" cy="3684583"/>
          </a:xfrm>
          <a:prstGeom prst="rect">
            <a:avLst/>
          </a:prstGeom>
          <a:solidFill>
            <a:srgbClr val="F3F6FB"/>
          </a:solidFill>
          <a:ln>
            <a:noFill/>
          </a:ln>
        </p:spPr>
        <p:txBody>
          <a:bodyPr spcFirstLastPara="1" wrap="square" lIns="182850" tIns="0" rIns="182850" bIns="0" anchor="t" anchorCtr="0">
            <a:norm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92" name="Google Shape;18392;p1604"/>
          <p:cNvSpPr txBox="1">
            <a:spLocks noGrp="1"/>
          </p:cNvSpPr>
          <p:nvPr>
            <p:ph type="body" idx="3"/>
          </p:nvPr>
        </p:nvSpPr>
        <p:spPr>
          <a:xfrm>
            <a:off x="6172203"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31" lvl="0" indent="-152416" algn="l">
              <a:lnSpc>
                <a:spcPct val="100000"/>
              </a:lnSpc>
              <a:spcBef>
                <a:spcPts val="1000"/>
              </a:spcBef>
              <a:spcAft>
                <a:spcPts val="0"/>
              </a:spcAft>
              <a:buSzPts val="2400"/>
              <a:buNone/>
              <a:defRPr u="sng"/>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93" name="Google Shape;18393;p1604"/>
          <p:cNvSpPr txBox="1">
            <a:spLocks noGrp="1"/>
          </p:cNvSpPr>
          <p:nvPr>
            <p:ph type="body" idx="4"/>
          </p:nvPr>
        </p:nvSpPr>
        <p:spPr>
          <a:xfrm>
            <a:off x="6172203" y="2505074"/>
            <a:ext cx="5410203" cy="3684583"/>
          </a:xfrm>
          <a:prstGeom prst="rect">
            <a:avLst/>
          </a:prstGeom>
          <a:solidFill>
            <a:srgbClr val="F3F6FB"/>
          </a:solidFill>
          <a:ln>
            <a:noFill/>
          </a:ln>
        </p:spPr>
        <p:txBody>
          <a:bodyPr spcFirstLastPara="1" wrap="square" lIns="182850" tIns="0" rIns="182850" bIns="0" anchor="t" anchorCtr="0">
            <a:noAutofit/>
          </a:bodyPr>
          <a:lstStyle>
            <a:lvl1pPr marL="304831" lvl="0" indent="-237091" algn="l">
              <a:lnSpc>
                <a:spcPct val="100000"/>
              </a:lnSpc>
              <a:spcBef>
                <a:spcPts val="1000"/>
              </a:spcBef>
              <a:spcAft>
                <a:spcPts val="0"/>
              </a:spcAft>
              <a:buSzPts val="2000"/>
              <a:buChar char="•"/>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394" name="Google Shape;18394;p1604"/>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95" name="Google Shape;18395;p16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96" name="Google Shape;18396;p1604"/>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54248640"/>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matchingName="1_End 13">
  <p:cSld name="2_End 13">
    <p:spTree>
      <p:nvGrpSpPr>
        <p:cNvPr id="1" name="Shape 18407"/>
        <p:cNvGrpSpPr/>
        <p:nvPr/>
      </p:nvGrpSpPr>
      <p:grpSpPr>
        <a:xfrm>
          <a:off x="0" y="0"/>
          <a:ext cx="0" cy="0"/>
          <a:chOff x="0" y="0"/>
          <a:chExt cx="0" cy="0"/>
        </a:xfrm>
      </p:grpSpPr>
      <p:grpSp>
        <p:nvGrpSpPr>
          <p:cNvPr id="18408" name="Google Shape;18408;p1606"/>
          <p:cNvGrpSpPr/>
          <p:nvPr/>
        </p:nvGrpSpPr>
        <p:grpSpPr>
          <a:xfrm>
            <a:off x="0" y="0"/>
            <a:ext cx="12191996" cy="2148830"/>
            <a:chOff x="0" y="0"/>
            <a:chExt cx="12191996" cy="2148830"/>
          </a:xfrm>
        </p:grpSpPr>
        <p:sp>
          <p:nvSpPr>
            <p:cNvPr id="18409" name="Google Shape;18409;p160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10" name="Google Shape;18410;p160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411" name="Google Shape;18411;p1606"/>
          <p:cNvSpPr/>
          <p:nvPr/>
        </p:nvSpPr>
        <p:spPr>
          <a:xfrm>
            <a:off x="902366" y="151769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12" name="Google Shape;18412;p1606"/>
          <p:cNvSpPr txBox="1">
            <a:spLocks noGrp="1"/>
          </p:cNvSpPr>
          <p:nvPr>
            <p:ph type="body" idx="1"/>
          </p:nvPr>
        </p:nvSpPr>
        <p:spPr>
          <a:xfrm>
            <a:off x="1219197" y="3429003"/>
            <a:ext cx="5582649" cy="141356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sz="2000"/>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413" name="Google Shape;18413;p160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414" name="Google Shape;18414;p160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677117923"/>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matchingName="Title Slide 2">
  <p:cSld name="4_Title Slide 2">
    <p:spTree>
      <p:nvGrpSpPr>
        <p:cNvPr id="1" name="Shape 18424"/>
        <p:cNvGrpSpPr/>
        <p:nvPr/>
      </p:nvGrpSpPr>
      <p:grpSpPr>
        <a:xfrm>
          <a:off x="0" y="0"/>
          <a:ext cx="0" cy="0"/>
          <a:chOff x="0" y="0"/>
          <a:chExt cx="0" cy="0"/>
        </a:xfrm>
      </p:grpSpPr>
      <p:sp>
        <p:nvSpPr>
          <p:cNvPr id="18425" name="Google Shape;18425;p1608"/>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26" name="Google Shape;18426;p1608"/>
          <p:cNvSpPr/>
          <p:nvPr/>
        </p:nvSpPr>
        <p:spPr>
          <a:xfrm>
            <a:off x="3" y="5100855"/>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7" name="Google Shape;18427;p1608"/>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8428" name="Google Shape;18428;p1608"/>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9" name="Google Shape;18429;p1608"/>
          <p:cNvPicPr preferRelativeResize="0"/>
          <p:nvPr/>
        </p:nvPicPr>
        <p:blipFill rotWithShape="1">
          <a:blip r:embed="rId3">
            <a:alphaModFix/>
          </a:blip>
          <a:srcRect/>
          <a:stretch/>
        </p:blipFill>
        <p:spPr>
          <a:xfrm>
            <a:off x="313960" y="5564127"/>
            <a:ext cx="2025386" cy="911355"/>
          </a:xfrm>
          <a:prstGeom prst="rect">
            <a:avLst/>
          </a:prstGeom>
          <a:noFill/>
          <a:ln>
            <a:noFill/>
          </a:ln>
        </p:spPr>
      </p:pic>
      <p:sp>
        <p:nvSpPr>
          <p:cNvPr id="18430" name="Google Shape;18430;p1608"/>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31" name="Google Shape;18431;p1608"/>
          <p:cNvSpPr txBox="1">
            <a:spLocks noGrp="1"/>
          </p:cNvSpPr>
          <p:nvPr>
            <p:ph type="title"/>
          </p:nvPr>
        </p:nvSpPr>
        <p:spPr>
          <a:xfrm>
            <a:off x="471696" y="365447"/>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2" name="Google Shape;18432;p1608"/>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433" name="Google Shape;18433;p1608"/>
          <p:cNvSpPr txBox="1">
            <a:spLocks noGrp="1"/>
          </p:cNvSpPr>
          <p:nvPr>
            <p:ph type="ftr" idx="11"/>
          </p:nvPr>
        </p:nvSpPr>
        <p:spPr>
          <a:xfrm>
            <a:off x="609603" y="6356354"/>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4" name="Google Shape;18434;p160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8435" name="Google Shape;18435;p1608"/>
          <p:cNvSpPr txBox="1">
            <a:spLocks noGrp="1"/>
          </p:cNvSpPr>
          <p:nvPr>
            <p:ph type="sldNum" idx="12"/>
          </p:nvPr>
        </p:nvSpPr>
        <p:spPr>
          <a:xfrm>
            <a:off x="8839203" y="6356354"/>
            <a:ext cx="2743200" cy="365129"/>
          </a:xfrm>
          <a:prstGeom prst="rect">
            <a:avLst/>
          </a:prstGeom>
          <a:noFill/>
          <a:ln>
            <a:noFill/>
          </a:ln>
        </p:spPr>
        <p:txBody>
          <a:bodyPr spcFirstLastPara="1" wrap="square" lIns="0" tIns="0" rIns="0" bIns="0" anchor="ctr" anchorCtr="0">
            <a:noAutofit/>
          </a:bodyPr>
          <a:lstStyle>
            <a:lvl1pPr marL="38109"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9"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9"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9"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9"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9"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9"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9"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9"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197662187"/>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matchingName="2_Quotation 3">
  <p:cSld name="6_Quotation 3">
    <p:spTree>
      <p:nvGrpSpPr>
        <p:cNvPr id="1" name="Shape 18436"/>
        <p:cNvGrpSpPr/>
        <p:nvPr/>
      </p:nvGrpSpPr>
      <p:grpSpPr>
        <a:xfrm>
          <a:off x="0" y="0"/>
          <a:ext cx="0" cy="0"/>
          <a:chOff x="0" y="0"/>
          <a:chExt cx="0" cy="0"/>
        </a:xfrm>
      </p:grpSpPr>
      <p:sp>
        <p:nvSpPr>
          <p:cNvPr id="18437" name="Google Shape;18437;p160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38" name="Google Shape;18438;p16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9" name="Google Shape;18439;p1609"/>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440" name="Google Shape;18440;p1609"/>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41" name="Google Shape;18441;p16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42" name="Google Shape;18442;p1609"/>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43" name="Google Shape;18443;p1609"/>
          <p:cNvGrpSpPr/>
          <p:nvPr/>
        </p:nvGrpSpPr>
        <p:grpSpPr>
          <a:xfrm>
            <a:off x="7191545" y="0"/>
            <a:ext cx="5000460" cy="1425988"/>
            <a:chOff x="7191545" y="0"/>
            <a:chExt cx="5000460" cy="1425988"/>
          </a:xfrm>
        </p:grpSpPr>
        <p:pic>
          <p:nvPicPr>
            <p:cNvPr id="18444" name="Google Shape;18444;p16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45" name="Google Shape;18445;p1609"/>
            <p:cNvGrpSpPr/>
            <p:nvPr/>
          </p:nvGrpSpPr>
          <p:grpSpPr>
            <a:xfrm>
              <a:off x="7191545" y="0"/>
              <a:ext cx="5000460" cy="1425988"/>
              <a:chOff x="7191545" y="0"/>
              <a:chExt cx="5000460" cy="1425988"/>
            </a:xfrm>
          </p:grpSpPr>
          <p:sp>
            <p:nvSpPr>
              <p:cNvPr id="18446" name="Google Shape;18446;p16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47" name="Google Shape;18447;p16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48" name="Google Shape;18448;p1609"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36769508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matchingName="5_Quotation 3">
  <p:cSld name="6_Quotation 3">
    <p:spTree>
      <p:nvGrpSpPr>
        <p:cNvPr id="1" name="Shape 18449"/>
        <p:cNvGrpSpPr/>
        <p:nvPr/>
      </p:nvGrpSpPr>
      <p:grpSpPr>
        <a:xfrm>
          <a:off x="0" y="0"/>
          <a:ext cx="0" cy="0"/>
          <a:chOff x="0" y="0"/>
          <a:chExt cx="0" cy="0"/>
        </a:xfrm>
      </p:grpSpPr>
      <p:sp>
        <p:nvSpPr>
          <p:cNvPr id="18450" name="Google Shape;18450;p161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51" name="Google Shape;18451;p16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52" name="Google Shape;18452;p1610"/>
          <p:cNvSpPr txBox="1">
            <a:spLocks noGrp="1"/>
          </p:cNvSpPr>
          <p:nvPr>
            <p:ph type="body" idx="1"/>
          </p:nvPr>
        </p:nvSpPr>
        <p:spPr>
          <a:xfrm>
            <a:off x="1427360" y="5007458"/>
            <a:ext cx="10155042" cy="825191"/>
          </a:xfrm>
          <a:prstGeom prst="rect">
            <a:avLst/>
          </a:prstGeom>
          <a:noFill/>
          <a:ln>
            <a:noFill/>
          </a:ln>
        </p:spPr>
        <p:txBody>
          <a:bodyPr spcFirstLastPara="1" wrap="square" lIns="91400" tIns="45700" rIns="91400"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453" name="Google Shape;18453;p1610"/>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54" name="Google Shape;18454;p16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55" name="Google Shape;18455;p1610"/>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56" name="Google Shape;18456;p1610"/>
          <p:cNvGrpSpPr/>
          <p:nvPr/>
        </p:nvGrpSpPr>
        <p:grpSpPr>
          <a:xfrm>
            <a:off x="7191545" y="0"/>
            <a:ext cx="5000460" cy="1425988"/>
            <a:chOff x="7191545" y="0"/>
            <a:chExt cx="5000460" cy="1425988"/>
          </a:xfrm>
        </p:grpSpPr>
        <p:pic>
          <p:nvPicPr>
            <p:cNvPr id="18457" name="Google Shape;18457;p16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58" name="Google Shape;18458;p1610"/>
            <p:cNvGrpSpPr/>
            <p:nvPr/>
          </p:nvGrpSpPr>
          <p:grpSpPr>
            <a:xfrm>
              <a:off x="7191545" y="0"/>
              <a:ext cx="5000460" cy="1425988"/>
              <a:chOff x="7191545" y="0"/>
              <a:chExt cx="5000460" cy="1425988"/>
            </a:xfrm>
          </p:grpSpPr>
          <p:sp>
            <p:nvSpPr>
              <p:cNvPr id="18459" name="Google Shape;18459;p16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60" name="Google Shape;18460;p16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61" name="Google Shape;18461;p1610" descr="Open quotation mark with solid fill"/>
          <p:cNvPicPr preferRelativeResize="0"/>
          <p:nvPr/>
        </p:nvPicPr>
        <p:blipFill rotWithShape="1">
          <a:blip r:embed="rId3">
            <a:alphaModFix/>
          </a:blip>
          <a:srcRect/>
          <a:stretch/>
        </p:blipFill>
        <p:spPr>
          <a:xfrm>
            <a:off x="111514" y="136530"/>
            <a:ext cx="2036761" cy="2036761"/>
          </a:xfrm>
          <a:prstGeom prst="rect">
            <a:avLst/>
          </a:prstGeom>
          <a:noFill/>
          <a:ln>
            <a:noFill/>
          </a:ln>
        </p:spPr>
      </p:pic>
    </p:spTree>
    <p:extLst>
      <p:ext uri="{BB962C8B-B14F-4D97-AF65-F5344CB8AC3E}">
        <p14:creationId xmlns:p14="http://schemas.microsoft.com/office/powerpoint/2010/main" val="2547323146"/>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matchingName="2_Title and Content">
  <p:cSld name="3_Title and Content">
    <p:spTree>
      <p:nvGrpSpPr>
        <p:cNvPr id="1" name="Shape 18480"/>
        <p:cNvGrpSpPr/>
        <p:nvPr/>
      </p:nvGrpSpPr>
      <p:grpSpPr>
        <a:xfrm>
          <a:off x="0" y="0"/>
          <a:ext cx="0" cy="0"/>
          <a:chOff x="0" y="0"/>
          <a:chExt cx="0" cy="0"/>
        </a:xfrm>
      </p:grpSpPr>
      <p:grpSp>
        <p:nvGrpSpPr>
          <p:cNvPr id="18481" name="Google Shape;18481;p1612"/>
          <p:cNvGrpSpPr/>
          <p:nvPr/>
        </p:nvGrpSpPr>
        <p:grpSpPr>
          <a:xfrm>
            <a:off x="7191545" y="0"/>
            <a:ext cx="5000460" cy="1425988"/>
            <a:chOff x="7191545" y="0"/>
            <a:chExt cx="5000460" cy="1425988"/>
          </a:xfrm>
        </p:grpSpPr>
        <p:pic>
          <p:nvPicPr>
            <p:cNvPr id="18482" name="Google Shape;18482;p1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83" name="Google Shape;18483;p1612"/>
            <p:cNvGrpSpPr/>
            <p:nvPr/>
          </p:nvGrpSpPr>
          <p:grpSpPr>
            <a:xfrm>
              <a:off x="7191545" y="0"/>
              <a:ext cx="5000460" cy="1425988"/>
              <a:chOff x="7191545" y="0"/>
              <a:chExt cx="5000460" cy="1425988"/>
            </a:xfrm>
          </p:grpSpPr>
          <p:sp>
            <p:nvSpPr>
              <p:cNvPr id="18484" name="Google Shape;18484;p1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85" name="Google Shape;18485;p1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486" name="Google Shape;18486;p1612"/>
          <p:cNvSpPr txBox="1">
            <a:spLocks noGrp="1"/>
          </p:cNvSpPr>
          <p:nvPr>
            <p:ph type="title"/>
          </p:nvPr>
        </p:nvSpPr>
        <p:spPr>
          <a:xfrm>
            <a:off x="609603" y="365132"/>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87" name="Google Shape;18487;p161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31" lvl="0" indent="-228623" algn="l">
              <a:lnSpc>
                <a:spcPct val="100000"/>
              </a:lnSpc>
              <a:spcBef>
                <a:spcPts val="1000"/>
              </a:spcBef>
              <a:spcAft>
                <a:spcPts val="0"/>
              </a:spcAft>
              <a:buSzPts val="1800"/>
              <a:buChar char="•"/>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sp>
        <p:nvSpPr>
          <p:cNvPr id="18488" name="Google Shape;18488;p1612"/>
          <p:cNvSpPr txBox="1">
            <a:spLocks noGrp="1"/>
          </p:cNvSpPr>
          <p:nvPr>
            <p:ph type="sldNum" idx="12"/>
          </p:nvPr>
        </p:nvSpPr>
        <p:spPr>
          <a:xfrm>
            <a:off x="8839203" y="6356354"/>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89" name="Google Shape;18489;p1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90" name="Google Shape;18490;p1612"/>
          <p:cNvSpPr txBox="1">
            <a:spLocks noGrp="1"/>
          </p:cNvSpPr>
          <p:nvPr>
            <p:ph type="ftr" idx="11"/>
          </p:nvPr>
        </p:nvSpPr>
        <p:spPr>
          <a:xfrm>
            <a:off x="609603" y="6356354"/>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177630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matchingName="24_Photo Slide">
  <p:cSld name="25_Photo Slide">
    <p:spTree>
      <p:nvGrpSpPr>
        <p:cNvPr id="1" name="Shape 18491"/>
        <p:cNvGrpSpPr/>
        <p:nvPr/>
      </p:nvGrpSpPr>
      <p:grpSpPr>
        <a:xfrm>
          <a:off x="0" y="0"/>
          <a:ext cx="0" cy="0"/>
          <a:chOff x="0" y="0"/>
          <a:chExt cx="0" cy="0"/>
        </a:xfrm>
      </p:grpSpPr>
      <p:sp>
        <p:nvSpPr>
          <p:cNvPr id="18492" name="Google Shape;18492;p1613"/>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304831" lvl="0" indent="-152416" algn="l">
              <a:lnSpc>
                <a:spcPct val="100000"/>
              </a:lnSpc>
              <a:spcBef>
                <a:spcPts val="1000"/>
              </a:spcBef>
              <a:spcAft>
                <a:spcPts val="0"/>
              </a:spcAft>
              <a:buSzPts val="2400"/>
              <a:buNone/>
              <a:defRPr/>
            </a:lvl1pPr>
            <a:lvl2pPr marL="609660" lvl="1" indent="-228623" algn="l">
              <a:lnSpc>
                <a:spcPct val="90000"/>
              </a:lnSpc>
              <a:spcBef>
                <a:spcPts val="500"/>
              </a:spcBef>
              <a:spcAft>
                <a:spcPts val="0"/>
              </a:spcAft>
              <a:buClr>
                <a:srgbClr val="000000"/>
              </a:buClr>
              <a:buSzPts val="1800"/>
              <a:buChar char="•"/>
              <a:defRPr/>
            </a:lvl2pPr>
            <a:lvl3pPr marL="914492" lvl="2" indent="-228623" algn="l">
              <a:lnSpc>
                <a:spcPct val="90000"/>
              </a:lnSpc>
              <a:spcBef>
                <a:spcPts val="500"/>
              </a:spcBef>
              <a:spcAft>
                <a:spcPts val="0"/>
              </a:spcAft>
              <a:buClr>
                <a:srgbClr val="000000"/>
              </a:buClr>
              <a:buSzPts val="1800"/>
              <a:buChar char="•"/>
              <a:defRPr/>
            </a:lvl3pPr>
            <a:lvl4pPr marL="1219322" lvl="3" indent="-228623" algn="l">
              <a:lnSpc>
                <a:spcPct val="90000"/>
              </a:lnSpc>
              <a:spcBef>
                <a:spcPts val="500"/>
              </a:spcBef>
              <a:spcAft>
                <a:spcPts val="0"/>
              </a:spcAft>
              <a:buClr>
                <a:srgbClr val="000000"/>
              </a:buClr>
              <a:buSzPts val="1800"/>
              <a:buChar char="•"/>
              <a:defRPr/>
            </a:lvl4pPr>
            <a:lvl5pPr marL="1524152" lvl="4" indent="-228623" algn="l">
              <a:lnSpc>
                <a:spcPct val="90000"/>
              </a:lnSpc>
              <a:spcBef>
                <a:spcPts val="500"/>
              </a:spcBef>
              <a:spcAft>
                <a:spcPts val="0"/>
              </a:spcAft>
              <a:buClr>
                <a:srgbClr val="000000"/>
              </a:buClr>
              <a:buSzPts val="1800"/>
              <a:buChar char="•"/>
              <a:defRPr/>
            </a:lvl5pPr>
            <a:lvl6pPr marL="1828983" lvl="5" indent="-228623" algn="l">
              <a:lnSpc>
                <a:spcPct val="90000"/>
              </a:lnSpc>
              <a:spcBef>
                <a:spcPts val="500"/>
              </a:spcBef>
              <a:spcAft>
                <a:spcPts val="0"/>
              </a:spcAft>
              <a:buClr>
                <a:schemeClr val="dk1"/>
              </a:buClr>
              <a:buSzPts val="1800"/>
              <a:buChar char="•"/>
              <a:defRPr/>
            </a:lvl6pPr>
            <a:lvl7pPr marL="2133814" lvl="6" indent="-228623" algn="l">
              <a:lnSpc>
                <a:spcPct val="90000"/>
              </a:lnSpc>
              <a:spcBef>
                <a:spcPts val="500"/>
              </a:spcBef>
              <a:spcAft>
                <a:spcPts val="0"/>
              </a:spcAft>
              <a:buClr>
                <a:schemeClr val="dk1"/>
              </a:buClr>
              <a:buSzPts val="1800"/>
              <a:buChar char="•"/>
              <a:defRPr/>
            </a:lvl7pPr>
            <a:lvl8pPr marL="2438644" lvl="7" indent="-228623" algn="l">
              <a:lnSpc>
                <a:spcPct val="90000"/>
              </a:lnSpc>
              <a:spcBef>
                <a:spcPts val="500"/>
              </a:spcBef>
              <a:spcAft>
                <a:spcPts val="0"/>
              </a:spcAft>
              <a:buClr>
                <a:schemeClr val="dk1"/>
              </a:buClr>
              <a:buSzPts val="1800"/>
              <a:buChar char="•"/>
              <a:defRPr/>
            </a:lvl8pPr>
            <a:lvl9pPr marL="2743475" lvl="8" indent="-228623" algn="l">
              <a:lnSpc>
                <a:spcPct val="90000"/>
              </a:lnSpc>
              <a:spcBef>
                <a:spcPts val="500"/>
              </a:spcBef>
              <a:spcAft>
                <a:spcPts val="0"/>
              </a:spcAft>
              <a:buClr>
                <a:schemeClr val="dk1"/>
              </a:buClr>
              <a:buSzPts val="1800"/>
              <a:buChar char="•"/>
              <a:defRPr/>
            </a:lvl9pPr>
          </a:lstStyle>
          <a:p>
            <a:endParaRPr/>
          </a:p>
        </p:txBody>
      </p:sp>
      <p:cxnSp>
        <p:nvCxnSpPr>
          <p:cNvPr id="18493" name="Google Shape;18493;p1613"/>
          <p:cNvCxnSpPr/>
          <p:nvPr/>
        </p:nvCxnSpPr>
        <p:spPr>
          <a:xfrm>
            <a:off x="457203"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494" name="Google Shape;18494;p1613"/>
          <p:cNvGrpSpPr/>
          <p:nvPr/>
        </p:nvGrpSpPr>
        <p:grpSpPr>
          <a:xfrm>
            <a:off x="3" y="5379427"/>
            <a:ext cx="2807363" cy="753895"/>
            <a:chOff x="0" y="5379424"/>
            <a:chExt cx="2807363" cy="753895"/>
          </a:xfrm>
        </p:grpSpPr>
        <p:sp>
          <p:nvSpPr>
            <p:cNvPr id="18495" name="Google Shape;18495;p161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sp>
          <p:nvSpPr>
            <p:cNvPr id="18496" name="Google Shape;18496;p161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grpSp>
      <p:sp>
        <p:nvSpPr>
          <p:cNvPr id="18497" name="Google Shape;18497;p1613"/>
          <p:cNvSpPr>
            <a:spLocks noGrp="1"/>
          </p:cNvSpPr>
          <p:nvPr>
            <p:ph type="pic" idx="2"/>
          </p:nvPr>
        </p:nvSpPr>
        <p:spPr>
          <a:xfrm>
            <a:off x="2807363" y="457200"/>
            <a:ext cx="8915400" cy="5943600"/>
          </a:xfrm>
          <a:prstGeom prst="rect">
            <a:avLst/>
          </a:prstGeom>
          <a:noFill/>
          <a:ln>
            <a:noFill/>
          </a:ln>
        </p:spPr>
      </p:sp>
      <p:pic>
        <p:nvPicPr>
          <p:cNvPr id="18498" name="Google Shape;18498;p1613"/>
          <p:cNvPicPr preferRelativeResize="0"/>
          <p:nvPr/>
        </p:nvPicPr>
        <p:blipFill rotWithShape="1">
          <a:blip r:embed="rId2">
            <a:alphaModFix/>
          </a:blip>
          <a:srcRect/>
          <a:stretch/>
        </p:blipFill>
        <p:spPr>
          <a:xfrm>
            <a:off x="513347" y="4385535"/>
            <a:ext cx="2025313" cy="911940"/>
          </a:xfrm>
          <a:prstGeom prst="rect">
            <a:avLst/>
          </a:prstGeom>
          <a:noFill/>
          <a:ln>
            <a:noFill/>
          </a:ln>
        </p:spPr>
      </p:pic>
    </p:spTree>
    <p:extLst>
      <p:ext uri="{BB962C8B-B14F-4D97-AF65-F5344CB8AC3E}">
        <p14:creationId xmlns:p14="http://schemas.microsoft.com/office/powerpoint/2010/main" val="760042695"/>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matchingName="1_Title and Content 5">
  <p:cSld name="4_Title and Content 5">
    <p:spTree>
      <p:nvGrpSpPr>
        <p:cNvPr id="1" name="Shape 15668"/>
        <p:cNvGrpSpPr/>
        <p:nvPr/>
      </p:nvGrpSpPr>
      <p:grpSpPr>
        <a:xfrm>
          <a:off x="0" y="0"/>
          <a:ext cx="0" cy="0"/>
          <a:chOff x="0" y="0"/>
          <a:chExt cx="0" cy="0"/>
        </a:xfrm>
      </p:grpSpPr>
      <p:grpSp>
        <p:nvGrpSpPr>
          <p:cNvPr id="15669" name="Google Shape;15669;p106"/>
          <p:cNvGrpSpPr/>
          <p:nvPr/>
        </p:nvGrpSpPr>
        <p:grpSpPr>
          <a:xfrm>
            <a:off x="7191545" y="0"/>
            <a:ext cx="5000460" cy="1425988"/>
            <a:chOff x="7191545" y="0"/>
            <a:chExt cx="5000460" cy="1425988"/>
          </a:xfrm>
        </p:grpSpPr>
        <p:pic>
          <p:nvPicPr>
            <p:cNvPr id="15670" name="Google Shape;15670;p10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671" name="Google Shape;15671;p106"/>
            <p:cNvGrpSpPr/>
            <p:nvPr/>
          </p:nvGrpSpPr>
          <p:grpSpPr>
            <a:xfrm>
              <a:off x="7191545" y="0"/>
              <a:ext cx="5000460" cy="1425988"/>
              <a:chOff x="7191545" y="0"/>
              <a:chExt cx="5000460" cy="1425988"/>
            </a:xfrm>
          </p:grpSpPr>
          <p:sp>
            <p:nvSpPr>
              <p:cNvPr id="15672" name="Google Shape;15672;p10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673" name="Google Shape;15673;p10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674" name="Google Shape;15674;p106"/>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75" name="Google Shape;15675;p10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676" name="Google Shape;15676;p10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677" name="Google Shape;15677;p10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678" name="Google Shape;15678;p10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0200073"/>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matchingName="1_Photo Slide">
  <p:cSld name="2_Photo Slide">
    <p:spTree>
      <p:nvGrpSpPr>
        <p:cNvPr id="1" name="Shape 15706"/>
        <p:cNvGrpSpPr/>
        <p:nvPr/>
      </p:nvGrpSpPr>
      <p:grpSpPr>
        <a:xfrm>
          <a:off x="0" y="0"/>
          <a:ext cx="0" cy="0"/>
          <a:chOff x="0" y="0"/>
          <a:chExt cx="0" cy="0"/>
        </a:xfrm>
      </p:grpSpPr>
      <p:sp>
        <p:nvSpPr>
          <p:cNvPr id="15707" name="Google Shape;15707;p1334"/>
          <p:cNvSpPr txBox="1">
            <a:spLocks noGrp="1"/>
          </p:cNvSpPr>
          <p:nvPr>
            <p:ph type="body" idx="1"/>
          </p:nvPr>
        </p:nvSpPr>
        <p:spPr>
          <a:xfrm>
            <a:off x="457203" y="1146258"/>
            <a:ext cx="2350169" cy="2971798"/>
          </a:xfrm>
          <a:prstGeom prst="rect">
            <a:avLst/>
          </a:prstGeom>
          <a:noFill/>
          <a:ln>
            <a:noFill/>
          </a:ln>
        </p:spPr>
        <p:txBody>
          <a:bodyPr spcFirstLastPara="1" wrap="square" lIns="91425" tIns="45700" rIns="91425" bIns="45700" anchor="t" anchorCtr="0">
            <a:noAutofit/>
          </a:bodyPr>
          <a:lstStyle>
            <a:lvl1pPr marL="304847" lvl="0" indent="-152424" algn="l">
              <a:lnSpc>
                <a:spcPct val="100000"/>
              </a:lnSpc>
              <a:spcBef>
                <a:spcPts val="1000"/>
              </a:spcBef>
              <a:spcAft>
                <a:spcPts val="0"/>
              </a:spcAft>
              <a:buSzPts val="2400"/>
              <a:buNone/>
              <a:defRPr b="0">
                <a:solidFill>
                  <a:schemeClr val="dk1"/>
                </a:solidFill>
              </a:defRPr>
            </a:lvl1pPr>
            <a:lvl2pPr marL="609690" lvl="1" indent="-304847" algn="l">
              <a:lnSpc>
                <a:spcPct val="90000"/>
              </a:lnSpc>
              <a:spcBef>
                <a:spcPts val="500"/>
              </a:spcBef>
              <a:spcAft>
                <a:spcPts val="0"/>
              </a:spcAft>
              <a:buSzPts val="3600"/>
              <a:buChar char="•"/>
              <a:defRPr/>
            </a:lvl2pPr>
            <a:lvl3pPr marL="914538" lvl="2" indent="-279442" algn="l">
              <a:lnSpc>
                <a:spcPct val="90000"/>
              </a:lnSpc>
              <a:spcBef>
                <a:spcPts val="500"/>
              </a:spcBef>
              <a:spcAft>
                <a:spcPts val="0"/>
              </a:spcAft>
              <a:buSzPts val="3000"/>
              <a:buChar char="•"/>
              <a:defRPr/>
            </a:lvl3pPr>
            <a:lvl4pPr marL="1219383" lvl="3" indent="-266741" algn="l">
              <a:lnSpc>
                <a:spcPct val="90000"/>
              </a:lnSpc>
              <a:spcBef>
                <a:spcPts val="500"/>
              </a:spcBef>
              <a:spcAft>
                <a:spcPts val="0"/>
              </a:spcAft>
              <a:buSzPts val="2700"/>
              <a:buChar char="•"/>
              <a:defRPr/>
            </a:lvl4pPr>
            <a:lvl5pPr marL="1524228" lvl="4" indent="-266741" algn="l">
              <a:lnSpc>
                <a:spcPct val="90000"/>
              </a:lnSpc>
              <a:spcBef>
                <a:spcPts val="500"/>
              </a:spcBef>
              <a:spcAft>
                <a:spcPts val="0"/>
              </a:spcAft>
              <a:buSzPts val="2700"/>
              <a:buChar char="•"/>
              <a:defRPr/>
            </a:lvl5pPr>
            <a:lvl6pPr marL="1829075" lvl="5" indent="-266741" algn="l">
              <a:lnSpc>
                <a:spcPct val="90000"/>
              </a:lnSpc>
              <a:spcBef>
                <a:spcPts val="500"/>
              </a:spcBef>
              <a:spcAft>
                <a:spcPts val="0"/>
              </a:spcAft>
              <a:buSzPts val="2700"/>
              <a:buChar char="•"/>
              <a:defRPr/>
            </a:lvl6pPr>
            <a:lvl7pPr marL="2133921" lvl="6" indent="-266741" algn="l">
              <a:lnSpc>
                <a:spcPct val="90000"/>
              </a:lnSpc>
              <a:spcBef>
                <a:spcPts val="500"/>
              </a:spcBef>
              <a:spcAft>
                <a:spcPts val="0"/>
              </a:spcAft>
              <a:buSzPts val="2700"/>
              <a:buChar char="•"/>
              <a:defRPr/>
            </a:lvl7pPr>
            <a:lvl8pPr marL="2438766" lvl="7" indent="-266741" algn="l">
              <a:lnSpc>
                <a:spcPct val="90000"/>
              </a:lnSpc>
              <a:spcBef>
                <a:spcPts val="500"/>
              </a:spcBef>
              <a:spcAft>
                <a:spcPts val="0"/>
              </a:spcAft>
              <a:buSzPts val="2700"/>
              <a:buChar char="•"/>
              <a:defRPr/>
            </a:lvl8pPr>
            <a:lvl9pPr marL="2743613" lvl="8" indent="-266741" algn="l">
              <a:lnSpc>
                <a:spcPct val="90000"/>
              </a:lnSpc>
              <a:spcBef>
                <a:spcPts val="500"/>
              </a:spcBef>
              <a:spcAft>
                <a:spcPts val="0"/>
              </a:spcAft>
              <a:buSzPts val="2700"/>
              <a:buChar char="•"/>
              <a:defRPr/>
            </a:lvl9pPr>
          </a:lstStyle>
          <a:p>
            <a:endParaRPr/>
          </a:p>
        </p:txBody>
      </p:sp>
      <p:cxnSp>
        <p:nvCxnSpPr>
          <p:cNvPr id="15708" name="Google Shape;15708;p1334"/>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15709" name="Google Shape;15709;p1334"/>
          <p:cNvGrpSpPr/>
          <p:nvPr/>
        </p:nvGrpSpPr>
        <p:grpSpPr>
          <a:xfrm>
            <a:off x="0" y="5379430"/>
            <a:ext cx="2807368" cy="753891"/>
            <a:chOff x="0" y="5379426"/>
            <a:chExt cx="2807368" cy="753891"/>
          </a:xfrm>
        </p:grpSpPr>
        <p:sp>
          <p:nvSpPr>
            <p:cNvPr id="15710" name="Google Shape;15710;p13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7B7B7B"/>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100"/>
                <a:buFont typeface="Arial"/>
                <a:buNone/>
              </a:pPr>
              <a:endParaRPr sz="1400" b="0" i="0" u="none" strike="noStrike" cap="none">
                <a:solidFill>
                  <a:schemeClr val="lt1"/>
                </a:solidFill>
                <a:latin typeface="Arial"/>
                <a:ea typeface="Arial"/>
                <a:cs typeface="Arial"/>
                <a:sym typeface="Arial"/>
              </a:endParaRPr>
            </a:p>
          </p:txBody>
        </p:sp>
        <p:sp>
          <p:nvSpPr>
            <p:cNvPr id="15711" name="Google Shape;15711;p13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100"/>
                <a:buFont typeface="Arial"/>
                <a:buNone/>
              </a:pPr>
              <a:endParaRPr sz="1400" b="0" i="0" u="none" strike="noStrike" cap="none">
                <a:solidFill>
                  <a:schemeClr val="lt1"/>
                </a:solidFill>
                <a:latin typeface="Arial"/>
                <a:ea typeface="Arial"/>
                <a:cs typeface="Arial"/>
                <a:sym typeface="Arial"/>
              </a:endParaRPr>
            </a:p>
          </p:txBody>
        </p:sp>
      </p:grpSp>
      <p:sp>
        <p:nvSpPr>
          <p:cNvPr id="15712" name="Google Shape;15712;p1334"/>
          <p:cNvSpPr>
            <a:spLocks noGrp="1"/>
          </p:cNvSpPr>
          <p:nvPr>
            <p:ph type="pic" idx="2"/>
          </p:nvPr>
        </p:nvSpPr>
        <p:spPr>
          <a:xfrm>
            <a:off x="2807368" y="457202"/>
            <a:ext cx="8915400" cy="5943598"/>
          </a:xfrm>
          <a:prstGeom prst="rect">
            <a:avLst/>
          </a:prstGeom>
          <a:noFill/>
          <a:ln>
            <a:noFill/>
          </a:ln>
        </p:spPr>
      </p:sp>
      <p:pic>
        <p:nvPicPr>
          <p:cNvPr id="15713" name="Google Shape;15713;p13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2" y="4385538"/>
            <a:ext cx="2025315" cy="911940"/>
          </a:xfrm>
          <a:prstGeom prst="rect">
            <a:avLst/>
          </a:prstGeom>
          <a:noFill/>
          <a:ln>
            <a:noFill/>
          </a:ln>
        </p:spPr>
      </p:pic>
    </p:spTree>
    <p:extLst>
      <p:ext uri="{BB962C8B-B14F-4D97-AF65-F5344CB8AC3E}">
        <p14:creationId xmlns:p14="http://schemas.microsoft.com/office/powerpoint/2010/main" val="3922568446"/>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matchingName="Title and Content 2">
  <p:cSld name="2_Title and Content 2">
    <p:spTree>
      <p:nvGrpSpPr>
        <p:cNvPr id="1" name="Shape 15714"/>
        <p:cNvGrpSpPr/>
        <p:nvPr/>
      </p:nvGrpSpPr>
      <p:grpSpPr>
        <a:xfrm>
          <a:off x="0" y="0"/>
          <a:ext cx="0" cy="0"/>
          <a:chOff x="0" y="0"/>
          <a:chExt cx="0" cy="0"/>
        </a:xfrm>
      </p:grpSpPr>
      <p:grpSp>
        <p:nvGrpSpPr>
          <p:cNvPr id="15715" name="Google Shape;15715;p1335"/>
          <p:cNvGrpSpPr/>
          <p:nvPr/>
        </p:nvGrpSpPr>
        <p:grpSpPr>
          <a:xfrm>
            <a:off x="7191545" y="0"/>
            <a:ext cx="5000460" cy="1425988"/>
            <a:chOff x="7191545" y="0"/>
            <a:chExt cx="5000460" cy="1425988"/>
          </a:xfrm>
        </p:grpSpPr>
        <p:pic>
          <p:nvPicPr>
            <p:cNvPr id="15716" name="Google Shape;15716;p13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17" name="Google Shape;15717;p1335"/>
            <p:cNvGrpSpPr/>
            <p:nvPr/>
          </p:nvGrpSpPr>
          <p:grpSpPr>
            <a:xfrm>
              <a:off x="7191545" y="0"/>
              <a:ext cx="5000460" cy="1425988"/>
              <a:chOff x="7191545" y="0"/>
              <a:chExt cx="5000460" cy="1425988"/>
            </a:xfrm>
          </p:grpSpPr>
          <p:sp>
            <p:nvSpPr>
              <p:cNvPr id="15718" name="Google Shape;15718;p13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19" name="Google Shape;15719;p13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20" name="Google Shape;15720;p1335"/>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1" name="Google Shape;15721;p1335"/>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722" name="Google Shape;15722;p133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23" name="Google Shape;15723;p13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24" name="Google Shape;15724;p133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93918283"/>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matchingName="1_OBJECT">
  <p:cSld name="2_OBJECT">
    <p:spTree>
      <p:nvGrpSpPr>
        <p:cNvPr id="1" name="Shape 15725"/>
        <p:cNvGrpSpPr/>
        <p:nvPr/>
      </p:nvGrpSpPr>
      <p:grpSpPr>
        <a:xfrm>
          <a:off x="0" y="0"/>
          <a:ext cx="0" cy="0"/>
          <a:chOff x="0" y="0"/>
          <a:chExt cx="0" cy="0"/>
        </a:xfrm>
      </p:grpSpPr>
      <p:grpSp>
        <p:nvGrpSpPr>
          <p:cNvPr id="15726" name="Google Shape;15726;p1336"/>
          <p:cNvGrpSpPr/>
          <p:nvPr/>
        </p:nvGrpSpPr>
        <p:grpSpPr>
          <a:xfrm>
            <a:off x="7191545" y="0"/>
            <a:ext cx="5000460" cy="1425988"/>
            <a:chOff x="7191545" y="0"/>
            <a:chExt cx="5000460" cy="1425988"/>
          </a:xfrm>
        </p:grpSpPr>
        <p:pic>
          <p:nvPicPr>
            <p:cNvPr id="15727" name="Google Shape;15727;p13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28" name="Google Shape;15728;p1336"/>
            <p:cNvGrpSpPr/>
            <p:nvPr/>
          </p:nvGrpSpPr>
          <p:grpSpPr>
            <a:xfrm>
              <a:off x="7191545" y="0"/>
              <a:ext cx="5000460" cy="1425988"/>
              <a:chOff x="7191545" y="0"/>
              <a:chExt cx="5000460" cy="1425988"/>
            </a:xfrm>
          </p:grpSpPr>
          <p:sp>
            <p:nvSpPr>
              <p:cNvPr id="15729" name="Google Shape;15729;p13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30" name="Google Shape;15730;p13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31" name="Google Shape;15731;p1336"/>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32" name="Google Shape;15732;p133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733" name="Google Shape;15733;p133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34" name="Google Shape;15734;p13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35" name="Google Shape;15735;p133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3756876"/>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matchingName="TWO_OBJECTS" type="twoObj">
  <p:cSld name="1_TWO_OBJECTS">
    <p:spTree>
      <p:nvGrpSpPr>
        <p:cNvPr id="1" name="Shape 15744"/>
        <p:cNvGrpSpPr/>
        <p:nvPr/>
      </p:nvGrpSpPr>
      <p:grpSpPr>
        <a:xfrm>
          <a:off x="0" y="0"/>
          <a:ext cx="0" cy="0"/>
          <a:chOff x="0" y="0"/>
          <a:chExt cx="0" cy="0"/>
        </a:xfrm>
      </p:grpSpPr>
      <p:sp>
        <p:nvSpPr>
          <p:cNvPr id="15745" name="Google Shape;15745;p1338"/>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46" name="Google Shape;15746;p1338"/>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5747" name="Google Shape;15747;p1338"/>
          <p:cNvGrpSpPr/>
          <p:nvPr/>
        </p:nvGrpSpPr>
        <p:grpSpPr>
          <a:xfrm>
            <a:off x="7191545" y="0"/>
            <a:ext cx="5000460" cy="1425988"/>
            <a:chOff x="7191545" y="0"/>
            <a:chExt cx="5000460" cy="1425988"/>
          </a:xfrm>
        </p:grpSpPr>
        <p:pic>
          <p:nvPicPr>
            <p:cNvPr id="15748" name="Google Shape;15748;p13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49" name="Google Shape;15749;p1338"/>
            <p:cNvGrpSpPr/>
            <p:nvPr/>
          </p:nvGrpSpPr>
          <p:grpSpPr>
            <a:xfrm>
              <a:off x="7191545" y="0"/>
              <a:ext cx="5000460" cy="1425988"/>
              <a:chOff x="7191545" y="0"/>
              <a:chExt cx="5000460" cy="1425988"/>
            </a:xfrm>
          </p:grpSpPr>
          <p:sp>
            <p:nvSpPr>
              <p:cNvPr id="15750" name="Google Shape;15750;p13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51" name="Google Shape;15751;p13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52" name="Google Shape;15752;p1338"/>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753" name="Google Shape;15753;p1338"/>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54" name="Google Shape;15754;p13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55" name="Google Shape;15755;p133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01465293"/>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756"/>
        <p:cNvGrpSpPr/>
        <p:nvPr/>
      </p:nvGrpSpPr>
      <p:grpSpPr>
        <a:xfrm>
          <a:off x="0" y="0"/>
          <a:ext cx="0" cy="0"/>
          <a:chOff x="0" y="0"/>
          <a:chExt cx="0" cy="0"/>
        </a:xfrm>
      </p:grpSpPr>
      <p:sp>
        <p:nvSpPr>
          <p:cNvPr id="15757" name="Google Shape;15757;p133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58" name="Google Shape;15758;p1339"/>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5759" name="Google Shape;15759;p1339"/>
          <p:cNvGrpSpPr/>
          <p:nvPr/>
        </p:nvGrpSpPr>
        <p:grpSpPr>
          <a:xfrm>
            <a:off x="7191545" y="0"/>
            <a:ext cx="5000460" cy="1425988"/>
            <a:chOff x="7191545" y="0"/>
            <a:chExt cx="5000460" cy="1425988"/>
          </a:xfrm>
        </p:grpSpPr>
        <p:pic>
          <p:nvPicPr>
            <p:cNvPr id="15760" name="Google Shape;15760;p13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61" name="Google Shape;15761;p1339"/>
            <p:cNvGrpSpPr/>
            <p:nvPr/>
          </p:nvGrpSpPr>
          <p:grpSpPr>
            <a:xfrm>
              <a:off x="7191545" y="0"/>
              <a:ext cx="5000460" cy="1425988"/>
              <a:chOff x="7191545" y="0"/>
              <a:chExt cx="5000460" cy="1425988"/>
            </a:xfrm>
          </p:grpSpPr>
          <p:sp>
            <p:nvSpPr>
              <p:cNvPr id="15762" name="Google Shape;15762;p13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63" name="Google Shape;15763;p13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64" name="Google Shape;15764;p1339"/>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765" name="Google Shape;15765;p1339"/>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66" name="Google Shape;15766;p13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67" name="Google Shape;15767;p133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83184568"/>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matchingName="Title and Content 3">
  <p:cSld name="2_Title and Content 3">
    <p:spTree>
      <p:nvGrpSpPr>
        <p:cNvPr id="1" name="Shape 15768"/>
        <p:cNvGrpSpPr/>
        <p:nvPr/>
      </p:nvGrpSpPr>
      <p:grpSpPr>
        <a:xfrm>
          <a:off x="0" y="0"/>
          <a:ext cx="0" cy="0"/>
          <a:chOff x="0" y="0"/>
          <a:chExt cx="0" cy="0"/>
        </a:xfrm>
      </p:grpSpPr>
      <p:grpSp>
        <p:nvGrpSpPr>
          <p:cNvPr id="15769" name="Google Shape;15769;p1340"/>
          <p:cNvGrpSpPr/>
          <p:nvPr/>
        </p:nvGrpSpPr>
        <p:grpSpPr>
          <a:xfrm>
            <a:off x="7191545" y="0"/>
            <a:ext cx="5000460" cy="1425988"/>
            <a:chOff x="7191545" y="0"/>
            <a:chExt cx="5000460" cy="1425988"/>
          </a:xfrm>
        </p:grpSpPr>
        <p:pic>
          <p:nvPicPr>
            <p:cNvPr id="15770" name="Google Shape;15770;p13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71" name="Google Shape;15771;p1340"/>
            <p:cNvGrpSpPr/>
            <p:nvPr/>
          </p:nvGrpSpPr>
          <p:grpSpPr>
            <a:xfrm>
              <a:off x="7191545" y="0"/>
              <a:ext cx="5000460" cy="1425988"/>
              <a:chOff x="7191545" y="0"/>
              <a:chExt cx="5000460" cy="1425988"/>
            </a:xfrm>
          </p:grpSpPr>
          <p:sp>
            <p:nvSpPr>
              <p:cNvPr id="15772" name="Google Shape;15772;p13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73" name="Google Shape;15773;p13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74" name="Google Shape;15774;p134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75" name="Google Shape;15775;p134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776" name="Google Shape;15776;p134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77" name="Google Shape;15777;p13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78" name="Google Shape;15778;p134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51745"/>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matchingName="Photo Slide">
  <p:cSld name="2_Photo Slide">
    <p:spTree>
      <p:nvGrpSpPr>
        <p:cNvPr id="1" name="Shape 15779"/>
        <p:cNvGrpSpPr/>
        <p:nvPr/>
      </p:nvGrpSpPr>
      <p:grpSpPr>
        <a:xfrm>
          <a:off x="0" y="0"/>
          <a:ext cx="0" cy="0"/>
          <a:chOff x="0" y="0"/>
          <a:chExt cx="0" cy="0"/>
        </a:xfrm>
      </p:grpSpPr>
      <p:sp>
        <p:nvSpPr>
          <p:cNvPr id="15780" name="Google Shape;15780;p134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5781" name="Google Shape;15781;p1341"/>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782" name="Google Shape;15782;p1341"/>
          <p:cNvGrpSpPr/>
          <p:nvPr/>
        </p:nvGrpSpPr>
        <p:grpSpPr>
          <a:xfrm>
            <a:off x="4" y="5379428"/>
            <a:ext cx="2807363" cy="753895"/>
            <a:chOff x="0" y="5379424"/>
            <a:chExt cx="2807363" cy="753895"/>
          </a:xfrm>
        </p:grpSpPr>
        <p:sp>
          <p:nvSpPr>
            <p:cNvPr id="15783" name="Google Shape;15783;p134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784" name="Google Shape;15784;p134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785" name="Google Shape;15785;p1341"/>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2317337141"/>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matchingName="Title and Content 5">
  <p:cSld name="4_Title and Content 5">
    <p:spTree>
      <p:nvGrpSpPr>
        <p:cNvPr id="1" name="Shape 15786"/>
        <p:cNvGrpSpPr/>
        <p:nvPr/>
      </p:nvGrpSpPr>
      <p:grpSpPr>
        <a:xfrm>
          <a:off x="0" y="0"/>
          <a:ext cx="0" cy="0"/>
          <a:chOff x="0" y="0"/>
          <a:chExt cx="0" cy="0"/>
        </a:xfrm>
      </p:grpSpPr>
      <p:grpSp>
        <p:nvGrpSpPr>
          <p:cNvPr id="15787" name="Google Shape;15787;p1342"/>
          <p:cNvGrpSpPr/>
          <p:nvPr/>
        </p:nvGrpSpPr>
        <p:grpSpPr>
          <a:xfrm>
            <a:off x="7191545" y="0"/>
            <a:ext cx="5000460" cy="1425988"/>
            <a:chOff x="7191545" y="0"/>
            <a:chExt cx="5000460" cy="1425988"/>
          </a:xfrm>
        </p:grpSpPr>
        <p:pic>
          <p:nvPicPr>
            <p:cNvPr id="15788" name="Google Shape;15788;p13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789" name="Google Shape;15789;p1342"/>
            <p:cNvGrpSpPr/>
            <p:nvPr/>
          </p:nvGrpSpPr>
          <p:grpSpPr>
            <a:xfrm>
              <a:off x="7191545" y="0"/>
              <a:ext cx="5000460" cy="1425988"/>
              <a:chOff x="7191545" y="0"/>
              <a:chExt cx="5000460" cy="1425988"/>
            </a:xfrm>
          </p:grpSpPr>
          <p:sp>
            <p:nvSpPr>
              <p:cNvPr id="15790" name="Google Shape;15790;p13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791" name="Google Shape;15791;p13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792" name="Google Shape;15792;p134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93" name="Google Shape;15793;p134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794" name="Google Shape;15794;p134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795" name="Google Shape;15795;p13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796" name="Google Shape;15796;p134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930393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matchingName="Title and Content 7">
  <p:cSld name="2_Title and Content 7">
    <p:spTree>
      <p:nvGrpSpPr>
        <p:cNvPr id="1" name="Shape 15805"/>
        <p:cNvGrpSpPr/>
        <p:nvPr/>
      </p:nvGrpSpPr>
      <p:grpSpPr>
        <a:xfrm>
          <a:off x="0" y="0"/>
          <a:ext cx="0" cy="0"/>
          <a:chOff x="0" y="0"/>
          <a:chExt cx="0" cy="0"/>
        </a:xfrm>
      </p:grpSpPr>
      <p:grpSp>
        <p:nvGrpSpPr>
          <p:cNvPr id="15806" name="Google Shape;15806;p1344"/>
          <p:cNvGrpSpPr/>
          <p:nvPr/>
        </p:nvGrpSpPr>
        <p:grpSpPr>
          <a:xfrm>
            <a:off x="7191545" y="0"/>
            <a:ext cx="5000460" cy="1425988"/>
            <a:chOff x="7191545" y="0"/>
            <a:chExt cx="5000460" cy="1425988"/>
          </a:xfrm>
        </p:grpSpPr>
        <p:pic>
          <p:nvPicPr>
            <p:cNvPr id="15807" name="Google Shape;15807;p13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08" name="Google Shape;15808;p1344"/>
            <p:cNvGrpSpPr/>
            <p:nvPr/>
          </p:nvGrpSpPr>
          <p:grpSpPr>
            <a:xfrm>
              <a:off x="7191545" y="0"/>
              <a:ext cx="5000460" cy="1425988"/>
              <a:chOff x="7191545" y="0"/>
              <a:chExt cx="5000460" cy="1425988"/>
            </a:xfrm>
          </p:grpSpPr>
          <p:sp>
            <p:nvSpPr>
              <p:cNvPr id="15809" name="Google Shape;15809;p13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10" name="Google Shape;15810;p13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11" name="Google Shape;15811;p1344"/>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2" name="Google Shape;15812;p134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13" name="Google Shape;15813;p134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14" name="Google Shape;15814;p13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15" name="Google Shape;15815;p134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67069770"/>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matchingName="Photo Slide 2">
  <p:cSld name="2_Photo Slide 2">
    <p:spTree>
      <p:nvGrpSpPr>
        <p:cNvPr id="1" name="Shape 15832"/>
        <p:cNvGrpSpPr/>
        <p:nvPr/>
      </p:nvGrpSpPr>
      <p:grpSpPr>
        <a:xfrm>
          <a:off x="0" y="0"/>
          <a:ext cx="0" cy="0"/>
          <a:chOff x="0" y="0"/>
          <a:chExt cx="0" cy="0"/>
        </a:xfrm>
      </p:grpSpPr>
      <p:sp>
        <p:nvSpPr>
          <p:cNvPr id="15833" name="Google Shape;15833;p134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5834" name="Google Shape;15834;p1347"/>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835" name="Google Shape;15835;p1347"/>
          <p:cNvGrpSpPr/>
          <p:nvPr/>
        </p:nvGrpSpPr>
        <p:grpSpPr>
          <a:xfrm>
            <a:off x="4" y="5379428"/>
            <a:ext cx="2807363" cy="753895"/>
            <a:chOff x="0" y="5379424"/>
            <a:chExt cx="2807363" cy="753895"/>
          </a:xfrm>
        </p:grpSpPr>
        <p:sp>
          <p:nvSpPr>
            <p:cNvPr id="15836" name="Google Shape;15836;p134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37" name="Google Shape;15837;p134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838" name="Google Shape;15838;p1347"/>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2269384106"/>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matchingName="Quotation">
  <p:cSld name="8_Quotation">
    <p:spTree>
      <p:nvGrpSpPr>
        <p:cNvPr id="1" name="Shape 15839"/>
        <p:cNvGrpSpPr/>
        <p:nvPr/>
      </p:nvGrpSpPr>
      <p:grpSpPr>
        <a:xfrm>
          <a:off x="0" y="0"/>
          <a:ext cx="0" cy="0"/>
          <a:chOff x="0" y="0"/>
          <a:chExt cx="0" cy="0"/>
        </a:xfrm>
      </p:grpSpPr>
      <p:sp>
        <p:nvSpPr>
          <p:cNvPr id="15840" name="Google Shape;15840;p13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41" name="Google Shape;15841;p13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42" name="Google Shape;15842;p134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43" name="Google Shape;15843;p134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44" name="Google Shape;15844;p13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45" name="Google Shape;15845;p134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46" name="Google Shape;15846;p1348"/>
          <p:cNvGrpSpPr/>
          <p:nvPr/>
        </p:nvGrpSpPr>
        <p:grpSpPr>
          <a:xfrm>
            <a:off x="7191545" y="0"/>
            <a:ext cx="5000460" cy="1425988"/>
            <a:chOff x="7191545" y="0"/>
            <a:chExt cx="5000460" cy="1425988"/>
          </a:xfrm>
        </p:grpSpPr>
        <p:pic>
          <p:nvPicPr>
            <p:cNvPr id="15847" name="Google Shape;15847;p13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48" name="Google Shape;15848;p1348"/>
            <p:cNvGrpSpPr/>
            <p:nvPr/>
          </p:nvGrpSpPr>
          <p:grpSpPr>
            <a:xfrm>
              <a:off x="7191545" y="0"/>
              <a:ext cx="5000460" cy="1425988"/>
              <a:chOff x="7191545" y="0"/>
              <a:chExt cx="5000460" cy="1425988"/>
            </a:xfrm>
          </p:grpSpPr>
          <p:sp>
            <p:nvSpPr>
              <p:cNvPr id="15849" name="Google Shape;15849;p13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50" name="Google Shape;15850;p13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851" name="Google Shape;15851;p134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150194014"/>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matchingName="Title and Content 8">
  <p:cSld name="2_Title and Content 8">
    <p:spTree>
      <p:nvGrpSpPr>
        <p:cNvPr id="1" name="Shape 15852"/>
        <p:cNvGrpSpPr/>
        <p:nvPr/>
      </p:nvGrpSpPr>
      <p:grpSpPr>
        <a:xfrm>
          <a:off x="0" y="0"/>
          <a:ext cx="0" cy="0"/>
          <a:chOff x="0" y="0"/>
          <a:chExt cx="0" cy="0"/>
        </a:xfrm>
      </p:grpSpPr>
      <p:grpSp>
        <p:nvGrpSpPr>
          <p:cNvPr id="15853" name="Google Shape;15853;p1349"/>
          <p:cNvGrpSpPr/>
          <p:nvPr/>
        </p:nvGrpSpPr>
        <p:grpSpPr>
          <a:xfrm>
            <a:off x="7191545" y="0"/>
            <a:ext cx="5000460" cy="1425988"/>
            <a:chOff x="7191545" y="0"/>
            <a:chExt cx="5000460" cy="1425988"/>
          </a:xfrm>
        </p:grpSpPr>
        <p:pic>
          <p:nvPicPr>
            <p:cNvPr id="15854" name="Google Shape;15854;p13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55" name="Google Shape;15855;p1349"/>
            <p:cNvGrpSpPr/>
            <p:nvPr/>
          </p:nvGrpSpPr>
          <p:grpSpPr>
            <a:xfrm>
              <a:off x="7191545" y="0"/>
              <a:ext cx="5000460" cy="1425988"/>
              <a:chOff x="7191545" y="0"/>
              <a:chExt cx="5000460" cy="1425988"/>
            </a:xfrm>
          </p:grpSpPr>
          <p:sp>
            <p:nvSpPr>
              <p:cNvPr id="15856" name="Google Shape;15856;p13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57" name="Google Shape;15857;p13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58" name="Google Shape;15858;p134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9" name="Google Shape;15859;p134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60" name="Google Shape;15860;p134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61" name="Google Shape;15861;p13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62" name="Google Shape;15862;p134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40303153"/>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matchingName="Two Content 2">
  <p:cSld name="2_Two Content 2">
    <p:spTree>
      <p:nvGrpSpPr>
        <p:cNvPr id="1" name="Shape 15863"/>
        <p:cNvGrpSpPr/>
        <p:nvPr/>
      </p:nvGrpSpPr>
      <p:grpSpPr>
        <a:xfrm>
          <a:off x="0" y="0"/>
          <a:ext cx="0" cy="0"/>
          <a:chOff x="0" y="0"/>
          <a:chExt cx="0" cy="0"/>
        </a:xfrm>
      </p:grpSpPr>
      <p:sp>
        <p:nvSpPr>
          <p:cNvPr id="15864" name="Google Shape;15864;p135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65" name="Google Shape;15865;p1350"/>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5866" name="Google Shape;15866;p1350"/>
          <p:cNvGrpSpPr/>
          <p:nvPr/>
        </p:nvGrpSpPr>
        <p:grpSpPr>
          <a:xfrm>
            <a:off x="7191545" y="0"/>
            <a:ext cx="5000460" cy="1425988"/>
            <a:chOff x="7191545" y="0"/>
            <a:chExt cx="5000460" cy="1425988"/>
          </a:xfrm>
        </p:grpSpPr>
        <p:pic>
          <p:nvPicPr>
            <p:cNvPr id="15867" name="Google Shape;15867;p13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68" name="Google Shape;15868;p1350"/>
            <p:cNvGrpSpPr/>
            <p:nvPr/>
          </p:nvGrpSpPr>
          <p:grpSpPr>
            <a:xfrm>
              <a:off x="7191545" y="0"/>
              <a:ext cx="5000460" cy="1425988"/>
              <a:chOff x="7191545" y="0"/>
              <a:chExt cx="5000460" cy="1425988"/>
            </a:xfrm>
          </p:grpSpPr>
          <p:sp>
            <p:nvSpPr>
              <p:cNvPr id="15869" name="Google Shape;15869;p13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70" name="Google Shape;15870;p13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71" name="Google Shape;15871;p1350"/>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72" name="Google Shape;15872;p1350"/>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73" name="Google Shape;15873;p13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74" name="Google Shape;15874;p135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5188264"/>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matchingName="TWO_OBJECTS_WITH_TEXT" type="twoTxTwoObj">
  <p:cSld name="2_TWO_OBJECTS_WITH_TEXT">
    <p:spTree>
      <p:nvGrpSpPr>
        <p:cNvPr id="1" name="Shape 15875"/>
        <p:cNvGrpSpPr/>
        <p:nvPr/>
      </p:nvGrpSpPr>
      <p:grpSpPr>
        <a:xfrm>
          <a:off x="0" y="0"/>
          <a:ext cx="0" cy="0"/>
          <a:chOff x="0" y="0"/>
          <a:chExt cx="0" cy="0"/>
        </a:xfrm>
      </p:grpSpPr>
      <p:grpSp>
        <p:nvGrpSpPr>
          <p:cNvPr id="15876" name="Google Shape;15876;p1351"/>
          <p:cNvGrpSpPr/>
          <p:nvPr/>
        </p:nvGrpSpPr>
        <p:grpSpPr>
          <a:xfrm>
            <a:off x="7191545" y="0"/>
            <a:ext cx="5000460" cy="1425988"/>
            <a:chOff x="7191545" y="0"/>
            <a:chExt cx="5000460" cy="1425988"/>
          </a:xfrm>
        </p:grpSpPr>
        <p:pic>
          <p:nvPicPr>
            <p:cNvPr id="15877" name="Google Shape;15877;p13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878" name="Google Shape;15878;p1351"/>
            <p:cNvGrpSpPr/>
            <p:nvPr/>
          </p:nvGrpSpPr>
          <p:grpSpPr>
            <a:xfrm>
              <a:off x="7191545" y="0"/>
              <a:ext cx="5000460" cy="1425988"/>
              <a:chOff x="7191545" y="0"/>
              <a:chExt cx="5000460" cy="1425988"/>
            </a:xfrm>
          </p:grpSpPr>
          <p:sp>
            <p:nvSpPr>
              <p:cNvPr id="15879" name="Google Shape;15879;p13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80" name="Google Shape;15880;p13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881" name="Google Shape;15881;p135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82" name="Google Shape;15882;p135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83" name="Google Shape;15883;p1351"/>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84" name="Google Shape;15884;p1351"/>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85" name="Google Shape;15885;p1351"/>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86" name="Google Shape;15886;p135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887" name="Google Shape;15887;p13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888" name="Google Shape;15888;p135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30830640"/>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matchingName="End">
  <p:cSld name="2_End">
    <p:spTree>
      <p:nvGrpSpPr>
        <p:cNvPr id="1" name="Shape 15889"/>
        <p:cNvGrpSpPr/>
        <p:nvPr/>
      </p:nvGrpSpPr>
      <p:grpSpPr>
        <a:xfrm>
          <a:off x="0" y="0"/>
          <a:ext cx="0" cy="0"/>
          <a:chOff x="0" y="0"/>
          <a:chExt cx="0" cy="0"/>
        </a:xfrm>
      </p:grpSpPr>
      <p:grpSp>
        <p:nvGrpSpPr>
          <p:cNvPr id="15890" name="Google Shape;15890;p1352"/>
          <p:cNvGrpSpPr/>
          <p:nvPr/>
        </p:nvGrpSpPr>
        <p:grpSpPr>
          <a:xfrm>
            <a:off x="0" y="0"/>
            <a:ext cx="12191996" cy="2148830"/>
            <a:chOff x="0" y="0"/>
            <a:chExt cx="12191996" cy="2148830"/>
          </a:xfrm>
        </p:grpSpPr>
        <p:sp>
          <p:nvSpPr>
            <p:cNvPr id="15891" name="Google Shape;15891;p135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892" name="Google Shape;15892;p135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893" name="Google Shape;15893;p1352"/>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94" name="Google Shape;15894;p1352"/>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895" name="Google Shape;15895;p135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896" name="Google Shape;15896;p135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648005941"/>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matchingName="Quotation 2">
  <p:cSld name="8_Quotation 2">
    <p:spTree>
      <p:nvGrpSpPr>
        <p:cNvPr id="1" name="Shape 15897"/>
        <p:cNvGrpSpPr/>
        <p:nvPr/>
      </p:nvGrpSpPr>
      <p:grpSpPr>
        <a:xfrm>
          <a:off x="0" y="0"/>
          <a:ext cx="0" cy="0"/>
          <a:chOff x="0" y="0"/>
          <a:chExt cx="0" cy="0"/>
        </a:xfrm>
      </p:grpSpPr>
      <p:sp>
        <p:nvSpPr>
          <p:cNvPr id="15898" name="Google Shape;15898;p13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899" name="Google Shape;15899;p13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00" name="Google Shape;15900;p1353"/>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01" name="Google Shape;15901;p135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02" name="Google Shape;15902;p13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03" name="Google Shape;15903;p135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904" name="Google Shape;15904;p1353"/>
          <p:cNvGrpSpPr/>
          <p:nvPr/>
        </p:nvGrpSpPr>
        <p:grpSpPr>
          <a:xfrm>
            <a:off x="7191545" y="0"/>
            <a:ext cx="5000460" cy="1425988"/>
            <a:chOff x="7191545" y="0"/>
            <a:chExt cx="5000460" cy="1425988"/>
          </a:xfrm>
        </p:grpSpPr>
        <p:pic>
          <p:nvPicPr>
            <p:cNvPr id="15905" name="Google Shape;15905;p13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06" name="Google Shape;15906;p1353"/>
            <p:cNvGrpSpPr/>
            <p:nvPr/>
          </p:nvGrpSpPr>
          <p:grpSpPr>
            <a:xfrm>
              <a:off x="7191545" y="0"/>
              <a:ext cx="5000460" cy="1425988"/>
              <a:chOff x="7191545" y="0"/>
              <a:chExt cx="5000460" cy="1425988"/>
            </a:xfrm>
          </p:grpSpPr>
          <p:sp>
            <p:nvSpPr>
              <p:cNvPr id="15907" name="Google Shape;15907;p13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08" name="Google Shape;15908;p13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909" name="Google Shape;15909;p1353"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036783610"/>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matchingName="1_Photo Slide 2">
  <p:cSld name="2_Photo Slide 2">
    <p:spTree>
      <p:nvGrpSpPr>
        <p:cNvPr id="1" name="Shape 15926"/>
        <p:cNvGrpSpPr/>
        <p:nvPr/>
      </p:nvGrpSpPr>
      <p:grpSpPr>
        <a:xfrm>
          <a:off x="0" y="0"/>
          <a:ext cx="0" cy="0"/>
          <a:chOff x="0" y="0"/>
          <a:chExt cx="0" cy="0"/>
        </a:xfrm>
      </p:grpSpPr>
      <p:sp>
        <p:nvSpPr>
          <p:cNvPr id="15927" name="Google Shape;15927;p13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5928" name="Google Shape;15928;p1356"/>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5929" name="Google Shape;15929;p1356"/>
          <p:cNvGrpSpPr/>
          <p:nvPr/>
        </p:nvGrpSpPr>
        <p:grpSpPr>
          <a:xfrm>
            <a:off x="4" y="5379428"/>
            <a:ext cx="2807363" cy="753895"/>
            <a:chOff x="0" y="5379424"/>
            <a:chExt cx="2807363" cy="753895"/>
          </a:xfrm>
        </p:grpSpPr>
        <p:sp>
          <p:nvSpPr>
            <p:cNvPr id="15930" name="Google Shape;15930;p13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31" name="Google Shape;15931;p13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5932" name="Google Shape;15932;p1356"/>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1460280647"/>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matchingName="1_Quotation">
  <p:cSld name="8_Quotation">
    <p:spTree>
      <p:nvGrpSpPr>
        <p:cNvPr id="1" name="Shape 15933"/>
        <p:cNvGrpSpPr/>
        <p:nvPr/>
      </p:nvGrpSpPr>
      <p:grpSpPr>
        <a:xfrm>
          <a:off x="0" y="0"/>
          <a:ext cx="0" cy="0"/>
          <a:chOff x="0" y="0"/>
          <a:chExt cx="0" cy="0"/>
        </a:xfrm>
      </p:grpSpPr>
      <p:sp>
        <p:nvSpPr>
          <p:cNvPr id="15934" name="Google Shape;15934;p13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35" name="Google Shape;15935;p13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36" name="Google Shape;15936;p1357"/>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37" name="Google Shape;15937;p135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38" name="Google Shape;15938;p13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39" name="Google Shape;15939;p135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940" name="Google Shape;15940;p1357"/>
          <p:cNvGrpSpPr/>
          <p:nvPr/>
        </p:nvGrpSpPr>
        <p:grpSpPr>
          <a:xfrm>
            <a:off x="7191545" y="0"/>
            <a:ext cx="5000460" cy="1425988"/>
            <a:chOff x="7191545" y="0"/>
            <a:chExt cx="5000460" cy="1425988"/>
          </a:xfrm>
        </p:grpSpPr>
        <p:pic>
          <p:nvPicPr>
            <p:cNvPr id="15941" name="Google Shape;15941;p13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42" name="Google Shape;15942;p1357"/>
            <p:cNvGrpSpPr/>
            <p:nvPr/>
          </p:nvGrpSpPr>
          <p:grpSpPr>
            <a:xfrm>
              <a:off x="7191545" y="0"/>
              <a:ext cx="5000460" cy="1425988"/>
              <a:chOff x="7191545" y="0"/>
              <a:chExt cx="5000460" cy="1425988"/>
            </a:xfrm>
          </p:grpSpPr>
          <p:sp>
            <p:nvSpPr>
              <p:cNvPr id="15943" name="Google Shape;15943;p13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44" name="Google Shape;15944;p13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5945" name="Google Shape;15945;p1357"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4502554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matchingName="1_Title and Content 8">
  <p:cSld name="2_Title and Content 8">
    <p:spTree>
      <p:nvGrpSpPr>
        <p:cNvPr id="1" name="Shape 15946"/>
        <p:cNvGrpSpPr/>
        <p:nvPr/>
      </p:nvGrpSpPr>
      <p:grpSpPr>
        <a:xfrm>
          <a:off x="0" y="0"/>
          <a:ext cx="0" cy="0"/>
          <a:chOff x="0" y="0"/>
          <a:chExt cx="0" cy="0"/>
        </a:xfrm>
      </p:grpSpPr>
      <p:grpSp>
        <p:nvGrpSpPr>
          <p:cNvPr id="15947" name="Google Shape;15947;p1358"/>
          <p:cNvGrpSpPr/>
          <p:nvPr/>
        </p:nvGrpSpPr>
        <p:grpSpPr>
          <a:xfrm>
            <a:off x="7191545" y="0"/>
            <a:ext cx="5000460" cy="1425988"/>
            <a:chOff x="7191545" y="0"/>
            <a:chExt cx="5000460" cy="1425988"/>
          </a:xfrm>
        </p:grpSpPr>
        <p:pic>
          <p:nvPicPr>
            <p:cNvPr id="15948" name="Google Shape;15948;p13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49" name="Google Shape;15949;p1358"/>
            <p:cNvGrpSpPr/>
            <p:nvPr/>
          </p:nvGrpSpPr>
          <p:grpSpPr>
            <a:xfrm>
              <a:off x="7191545" y="0"/>
              <a:ext cx="5000460" cy="1425988"/>
              <a:chOff x="7191545" y="0"/>
              <a:chExt cx="5000460" cy="1425988"/>
            </a:xfrm>
          </p:grpSpPr>
          <p:sp>
            <p:nvSpPr>
              <p:cNvPr id="15950" name="Google Shape;15950;p13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51" name="Google Shape;15951;p13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52" name="Google Shape;15952;p1358"/>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3" name="Google Shape;15953;p1358"/>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54" name="Google Shape;15954;p135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55" name="Google Shape;15955;p13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56" name="Google Shape;15956;p135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10134847"/>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matchingName="1_Two Content 2">
  <p:cSld name="2_Two Content 2">
    <p:spTree>
      <p:nvGrpSpPr>
        <p:cNvPr id="1" name="Shape 15957"/>
        <p:cNvGrpSpPr/>
        <p:nvPr/>
      </p:nvGrpSpPr>
      <p:grpSpPr>
        <a:xfrm>
          <a:off x="0" y="0"/>
          <a:ext cx="0" cy="0"/>
          <a:chOff x="0" y="0"/>
          <a:chExt cx="0" cy="0"/>
        </a:xfrm>
      </p:grpSpPr>
      <p:sp>
        <p:nvSpPr>
          <p:cNvPr id="15958" name="Google Shape;15958;p135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9" name="Google Shape;15959;p1359"/>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5960" name="Google Shape;15960;p1359"/>
          <p:cNvGrpSpPr/>
          <p:nvPr/>
        </p:nvGrpSpPr>
        <p:grpSpPr>
          <a:xfrm>
            <a:off x="7191545" y="0"/>
            <a:ext cx="5000460" cy="1425988"/>
            <a:chOff x="7191545" y="0"/>
            <a:chExt cx="5000460" cy="1425988"/>
          </a:xfrm>
        </p:grpSpPr>
        <p:pic>
          <p:nvPicPr>
            <p:cNvPr id="15961" name="Google Shape;15961;p13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62" name="Google Shape;15962;p1359"/>
            <p:cNvGrpSpPr/>
            <p:nvPr/>
          </p:nvGrpSpPr>
          <p:grpSpPr>
            <a:xfrm>
              <a:off x="7191545" y="0"/>
              <a:ext cx="5000460" cy="1425988"/>
              <a:chOff x="7191545" y="0"/>
              <a:chExt cx="5000460" cy="1425988"/>
            </a:xfrm>
          </p:grpSpPr>
          <p:sp>
            <p:nvSpPr>
              <p:cNvPr id="15963" name="Google Shape;15963;p13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64" name="Google Shape;15964;p13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65" name="Google Shape;15965;p1359"/>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66" name="Google Shape;15966;p1359"/>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67" name="Google Shape;15967;p13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68" name="Google Shape;15968;p135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87906937"/>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matchingName="1_TWO_OBJECTS_WITH_TEXT">
  <p:cSld name="2_TWO_OBJECTS_WITH_TEXT">
    <p:spTree>
      <p:nvGrpSpPr>
        <p:cNvPr id="1" name="Shape 15969"/>
        <p:cNvGrpSpPr/>
        <p:nvPr/>
      </p:nvGrpSpPr>
      <p:grpSpPr>
        <a:xfrm>
          <a:off x="0" y="0"/>
          <a:ext cx="0" cy="0"/>
          <a:chOff x="0" y="0"/>
          <a:chExt cx="0" cy="0"/>
        </a:xfrm>
      </p:grpSpPr>
      <p:grpSp>
        <p:nvGrpSpPr>
          <p:cNvPr id="15970" name="Google Shape;15970;p1360"/>
          <p:cNvGrpSpPr/>
          <p:nvPr/>
        </p:nvGrpSpPr>
        <p:grpSpPr>
          <a:xfrm>
            <a:off x="7191545" y="0"/>
            <a:ext cx="5000460" cy="1425988"/>
            <a:chOff x="7191545" y="0"/>
            <a:chExt cx="5000460" cy="1425988"/>
          </a:xfrm>
        </p:grpSpPr>
        <p:pic>
          <p:nvPicPr>
            <p:cNvPr id="15971" name="Google Shape;15971;p13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5972" name="Google Shape;15972;p1360"/>
            <p:cNvGrpSpPr/>
            <p:nvPr/>
          </p:nvGrpSpPr>
          <p:grpSpPr>
            <a:xfrm>
              <a:off x="7191545" y="0"/>
              <a:ext cx="5000460" cy="1425988"/>
              <a:chOff x="7191545" y="0"/>
              <a:chExt cx="5000460" cy="1425988"/>
            </a:xfrm>
          </p:grpSpPr>
          <p:sp>
            <p:nvSpPr>
              <p:cNvPr id="15973" name="Google Shape;15973;p13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74" name="Google Shape;15974;p13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5975" name="Google Shape;15975;p136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6" name="Google Shape;15976;p1360"/>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77" name="Google Shape;15977;p1360"/>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78" name="Google Shape;15978;p1360"/>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79" name="Google Shape;15979;p1360"/>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80" name="Google Shape;15980;p136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5981" name="Google Shape;15981;p13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5982" name="Google Shape;15982;p136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12656717"/>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matchingName="1_End">
  <p:cSld name="2_End">
    <p:spTree>
      <p:nvGrpSpPr>
        <p:cNvPr id="1" name="Shape 15993"/>
        <p:cNvGrpSpPr/>
        <p:nvPr/>
      </p:nvGrpSpPr>
      <p:grpSpPr>
        <a:xfrm>
          <a:off x="0" y="0"/>
          <a:ext cx="0" cy="0"/>
          <a:chOff x="0" y="0"/>
          <a:chExt cx="0" cy="0"/>
        </a:xfrm>
      </p:grpSpPr>
      <p:grpSp>
        <p:nvGrpSpPr>
          <p:cNvPr id="15994" name="Google Shape;15994;p1362"/>
          <p:cNvGrpSpPr/>
          <p:nvPr/>
        </p:nvGrpSpPr>
        <p:grpSpPr>
          <a:xfrm>
            <a:off x="0" y="0"/>
            <a:ext cx="12191996" cy="2148830"/>
            <a:chOff x="0" y="0"/>
            <a:chExt cx="12191996" cy="2148830"/>
          </a:xfrm>
        </p:grpSpPr>
        <p:sp>
          <p:nvSpPr>
            <p:cNvPr id="15995" name="Google Shape;15995;p136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5996" name="Google Shape;15996;p136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5997" name="Google Shape;15997;p1362"/>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5998" name="Google Shape;15998;p1362"/>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5999" name="Google Shape;15999;p136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000" name="Google Shape;16000;p136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08068308"/>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matchingName="1_Quotation 2">
  <p:cSld name="8_Quotation 2">
    <p:spTree>
      <p:nvGrpSpPr>
        <p:cNvPr id="1" name="Shape 16010"/>
        <p:cNvGrpSpPr/>
        <p:nvPr/>
      </p:nvGrpSpPr>
      <p:grpSpPr>
        <a:xfrm>
          <a:off x="0" y="0"/>
          <a:ext cx="0" cy="0"/>
          <a:chOff x="0" y="0"/>
          <a:chExt cx="0" cy="0"/>
        </a:xfrm>
      </p:grpSpPr>
      <p:sp>
        <p:nvSpPr>
          <p:cNvPr id="16011" name="Google Shape;16011;p136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12" name="Google Shape;16012;p13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13" name="Google Shape;16013;p1364"/>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14" name="Google Shape;16014;p136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15" name="Google Shape;16015;p13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16" name="Google Shape;16016;p136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7" name="Google Shape;16017;p1364"/>
          <p:cNvGrpSpPr/>
          <p:nvPr/>
        </p:nvGrpSpPr>
        <p:grpSpPr>
          <a:xfrm>
            <a:off x="7191545" y="0"/>
            <a:ext cx="5000460" cy="1425988"/>
            <a:chOff x="7191545" y="0"/>
            <a:chExt cx="5000460" cy="1425988"/>
          </a:xfrm>
        </p:grpSpPr>
        <p:pic>
          <p:nvPicPr>
            <p:cNvPr id="16018" name="Google Shape;16018;p13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19" name="Google Shape;16019;p1364"/>
            <p:cNvGrpSpPr/>
            <p:nvPr/>
          </p:nvGrpSpPr>
          <p:grpSpPr>
            <a:xfrm>
              <a:off x="7191545" y="0"/>
              <a:ext cx="5000460" cy="1425988"/>
              <a:chOff x="7191545" y="0"/>
              <a:chExt cx="5000460" cy="1425988"/>
            </a:xfrm>
          </p:grpSpPr>
          <p:sp>
            <p:nvSpPr>
              <p:cNvPr id="16020" name="Google Shape;16020;p13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21" name="Google Shape;16021;p13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22" name="Google Shape;16022;p1364"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96150795"/>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matchingName="Photo Slide 3">
  <p:cSld name="1_Photo Slide 3">
    <p:spTree>
      <p:nvGrpSpPr>
        <p:cNvPr id="1" name="Shape 16039"/>
        <p:cNvGrpSpPr/>
        <p:nvPr/>
      </p:nvGrpSpPr>
      <p:grpSpPr>
        <a:xfrm>
          <a:off x="0" y="0"/>
          <a:ext cx="0" cy="0"/>
          <a:chOff x="0" y="0"/>
          <a:chExt cx="0" cy="0"/>
        </a:xfrm>
      </p:grpSpPr>
      <p:sp>
        <p:nvSpPr>
          <p:cNvPr id="16040" name="Google Shape;16040;p13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041" name="Google Shape;16041;p1367"/>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042" name="Google Shape;16042;p1367"/>
          <p:cNvGrpSpPr/>
          <p:nvPr/>
        </p:nvGrpSpPr>
        <p:grpSpPr>
          <a:xfrm>
            <a:off x="4" y="5379428"/>
            <a:ext cx="2807363" cy="753895"/>
            <a:chOff x="0" y="5379424"/>
            <a:chExt cx="2807363" cy="753895"/>
          </a:xfrm>
        </p:grpSpPr>
        <p:sp>
          <p:nvSpPr>
            <p:cNvPr id="16043" name="Google Shape;16043;p13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4" name="Google Shape;16044;p13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045" name="Google Shape;16045;p1367"/>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1163300786"/>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matchingName="Quotation 3">
  <p:cSld name="6_Quotation 3">
    <p:spTree>
      <p:nvGrpSpPr>
        <p:cNvPr id="1" name="Shape 16046"/>
        <p:cNvGrpSpPr/>
        <p:nvPr/>
      </p:nvGrpSpPr>
      <p:grpSpPr>
        <a:xfrm>
          <a:off x="0" y="0"/>
          <a:ext cx="0" cy="0"/>
          <a:chOff x="0" y="0"/>
          <a:chExt cx="0" cy="0"/>
        </a:xfrm>
      </p:grpSpPr>
      <p:sp>
        <p:nvSpPr>
          <p:cNvPr id="16047" name="Google Shape;16047;p13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48" name="Google Shape;16048;p13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9" name="Google Shape;16049;p136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50" name="Google Shape;16050;p136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51" name="Google Shape;16051;p13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52" name="Google Shape;16052;p136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53" name="Google Shape;16053;p1368"/>
          <p:cNvGrpSpPr/>
          <p:nvPr/>
        </p:nvGrpSpPr>
        <p:grpSpPr>
          <a:xfrm>
            <a:off x="7191545" y="0"/>
            <a:ext cx="5000460" cy="1425988"/>
            <a:chOff x="7191545" y="0"/>
            <a:chExt cx="5000460" cy="1425988"/>
          </a:xfrm>
        </p:grpSpPr>
        <p:pic>
          <p:nvPicPr>
            <p:cNvPr id="16054" name="Google Shape;16054;p13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55" name="Google Shape;16055;p1368"/>
            <p:cNvGrpSpPr/>
            <p:nvPr/>
          </p:nvGrpSpPr>
          <p:grpSpPr>
            <a:xfrm>
              <a:off x="7191545" y="0"/>
              <a:ext cx="5000460" cy="1425988"/>
              <a:chOff x="7191545" y="0"/>
              <a:chExt cx="5000460" cy="1425988"/>
            </a:xfrm>
          </p:grpSpPr>
          <p:sp>
            <p:nvSpPr>
              <p:cNvPr id="16056" name="Google Shape;16056;p13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57" name="Google Shape;16057;p13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58" name="Google Shape;16058;p136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462332174"/>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matchingName="1_Quotation 3">
  <p:cSld name="6_Quotation 3">
    <p:spTree>
      <p:nvGrpSpPr>
        <p:cNvPr id="1" name="Shape 16059"/>
        <p:cNvGrpSpPr/>
        <p:nvPr/>
      </p:nvGrpSpPr>
      <p:grpSpPr>
        <a:xfrm>
          <a:off x="0" y="0"/>
          <a:ext cx="0" cy="0"/>
          <a:chOff x="0" y="0"/>
          <a:chExt cx="0" cy="0"/>
        </a:xfrm>
      </p:grpSpPr>
      <p:sp>
        <p:nvSpPr>
          <p:cNvPr id="16060" name="Google Shape;16060;p136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061" name="Google Shape;16061;p136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62" name="Google Shape;16062;p136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63" name="Google Shape;16063;p136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64" name="Google Shape;16064;p13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65" name="Google Shape;16065;p136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66" name="Google Shape;16066;p1369"/>
          <p:cNvGrpSpPr/>
          <p:nvPr/>
        </p:nvGrpSpPr>
        <p:grpSpPr>
          <a:xfrm>
            <a:off x="7191545" y="0"/>
            <a:ext cx="5000460" cy="1425988"/>
            <a:chOff x="7191545" y="0"/>
            <a:chExt cx="5000460" cy="1425988"/>
          </a:xfrm>
        </p:grpSpPr>
        <p:pic>
          <p:nvPicPr>
            <p:cNvPr id="16067" name="Google Shape;16067;p13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68" name="Google Shape;16068;p1369"/>
            <p:cNvGrpSpPr/>
            <p:nvPr/>
          </p:nvGrpSpPr>
          <p:grpSpPr>
            <a:xfrm>
              <a:off x="7191545" y="0"/>
              <a:ext cx="5000460" cy="1425988"/>
              <a:chOff x="7191545" y="0"/>
              <a:chExt cx="5000460" cy="1425988"/>
            </a:xfrm>
          </p:grpSpPr>
          <p:sp>
            <p:nvSpPr>
              <p:cNvPr id="16069" name="Google Shape;16069;p13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0" name="Google Shape;16070;p13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071" name="Google Shape;16071;p136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15924128"/>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matchingName="Two Content 3">
  <p:cSld name="1_Two Content 3">
    <p:spTree>
      <p:nvGrpSpPr>
        <p:cNvPr id="1" name="Shape 16072"/>
        <p:cNvGrpSpPr/>
        <p:nvPr/>
      </p:nvGrpSpPr>
      <p:grpSpPr>
        <a:xfrm>
          <a:off x="0" y="0"/>
          <a:ext cx="0" cy="0"/>
          <a:chOff x="0" y="0"/>
          <a:chExt cx="0" cy="0"/>
        </a:xfrm>
      </p:grpSpPr>
      <p:sp>
        <p:nvSpPr>
          <p:cNvPr id="16073" name="Google Shape;16073;p137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74" name="Google Shape;16074;p1370"/>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6075" name="Google Shape;16075;p1370"/>
          <p:cNvGrpSpPr/>
          <p:nvPr/>
        </p:nvGrpSpPr>
        <p:grpSpPr>
          <a:xfrm>
            <a:off x="7191545" y="0"/>
            <a:ext cx="5000460" cy="1425988"/>
            <a:chOff x="7191545" y="0"/>
            <a:chExt cx="5000460" cy="1425988"/>
          </a:xfrm>
        </p:grpSpPr>
        <p:pic>
          <p:nvPicPr>
            <p:cNvPr id="16076" name="Google Shape;16076;p13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77" name="Google Shape;16077;p1370"/>
            <p:cNvGrpSpPr/>
            <p:nvPr/>
          </p:nvGrpSpPr>
          <p:grpSpPr>
            <a:xfrm>
              <a:off x="7191545" y="0"/>
              <a:ext cx="5000460" cy="1425988"/>
              <a:chOff x="7191545" y="0"/>
              <a:chExt cx="5000460" cy="1425988"/>
            </a:xfrm>
          </p:grpSpPr>
          <p:sp>
            <p:nvSpPr>
              <p:cNvPr id="16078" name="Google Shape;16078;p13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79" name="Google Shape;16079;p13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80" name="Google Shape;16080;p1370"/>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81" name="Google Shape;16081;p1370"/>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82" name="Google Shape;16082;p13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83" name="Google Shape;16083;p137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6160433"/>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084"/>
        <p:cNvGrpSpPr/>
        <p:nvPr/>
      </p:nvGrpSpPr>
      <p:grpSpPr>
        <a:xfrm>
          <a:off x="0" y="0"/>
          <a:ext cx="0" cy="0"/>
          <a:chOff x="0" y="0"/>
          <a:chExt cx="0" cy="0"/>
        </a:xfrm>
      </p:grpSpPr>
      <p:grpSp>
        <p:nvGrpSpPr>
          <p:cNvPr id="16085" name="Google Shape;16085;p1371"/>
          <p:cNvGrpSpPr/>
          <p:nvPr/>
        </p:nvGrpSpPr>
        <p:grpSpPr>
          <a:xfrm>
            <a:off x="7191545" y="0"/>
            <a:ext cx="5000460" cy="1425988"/>
            <a:chOff x="7191545" y="0"/>
            <a:chExt cx="5000460" cy="1425988"/>
          </a:xfrm>
        </p:grpSpPr>
        <p:pic>
          <p:nvPicPr>
            <p:cNvPr id="16086" name="Google Shape;16086;p13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087" name="Google Shape;16087;p1371"/>
            <p:cNvGrpSpPr/>
            <p:nvPr/>
          </p:nvGrpSpPr>
          <p:grpSpPr>
            <a:xfrm>
              <a:off x="7191545" y="0"/>
              <a:ext cx="5000460" cy="1425988"/>
              <a:chOff x="7191545" y="0"/>
              <a:chExt cx="5000460" cy="1425988"/>
            </a:xfrm>
          </p:grpSpPr>
          <p:sp>
            <p:nvSpPr>
              <p:cNvPr id="16088" name="Google Shape;16088;p13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089" name="Google Shape;16089;p13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090" name="Google Shape;16090;p137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91" name="Google Shape;16091;p13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92" name="Google Shape;16092;p1371"/>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93" name="Google Shape;16093;p1371"/>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94" name="Google Shape;16094;p1371"/>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095" name="Google Shape;16095;p137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096" name="Google Shape;16096;p13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097" name="Google Shape;16097;p137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325977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matchingName="End 2">
  <p:cSld name="1_End 2">
    <p:spTree>
      <p:nvGrpSpPr>
        <p:cNvPr id="1" name="Shape 16108"/>
        <p:cNvGrpSpPr/>
        <p:nvPr/>
      </p:nvGrpSpPr>
      <p:grpSpPr>
        <a:xfrm>
          <a:off x="0" y="0"/>
          <a:ext cx="0" cy="0"/>
          <a:chOff x="0" y="0"/>
          <a:chExt cx="0" cy="0"/>
        </a:xfrm>
      </p:grpSpPr>
      <p:grpSp>
        <p:nvGrpSpPr>
          <p:cNvPr id="16109" name="Google Shape;16109;p1373"/>
          <p:cNvGrpSpPr/>
          <p:nvPr/>
        </p:nvGrpSpPr>
        <p:grpSpPr>
          <a:xfrm>
            <a:off x="0" y="0"/>
            <a:ext cx="12191996" cy="2148830"/>
            <a:chOff x="0" y="0"/>
            <a:chExt cx="12191996" cy="2148830"/>
          </a:xfrm>
        </p:grpSpPr>
        <p:sp>
          <p:nvSpPr>
            <p:cNvPr id="16110" name="Google Shape;16110;p13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11" name="Google Shape;16111;p13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112" name="Google Shape;16112;p1373"/>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3" name="Google Shape;16113;p1373"/>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114" name="Google Shape;16114;p13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115" name="Google Shape;16115;p13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769277996"/>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matchingName="2_Quotation">
  <p:cSld name="8_Quotation">
    <p:spTree>
      <p:nvGrpSpPr>
        <p:cNvPr id="1" name="Shape 16116"/>
        <p:cNvGrpSpPr/>
        <p:nvPr/>
      </p:nvGrpSpPr>
      <p:grpSpPr>
        <a:xfrm>
          <a:off x="0" y="0"/>
          <a:ext cx="0" cy="0"/>
          <a:chOff x="0" y="0"/>
          <a:chExt cx="0" cy="0"/>
        </a:xfrm>
      </p:grpSpPr>
      <p:sp>
        <p:nvSpPr>
          <p:cNvPr id="16117" name="Google Shape;16117;p137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18" name="Google Shape;16118;p137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19" name="Google Shape;16119;p1374"/>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120" name="Google Shape;16120;p137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21" name="Google Shape;16121;p13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22" name="Google Shape;16122;p137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23" name="Google Shape;16123;p1374"/>
          <p:cNvGrpSpPr/>
          <p:nvPr/>
        </p:nvGrpSpPr>
        <p:grpSpPr>
          <a:xfrm>
            <a:off x="7191545" y="0"/>
            <a:ext cx="5000460" cy="1425988"/>
            <a:chOff x="7191545" y="0"/>
            <a:chExt cx="5000460" cy="1425988"/>
          </a:xfrm>
        </p:grpSpPr>
        <p:pic>
          <p:nvPicPr>
            <p:cNvPr id="16124" name="Google Shape;16124;p13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25" name="Google Shape;16125;p1374"/>
            <p:cNvGrpSpPr/>
            <p:nvPr/>
          </p:nvGrpSpPr>
          <p:grpSpPr>
            <a:xfrm>
              <a:off x="7191545" y="0"/>
              <a:ext cx="5000460" cy="1425988"/>
              <a:chOff x="7191545" y="0"/>
              <a:chExt cx="5000460" cy="1425988"/>
            </a:xfrm>
          </p:grpSpPr>
          <p:sp>
            <p:nvSpPr>
              <p:cNvPr id="16126" name="Google Shape;16126;p13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27" name="Google Shape;16127;p13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28" name="Google Shape;16128;p1374"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778173840"/>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matchingName="3_Quotation">
  <p:cSld name="8_Quotation">
    <p:spTree>
      <p:nvGrpSpPr>
        <p:cNvPr id="1" name="Shape 16129"/>
        <p:cNvGrpSpPr/>
        <p:nvPr/>
      </p:nvGrpSpPr>
      <p:grpSpPr>
        <a:xfrm>
          <a:off x="0" y="0"/>
          <a:ext cx="0" cy="0"/>
          <a:chOff x="0" y="0"/>
          <a:chExt cx="0" cy="0"/>
        </a:xfrm>
      </p:grpSpPr>
      <p:sp>
        <p:nvSpPr>
          <p:cNvPr id="16130" name="Google Shape;16130;p13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31" name="Google Shape;16131;p13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32" name="Google Shape;16132;p137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133" name="Google Shape;16133;p137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34" name="Google Shape;16134;p13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35" name="Google Shape;16135;p137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36" name="Google Shape;16136;p1375"/>
          <p:cNvGrpSpPr/>
          <p:nvPr/>
        </p:nvGrpSpPr>
        <p:grpSpPr>
          <a:xfrm>
            <a:off x="7191545" y="0"/>
            <a:ext cx="5000460" cy="1425988"/>
            <a:chOff x="7191545" y="0"/>
            <a:chExt cx="5000460" cy="1425988"/>
          </a:xfrm>
        </p:grpSpPr>
        <p:pic>
          <p:nvPicPr>
            <p:cNvPr id="16137" name="Google Shape;16137;p13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38" name="Google Shape;16138;p1375"/>
            <p:cNvGrpSpPr/>
            <p:nvPr/>
          </p:nvGrpSpPr>
          <p:grpSpPr>
            <a:xfrm>
              <a:off x="7191545" y="0"/>
              <a:ext cx="5000460" cy="1425988"/>
              <a:chOff x="7191545" y="0"/>
              <a:chExt cx="5000460" cy="1425988"/>
            </a:xfrm>
          </p:grpSpPr>
          <p:sp>
            <p:nvSpPr>
              <p:cNvPr id="16139" name="Google Shape;16139;p13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40" name="Google Shape;16140;p13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41" name="Google Shape;16141;p137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660175824"/>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matchingName="4_Quotation">
  <p:cSld name="8_Quotation">
    <p:spTree>
      <p:nvGrpSpPr>
        <p:cNvPr id="1" name="Shape 16142"/>
        <p:cNvGrpSpPr/>
        <p:nvPr/>
      </p:nvGrpSpPr>
      <p:grpSpPr>
        <a:xfrm>
          <a:off x="0" y="0"/>
          <a:ext cx="0" cy="0"/>
          <a:chOff x="0" y="0"/>
          <a:chExt cx="0" cy="0"/>
        </a:xfrm>
      </p:grpSpPr>
      <p:sp>
        <p:nvSpPr>
          <p:cNvPr id="16143" name="Google Shape;16143;p137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44" name="Google Shape;16144;p13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5" name="Google Shape;16145;p137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146" name="Google Shape;16146;p137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47" name="Google Shape;16147;p13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48" name="Google Shape;16148;p137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49" name="Google Shape;16149;p1376"/>
          <p:cNvGrpSpPr/>
          <p:nvPr/>
        </p:nvGrpSpPr>
        <p:grpSpPr>
          <a:xfrm>
            <a:off x="7191545" y="0"/>
            <a:ext cx="5000460" cy="1425988"/>
            <a:chOff x="7191545" y="0"/>
            <a:chExt cx="5000460" cy="1425988"/>
          </a:xfrm>
        </p:grpSpPr>
        <p:pic>
          <p:nvPicPr>
            <p:cNvPr id="16150" name="Google Shape;16150;p13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51" name="Google Shape;16151;p1376"/>
            <p:cNvGrpSpPr/>
            <p:nvPr/>
          </p:nvGrpSpPr>
          <p:grpSpPr>
            <a:xfrm>
              <a:off x="7191545" y="0"/>
              <a:ext cx="5000460" cy="1425988"/>
              <a:chOff x="7191545" y="0"/>
              <a:chExt cx="5000460" cy="1425988"/>
            </a:xfrm>
          </p:grpSpPr>
          <p:sp>
            <p:nvSpPr>
              <p:cNvPr id="16152" name="Google Shape;16152;p13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53" name="Google Shape;16153;p13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54" name="Google Shape;16154;p137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147459387"/>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matchingName="5_Quotation">
  <p:cSld name="8_Quotation">
    <p:spTree>
      <p:nvGrpSpPr>
        <p:cNvPr id="1" name="Shape 16155"/>
        <p:cNvGrpSpPr/>
        <p:nvPr/>
      </p:nvGrpSpPr>
      <p:grpSpPr>
        <a:xfrm>
          <a:off x="0" y="0"/>
          <a:ext cx="0" cy="0"/>
          <a:chOff x="0" y="0"/>
          <a:chExt cx="0" cy="0"/>
        </a:xfrm>
      </p:grpSpPr>
      <p:sp>
        <p:nvSpPr>
          <p:cNvPr id="16156" name="Google Shape;16156;p13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57" name="Google Shape;16157;p13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58" name="Google Shape;16158;p1377"/>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159" name="Google Shape;16159;p137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60" name="Google Shape;16160;p13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61" name="Google Shape;16161;p137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62" name="Google Shape;16162;p1377"/>
          <p:cNvGrpSpPr/>
          <p:nvPr/>
        </p:nvGrpSpPr>
        <p:grpSpPr>
          <a:xfrm>
            <a:off x="7191545" y="0"/>
            <a:ext cx="5000460" cy="1425988"/>
            <a:chOff x="7191545" y="0"/>
            <a:chExt cx="5000460" cy="1425988"/>
          </a:xfrm>
        </p:grpSpPr>
        <p:pic>
          <p:nvPicPr>
            <p:cNvPr id="16163" name="Google Shape;16163;p13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164" name="Google Shape;16164;p1377"/>
            <p:cNvGrpSpPr/>
            <p:nvPr/>
          </p:nvGrpSpPr>
          <p:grpSpPr>
            <a:xfrm>
              <a:off x="7191545" y="0"/>
              <a:ext cx="5000460" cy="1425988"/>
              <a:chOff x="7191545" y="0"/>
              <a:chExt cx="5000460" cy="1425988"/>
            </a:xfrm>
          </p:grpSpPr>
          <p:sp>
            <p:nvSpPr>
              <p:cNvPr id="16165" name="Google Shape;16165;p13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166" name="Google Shape;16166;p13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167" name="Google Shape;16167;p1377"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139203961"/>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matchingName="Photo Slide 4">
  <p:cSld name="1_Photo Slide 4">
    <p:spTree>
      <p:nvGrpSpPr>
        <p:cNvPr id="1" name="Shape 16184"/>
        <p:cNvGrpSpPr/>
        <p:nvPr/>
      </p:nvGrpSpPr>
      <p:grpSpPr>
        <a:xfrm>
          <a:off x="0" y="0"/>
          <a:ext cx="0" cy="0"/>
          <a:chOff x="0" y="0"/>
          <a:chExt cx="0" cy="0"/>
        </a:xfrm>
      </p:grpSpPr>
      <p:sp>
        <p:nvSpPr>
          <p:cNvPr id="16185" name="Google Shape;16185;p138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186" name="Google Shape;16186;p1380"/>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187" name="Google Shape;16187;p1380"/>
          <p:cNvGrpSpPr/>
          <p:nvPr/>
        </p:nvGrpSpPr>
        <p:grpSpPr>
          <a:xfrm>
            <a:off x="4" y="5379428"/>
            <a:ext cx="2807363" cy="753895"/>
            <a:chOff x="0" y="5379424"/>
            <a:chExt cx="2807363" cy="753895"/>
          </a:xfrm>
        </p:grpSpPr>
        <p:sp>
          <p:nvSpPr>
            <p:cNvPr id="16188" name="Google Shape;16188;p138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89" name="Google Shape;16189;p138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190" name="Google Shape;16190;p1380"/>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3602606065"/>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matchingName="Quotation 4">
  <p:cSld name="2_Quotation 4">
    <p:spTree>
      <p:nvGrpSpPr>
        <p:cNvPr id="1" name="Shape 16191"/>
        <p:cNvGrpSpPr/>
        <p:nvPr/>
      </p:nvGrpSpPr>
      <p:grpSpPr>
        <a:xfrm>
          <a:off x="0" y="0"/>
          <a:ext cx="0" cy="0"/>
          <a:chOff x="0" y="0"/>
          <a:chExt cx="0" cy="0"/>
        </a:xfrm>
      </p:grpSpPr>
      <p:sp>
        <p:nvSpPr>
          <p:cNvPr id="16192" name="Google Shape;16192;p138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193" name="Google Shape;16193;p138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94" name="Google Shape;16194;p1381"/>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195" name="Google Shape;16195;p138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196" name="Google Shape;16196;p1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197" name="Google Shape;16197;p138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98" name="Google Shape;16198;p1381"/>
          <p:cNvGrpSpPr/>
          <p:nvPr/>
        </p:nvGrpSpPr>
        <p:grpSpPr>
          <a:xfrm>
            <a:off x="7191545" y="0"/>
            <a:ext cx="5000460" cy="1425988"/>
            <a:chOff x="7191545" y="0"/>
            <a:chExt cx="5000460" cy="1425988"/>
          </a:xfrm>
        </p:grpSpPr>
        <p:pic>
          <p:nvPicPr>
            <p:cNvPr id="16199" name="Google Shape;16199;p1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00" name="Google Shape;16200;p1381"/>
            <p:cNvGrpSpPr/>
            <p:nvPr/>
          </p:nvGrpSpPr>
          <p:grpSpPr>
            <a:xfrm>
              <a:off x="7191545" y="0"/>
              <a:ext cx="5000460" cy="1425988"/>
              <a:chOff x="7191545" y="0"/>
              <a:chExt cx="5000460" cy="1425988"/>
            </a:xfrm>
          </p:grpSpPr>
          <p:sp>
            <p:nvSpPr>
              <p:cNvPr id="16201" name="Google Shape;16201;p1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02" name="Google Shape;16202;p1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03" name="Google Shape;16203;p1381"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769664500"/>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matchingName="1_Quotation 4">
  <p:cSld name="2_Quotation 4">
    <p:spTree>
      <p:nvGrpSpPr>
        <p:cNvPr id="1" name="Shape 16204"/>
        <p:cNvGrpSpPr/>
        <p:nvPr/>
      </p:nvGrpSpPr>
      <p:grpSpPr>
        <a:xfrm>
          <a:off x="0" y="0"/>
          <a:ext cx="0" cy="0"/>
          <a:chOff x="0" y="0"/>
          <a:chExt cx="0" cy="0"/>
        </a:xfrm>
      </p:grpSpPr>
      <p:sp>
        <p:nvSpPr>
          <p:cNvPr id="16205" name="Google Shape;16205;p13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06" name="Google Shape;16206;p13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7" name="Google Shape;16207;p1382"/>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08" name="Google Shape;16208;p138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09" name="Google Shape;16209;p13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10" name="Google Shape;16210;p138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11" name="Google Shape;16211;p1382"/>
          <p:cNvGrpSpPr/>
          <p:nvPr/>
        </p:nvGrpSpPr>
        <p:grpSpPr>
          <a:xfrm>
            <a:off x="7191545" y="0"/>
            <a:ext cx="5000460" cy="1425988"/>
            <a:chOff x="7191545" y="0"/>
            <a:chExt cx="5000460" cy="1425988"/>
          </a:xfrm>
        </p:grpSpPr>
        <p:pic>
          <p:nvPicPr>
            <p:cNvPr id="16212" name="Google Shape;16212;p13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13" name="Google Shape;16213;p1382"/>
            <p:cNvGrpSpPr/>
            <p:nvPr/>
          </p:nvGrpSpPr>
          <p:grpSpPr>
            <a:xfrm>
              <a:off x="7191545" y="0"/>
              <a:ext cx="5000460" cy="1425988"/>
              <a:chOff x="7191545" y="0"/>
              <a:chExt cx="5000460" cy="1425988"/>
            </a:xfrm>
          </p:grpSpPr>
          <p:sp>
            <p:nvSpPr>
              <p:cNvPr id="16214" name="Google Shape;16214;p13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15" name="Google Shape;16215;p13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16" name="Google Shape;16216;p1382"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583882312"/>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matchingName="Comparison 2">
  <p:cSld name="1_Comparison 2">
    <p:spTree>
      <p:nvGrpSpPr>
        <p:cNvPr id="1" name="Shape 16217"/>
        <p:cNvGrpSpPr/>
        <p:nvPr/>
      </p:nvGrpSpPr>
      <p:grpSpPr>
        <a:xfrm>
          <a:off x="0" y="0"/>
          <a:ext cx="0" cy="0"/>
          <a:chOff x="0" y="0"/>
          <a:chExt cx="0" cy="0"/>
        </a:xfrm>
      </p:grpSpPr>
      <p:grpSp>
        <p:nvGrpSpPr>
          <p:cNvPr id="16218" name="Google Shape;16218;p1383"/>
          <p:cNvGrpSpPr/>
          <p:nvPr/>
        </p:nvGrpSpPr>
        <p:grpSpPr>
          <a:xfrm>
            <a:off x="7191545" y="0"/>
            <a:ext cx="5000460" cy="1425988"/>
            <a:chOff x="7191545" y="0"/>
            <a:chExt cx="5000460" cy="1425988"/>
          </a:xfrm>
        </p:grpSpPr>
        <p:pic>
          <p:nvPicPr>
            <p:cNvPr id="16219" name="Google Shape;16219;p1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20" name="Google Shape;16220;p1383"/>
            <p:cNvGrpSpPr/>
            <p:nvPr/>
          </p:nvGrpSpPr>
          <p:grpSpPr>
            <a:xfrm>
              <a:off x="7191545" y="0"/>
              <a:ext cx="5000460" cy="1425988"/>
              <a:chOff x="7191545" y="0"/>
              <a:chExt cx="5000460" cy="1425988"/>
            </a:xfrm>
          </p:grpSpPr>
          <p:sp>
            <p:nvSpPr>
              <p:cNvPr id="16221" name="Google Shape;16221;p1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22" name="Google Shape;16222;p1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23" name="Google Shape;16223;p1383"/>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24" name="Google Shape;16224;p138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25" name="Google Shape;16225;p1383"/>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26" name="Google Shape;16226;p1383"/>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27" name="Google Shape;16227;p1383"/>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28" name="Google Shape;16228;p138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29" name="Google Shape;16229;p1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30" name="Google Shape;16230;p138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22516000"/>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matchingName="Photo Slide 5">
  <p:cSld name="2_Photo Slide 5">
    <p:spTree>
      <p:nvGrpSpPr>
        <p:cNvPr id="1" name="Shape 16257"/>
        <p:cNvGrpSpPr/>
        <p:nvPr/>
      </p:nvGrpSpPr>
      <p:grpSpPr>
        <a:xfrm>
          <a:off x="0" y="0"/>
          <a:ext cx="0" cy="0"/>
          <a:chOff x="0" y="0"/>
          <a:chExt cx="0" cy="0"/>
        </a:xfrm>
      </p:grpSpPr>
      <p:sp>
        <p:nvSpPr>
          <p:cNvPr id="16258" name="Google Shape;16258;p138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259" name="Google Shape;16259;p1387"/>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260" name="Google Shape;16260;p1387"/>
          <p:cNvGrpSpPr/>
          <p:nvPr/>
        </p:nvGrpSpPr>
        <p:grpSpPr>
          <a:xfrm>
            <a:off x="4" y="5379428"/>
            <a:ext cx="2807363" cy="753895"/>
            <a:chOff x="0" y="5379424"/>
            <a:chExt cx="2807363" cy="753895"/>
          </a:xfrm>
        </p:grpSpPr>
        <p:sp>
          <p:nvSpPr>
            <p:cNvPr id="16261" name="Google Shape;16261;p138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2" name="Google Shape;16262;p138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263" name="Google Shape;16263;p1387"/>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39367601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65"/>
        <p:cNvGrpSpPr/>
        <p:nvPr/>
      </p:nvGrpSpPr>
      <p:grpSpPr>
        <a:xfrm>
          <a:off x="0" y="0"/>
          <a:ext cx="0" cy="0"/>
          <a:chOff x="0" y="0"/>
          <a:chExt cx="0" cy="0"/>
        </a:xfrm>
      </p:grpSpPr>
      <p:sp>
        <p:nvSpPr>
          <p:cNvPr id="66" name="Google Shape;66;p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 name="Google Shape;67;p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 name="Google Shape;68;p7"/>
          <p:cNvGrpSpPr/>
          <p:nvPr/>
        </p:nvGrpSpPr>
        <p:grpSpPr>
          <a:xfrm>
            <a:off x="0" y="5379426"/>
            <a:ext cx="2807368" cy="753891"/>
            <a:chOff x="0" y="5379426"/>
            <a:chExt cx="2807368" cy="753891"/>
          </a:xfrm>
        </p:grpSpPr>
        <p:sp>
          <p:nvSpPr>
            <p:cNvPr id="69" name="Google Shape;69;p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 name="Google Shape;71;p7"/>
          <p:cNvSpPr>
            <a:spLocks noGrp="1"/>
          </p:cNvSpPr>
          <p:nvPr>
            <p:ph type="pic" idx="2"/>
          </p:nvPr>
        </p:nvSpPr>
        <p:spPr>
          <a:xfrm>
            <a:off x="2807368" y="457202"/>
            <a:ext cx="8915400" cy="5943598"/>
          </a:xfrm>
          <a:prstGeom prst="rect">
            <a:avLst/>
          </a:prstGeom>
          <a:noFill/>
          <a:ln>
            <a:noFill/>
          </a:ln>
        </p:spPr>
      </p:sp>
      <p:pic>
        <p:nvPicPr>
          <p:cNvPr id="72" name="Google Shape;72;p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matchingName="Quotation 5">
  <p:cSld name="2_Quotation 5">
    <p:spTree>
      <p:nvGrpSpPr>
        <p:cNvPr id="1" name="Shape 16264"/>
        <p:cNvGrpSpPr/>
        <p:nvPr/>
      </p:nvGrpSpPr>
      <p:grpSpPr>
        <a:xfrm>
          <a:off x="0" y="0"/>
          <a:ext cx="0" cy="0"/>
          <a:chOff x="0" y="0"/>
          <a:chExt cx="0" cy="0"/>
        </a:xfrm>
      </p:grpSpPr>
      <p:sp>
        <p:nvSpPr>
          <p:cNvPr id="16265" name="Google Shape;16265;p138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66" name="Google Shape;16266;p13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67" name="Google Shape;16267;p138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68" name="Google Shape;16268;p138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69" name="Google Shape;16269;p13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70" name="Google Shape;16270;p138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71" name="Google Shape;16271;p1388"/>
          <p:cNvGrpSpPr/>
          <p:nvPr/>
        </p:nvGrpSpPr>
        <p:grpSpPr>
          <a:xfrm>
            <a:off x="7191545" y="0"/>
            <a:ext cx="5000460" cy="1425988"/>
            <a:chOff x="7191545" y="0"/>
            <a:chExt cx="5000460" cy="1425988"/>
          </a:xfrm>
        </p:grpSpPr>
        <p:pic>
          <p:nvPicPr>
            <p:cNvPr id="16272" name="Google Shape;16272;p13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73" name="Google Shape;16273;p1388"/>
            <p:cNvGrpSpPr/>
            <p:nvPr/>
          </p:nvGrpSpPr>
          <p:grpSpPr>
            <a:xfrm>
              <a:off x="7191545" y="0"/>
              <a:ext cx="5000460" cy="1425988"/>
              <a:chOff x="7191545" y="0"/>
              <a:chExt cx="5000460" cy="1425988"/>
            </a:xfrm>
          </p:grpSpPr>
          <p:sp>
            <p:nvSpPr>
              <p:cNvPr id="16274" name="Google Shape;16274;p13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75" name="Google Shape;16275;p13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76" name="Google Shape;16276;p138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526956244"/>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matchingName="Quotation 6">
  <p:cSld name="2_Quotation 6">
    <p:spTree>
      <p:nvGrpSpPr>
        <p:cNvPr id="1" name="Shape 16277"/>
        <p:cNvGrpSpPr/>
        <p:nvPr/>
      </p:nvGrpSpPr>
      <p:grpSpPr>
        <a:xfrm>
          <a:off x="0" y="0"/>
          <a:ext cx="0" cy="0"/>
          <a:chOff x="0" y="0"/>
          <a:chExt cx="0" cy="0"/>
        </a:xfrm>
      </p:grpSpPr>
      <p:sp>
        <p:nvSpPr>
          <p:cNvPr id="16278" name="Google Shape;16278;p138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279" name="Google Shape;16279;p138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80" name="Google Shape;16280;p138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81" name="Google Shape;16281;p138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282" name="Google Shape;16282;p13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283" name="Google Shape;16283;p138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84" name="Google Shape;16284;p1389"/>
          <p:cNvGrpSpPr/>
          <p:nvPr/>
        </p:nvGrpSpPr>
        <p:grpSpPr>
          <a:xfrm>
            <a:off x="7191545" y="0"/>
            <a:ext cx="5000460" cy="1425988"/>
            <a:chOff x="7191545" y="0"/>
            <a:chExt cx="5000460" cy="1425988"/>
          </a:xfrm>
        </p:grpSpPr>
        <p:pic>
          <p:nvPicPr>
            <p:cNvPr id="16285" name="Google Shape;16285;p13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86" name="Google Shape;16286;p1389"/>
            <p:cNvGrpSpPr/>
            <p:nvPr/>
          </p:nvGrpSpPr>
          <p:grpSpPr>
            <a:xfrm>
              <a:off x="7191545" y="0"/>
              <a:ext cx="5000460" cy="1425988"/>
              <a:chOff x="7191545" y="0"/>
              <a:chExt cx="5000460" cy="1425988"/>
            </a:xfrm>
          </p:grpSpPr>
          <p:sp>
            <p:nvSpPr>
              <p:cNvPr id="16287" name="Google Shape;16287;p13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88" name="Google Shape;16288;p13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289" name="Google Shape;16289;p138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48440116"/>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matchingName="Two Content 4">
  <p:cSld name="2_Two Content 4">
    <p:spTree>
      <p:nvGrpSpPr>
        <p:cNvPr id="1" name="Shape 16290"/>
        <p:cNvGrpSpPr/>
        <p:nvPr/>
      </p:nvGrpSpPr>
      <p:grpSpPr>
        <a:xfrm>
          <a:off x="0" y="0"/>
          <a:ext cx="0" cy="0"/>
          <a:chOff x="0" y="0"/>
          <a:chExt cx="0" cy="0"/>
        </a:xfrm>
      </p:grpSpPr>
      <p:sp>
        <p:nvSpPr>
          <p:cNvPr id="16291" name="Google Shape;16291;p139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92" name="Google Shape;16292;p1390"/>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6293" name="Google Shape;16293;p1390"/>
          <p:cNvGrpSpPr/>
          <p:nvPr/>
        </p:nvGrpSpPr>
        <p:grpSpPr>
          <a:xfrm>
            <a:off x="7191545" y="0"/>
            <a:ext cx="5000460" cy="1425988"/>
            <a:chOff x="7191545" y="0"/>
            <a:chExt cx="5000460" cy="1425988"/>
          </a:xfrm>
        </p:grpSpPr>
        <p:pic>
          <p:nvPicPr>
            <p:cNvPr id="16294" name="Google Shape;16294;p1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295" name="Google Shape;16295;p1390"/>
            <p:cNvGrpSpPr/>
            <p:nvPr/>
          </p:nvGrpSpPr>
          <p:grpSpPr>
            <a:xfrm>
              <a:off x="7191545" y="0"/>
              <a:ext cx="5000460" cy="1425988"/>
              <a:chOff x="7191545" y="0"/>
              <a:chExt cx="5000460" cy="1425988"/>
            </a:xfrm>
          </p:grpSpPr>
          <p:sp>
            <p:nvSpPr>
              <p:cNvPr id="16296" name="Google Shape;16296;p1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297" name="Google Shape;16297;p1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298" name="Google Shape;16298;p1390"/>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299" name="Google Shape;16299;p1390"/>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00" name="Google Shape;16300;p1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01" name="Google Shape;16301;p139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4352710"/>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matchingName="Comparison 3">
  <p:cSld name="2_Comparison 3">
    <p:spTree>
      <p:nvGrpSpPr>
        <p:cNvPr id="1" name="Shape 16302"/>
        <p:cNvGrpSpPr/>
        <p:nvPr/>
      </p:nvGrpSpPr>
      <p:grpSpPr>
        <a:xfrm>
          <a:off x="0" y="0"/>
          <a:ext cx="0" cy="0"/>
          <a:chOff x="0" y="0"/>
          <a:chExt cx="0" cy="0"/>
        </a:xfrm>
      </p:grpSpPr>
      <p:grpSp>
        <p:nvGrpSpPr>
          <p:cNvPr id="16303" name="Google Shape;16303;p1391"/>
          <p:cNvGrpSpPr/>
          <p:nvPr/>
        </p:nvGrpSpPr>
        <p:grpSpPr>
          <a:xfrm>
            <a:off x="7191545" y="0"/>
            <a:ext cx="5000460" cy="1425988"/>
            <a:chOff x="7191545" y="0"/>
            <a:chExt cx="5000460" cy="1425988"/>
          </a:xfrm>
        </p:grpSpPr>
        <p:pic>
          <p:nvPicPr>
            <p:cNvPr id="16304" name="Google Shape;16304;p1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05" name="Google Shape;16305;p1391"/>
            <p:cNvGrpSpPr/>
            <p:nvPr/>
          </p:nvGrpSpPr>
          <p:grpSpPr>
            <a:xfrm>
              <a:off x="7191545" y="0"/>
              <a:ext cx="5000460" cy="1425988"/>
              <a:chOff x="7191545" y="0"/>
              <a:chExt cx="5000460" cy="1425988"/>
            </a:xfrm>
          </p:grpSpPr>
          <p:sp>
            <p:nvSpPr>
              <p:cNvPr id="16306" name="Google Shape;16306;p1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07" name="Google Shape;16307;p1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308" name="Google Shape;16308;p139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09" name="Google Shape;16309;p139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10" name="Google Shape;16310;p1391"/>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11" name="Google Shape;16311;p1391"/>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12" name="Google Shape;16312;p1391"/>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13" name="Google Shape;16313;p139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14" name="Google Shape;16314;p1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15" name="Google Shape;16315;p139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51631939"/>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matchingName="End 3">
  <p:cSld name="2_End 3">
    <p:spTree>
      <p:nvGrpSpPr>
        <p:cNvPr id="1" name="Shape 16326"/>
        <p:cNvGrpSpPr/>
        <p:nvPr/>
      </p:nvGrpSpPr>
      <p:grpSpPr>
        <a:xfrm>
          <a:off x="0" y="0"/>
          <a:ext cx="0" cy="0"/>
          <a:chOff x="0" y="0"/>
          <a:chExt cx="0" cy="0"/>
        </a:xfrm>
      </p:grpSpPr>
      <p:grpSp>
        <p:nvGrpSpPr>
          <p:cNvPr id="16327" name="Google Shape;16327;p1393"/>
          <p:cNvGrpSpPr/>
          <p:nvPr/>
        </p:nvGrpSpPr>
        <p:grpSpPr>
          <a:xfrm>
            <a:off x="0" y="0"/>
            <a:ext cx="12191996" cy="2148830"/>
            <a:chOff x="0" y="0"/>
            <a:chExt cx="12191996" cy="2148830"/>
          </a:xfrm>
        </p:grpSpPr>
        <p:sp>
          <p:nvSpPr>
            <p:cNvPr id="16328" name="Google Shape;16328;p13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29" name="Google Shape;16329;p13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330" name="Google Shape;16330;p1393"/>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31" name="Google Shape;16331;p1393"/>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32" name="Google Shape;16332;p139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333" name="Google Shape;16333;p13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916330474"/>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matchingName="1_Photo Slide 5">
  <p:cSld name="2_Photo Slide 5">
    <p:spTree>
      <p:nvGrpSpPr>
        <p:cNvPr id="1" name="Shape 16366"/>
        <p:cNvGrpSpPr/>
        <p:nvPr/>
      </p:nvGrpSpPr>
      <p:grpSpPr>
        <a:xfrm>
          <a:off x="0" y="0"/>
          <a:ext cx="0" cy="0"/>
          <a:chOff x="0" y="0"/>
          <a:chExt cx="0" cy="0"/>
        </a:xfrm>
      </p:grpSpPr>
      <p:sp>
        <p:nvSpPr>
          <p:cNvPr id="16367" name="Google Shape;16367;p139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368" name="Google Shape;16368;p1398"/>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369" name="Google Shape;16369;p1398"/>
          <p:cNvGrpSpPr/>
          <p:nvPr/>
        </p:nvGrpSpPr>
        <p:grpSpPr>
          <a:xfrm>
            <a:off x="4" y="5379428"/>
            <a:ext cx="2807363" cy="753895"/>
            <a:chOff x="0" y="5379424"/>
            <a:chExt cx="2807363" cy="753895"/>
          </a:xfrm>
        </p:grpSpPr>
        <p:sp>
          <p:nvSpPr>
            <p:cNvPr id="16370" name="Google Shape;16370;p139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1" name="Google Shape;16371;p139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372" name="Google Shape;16372;p1398"/>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4195389903"/>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matchingName="1_Quotation 5">
  <p:cSld name="2_Quotation 5">
    <p:spTree>
      <p:nvGrpSpPr>
        <p:cNvPr id="1" name="Shape 16373"/>
        <p:cNvGrpSpPr/>
        <p:nvPr/>
      </p:nvGrpSpPr>
      <p:grpSpPr>
        <a:xfrm>
          <a:off x="0" y="0"/>
          <a:ext cx="0" cy="0"/>
          <a:chOff x="0" y="0"/>
          <a:chExt cx="0" cy="0"/>
        </a:xfrm>
      </p:grpSpPr>
      <p:sp>
        <p:nvSpPr>
          <p:cNvPr id="16374" name="Google Shape;16374;p139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75" name="Google Shape;16375;p13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6" name="Google Shape;16376;p139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77" name="Google Shape;16377;p139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78" name="Google Shape;16378;p1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79" name="Google Shape;16379;p139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80" name="Google Shape;16380;p1399"/>
          <p:cNvGrpSpPr/>
          <p:nvPr/>
        </p:nvGrpSpPr>
        <p:grpSpPr>
          <a:xfrm>
            <a:off x="7191545" y="0"/>
            <a:ext cx="5000460" cy="1425988"/>
            <a:chOff x="7191545" y="0"/>
            <a:chExt cx="5000460" cy="1425988"/>
          </a:xfrm>
        </p:grpSpPr>
        <p:pic>
          <p:nvPicPr>
            <p:cNvPr id="16381" name="Google Shape;16381;p1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82" name="Google Shape;16382;p1399"/>
            <p:cNvGrpSpPr/>
            <p:nvPr/>
          </p:nvGrpSpPr>
          <p:grpSpPr>
            <a:xfrm>
              <a:off x="7191545" y="0"/>
              <a:ext cx="5000460" cy="1425988"/>
              <a:chOff x="7191545" y="0"/>
              <a:chExt cx="5000460" cy="1425988"/>
            </a:xfrm>
          </p:grpSpPr>
          <p:sp>
            <p:nvSpPr>
              <p:cNvPr id="16383" name="Google Shape;16383;p1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84" name="Google Shape;16384;p1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85" name="Google Shape;16385;p139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961389663"/>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matchingName="1_Quotation 6">
  <p:cSld name="2_Quotation 6">
    <p:spTree>
      <p:nvGrpSpPr>
        <p:cNvPr id="1" name="Shape 16386"/>
        <p:cNvGrpSpPr/>
        <p:nvPr/>
      </p:nvGrpSpPr>
      <p:grpSpPr>
        <a:xfrm>
          <a:off x="0" y="0"/>
          <a:ext cx="0" cy="0"/>
          <a:chOff x="0" y="0"/>
          <a:chExt cx="0" cy="0"/>
        </a:xfrm>
      </p:grpSpPr>
      <p:sp>
        <p:nvSpPr>
          <p:cNvPr id="16387" name="Google Shape;16387;p14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388" name="Google Shape;16388;p14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89" name="Google Shape;16389;p1400"/>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390" name="Google Shape;16390;p140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391" name="Google Shape;16391;p1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392" name="Google Shape;16392;p140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393" name="Google Shape;16393;p1400"/>
          <p:cNvGrpSpPr/>
          <p:nvPr/>
        </p:nvGrpSpPr>
        <p:grpSpPr>
          <a:xfrm>
            <a:off x="7191545" y="0"/>
            <a:ext cx="5000460" cy="1425988"/>
            <a:chOff x="7191545" y="0"/>
            <a:chExt cx="5000460" cy="1425988"/>
          </a:xfrm>
        </p:grpSpPr>
        <p:pic>
          <p:nvPicPr>
            <p:cNvPr id="16394" name="Google Shape;16394;p1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395" name="Google Shape;16395;p1400"/>
            <p:cNvGrpSpPr/>
            <p:nvPr/>
          </p:nvGrpSpPr>
          <p:grpSpPr>
            <a:xfrm>
              <a:off x="7191545" y="0"/>
              <a:ext cx="5000460" cy="1425988"/>
              <a:chOff x="7191545" y="0"/>
              <a:chExt cx="5000460" cy="1425988"/>
            </a:xfrm>
          </p:grpSpPr>
          <p:sp>
            <p:nvSpPr>
              <p:cNvPr id="16396" name="Google Shape;16396;p1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397" name="Google Shape;16397;p1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398" name="Google Shape;16398;p1400"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18007622"/>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matchingName="1_Two Content 4">
  <p:cSld name="2_Two Content 4">
    <p:spTree>
      <p:nvGrpSpPr>
        <p:cNvPr id="1" name="Shape 16399"/>
        <p:cNvGrpSpPr/>
        <p:nvPr/>
      </p:nvGrpSpPr>
      <p:grpSpPr>
        <a:xfrm>
          <a:off x="0" y="0"/>
          <a:ext cx="0" cy="0"/>
          <a:chOff x="0" y="0"/>
          <a:chExt cx="0" cy="0"/>
        </a:xfrm>
      </p:grpSpPr>
      <p:sp>
        <p:nvSpPr>
          <p:cNvPr id="16400" name="Google Shape;16400;p140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01" name="Google Shape;16401;p1401"/>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6402" name="Google Shape;16402;p1401"/>
          <p:cNvGrpSpPr/>
          <p:nvPr/>
        </p:nvGrpSpPr>
        <p:grpSpPr>
          <a:xfrm>
            <a:off x="7191545" y="0"/>
            <a:ext cx="5000460" cy="1425988"/>
            <a:chOff x="7191545" y="0"/>
            <a:chExt cx="5000460" cy="1425988"/>
          </a:xfrm>
        </p:grpSpPr>
        <p:pic>
          <p:nvPicPr>
            <p:cNvPr id="16403" name="Google Shape;16403;p1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04" name="Google Shape;16404;p1401"/>
            <p:cNvGrpSpPr/>
            <p:nvPr/>
          </p:nvGrpSpPr>
          <p:grpSpPr>
            <a:xfrm>
              <a:off x="7191545" y="0"/>
              <a:ext cx="5000460" cy="1425988"/>
              <a:chOff x="7191545" y="0"/>
              <a:chExt cx="5000460" cy="1425988"/>
            </a:xfrm>
          </p:grpSpPr>
          <p:sp>
            <p:nvSpPr>
              <p:cNvPr id="16405" name="Google Shape;16405;p1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06" name="Google Shape;16406;p1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07" name="Google Shape;16407;p1401"/>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08" name="Google Shape;16408;p1401"/>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09" name="Google Shape;16409;p1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10" name="Google Shape;16410;p140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3452491"/>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matchingName="1_Comparison 3">
  <p:cSld name="2_Comparison 3">
    <p:spTree>
      <p:nvGrpSpPr>
        <p:cNvPr id="1" name="Shape 16411"/>
        <p:cNvGrpSpPr/>
        <p:nvPr/>
      </p:nvGrpSpPr>
      <p:grpSpPr>
        <a:xfrm>
          <a:off x="0" y="0"/>
          <a:ext cx="0" cy="0"/>
          <a:chOff x="0" y="0"/>
          <a:chExt cx="0" cy="0"/>
        </a:xfrm>
      </p:grpSpPr>
      <p:grpSp>
        <p:nvGrpSpPr>
          <p:cNvPr id="16412" name="Google Shape;16412;p1402"/>
          <p:cNvGrpSpPr/>
          <p:nvPr/>
        </p:nvGrpSpPr>
        <p:grpSpPr>
          <a:xfrm>
            <a:off x="7191545" y="0"/>
            <a:ext cx="5000460" cy="1425988"/>
            <a:chOff x="7191545" y="0"/>
            <a:chExt cx="5000460" cy="1425988"/>
          </a:xfrm>
        </p:grpSpPr>
        <p:pic>
          <p:nvPicPr>
            <p:cNvPr id="16413" name="Google Shape;16413;p1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14" name="Google Shape;16414;p1402"/>
            <p:cNvGrpSpPr/>
            <p:nvPr/>
          </p:nvGrpSpPr>
          <p:grpSpPr>
            <a:xfrm>
              <a:off x="7191545" y="0"/>
              <a:ext cx="5000460" cy="1425988"/>
              <a:chOff x="7191545" y="0"/>
              <a:chExt cx="5000460" cy="1425988"/>
            </a:xfrm>
          </p:grpSpPr>
          <p:sp>
            <p:nvSpPr>
              <p:cNvPr id="16415" name="Google Shape;16415;p1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16" name="Google Shape;16416;p1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17" name="Google Shape;16417;p140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18" name="Google Shape;16418;p140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19" name="Google Shape;16419;p1402"/>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20" name="Google Shape;16420;p1402"/>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21" name="Google Shape;16421;p1402"/>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22" name="Google Shape;16422;p140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23" name="Google Shape;16423;p1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24" name="Google Shape;16424;p140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7979467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matchingName="1_End 3">
  <p:cSld name="2_End 3">
    <p:spTree>
      <p:nvGrpSpPr>
        <p:cNvPr id="1" name="Shape 16435"/>
        <p:cNvGrpSpPr/>
        <p:nvPr/>
      </p:nvGrpSpPr>
      <p:grpSpPr>
        <a:xfrm>
          <a:off x="0" y="0"/>
          <a:ext cx="0" cy="0"/>
          <a:chOff x="0" y="0"/>
          <a:chExt cx="0" cy="0"/>
        </a:xfrm>
      </p:grpSpPr>
      <p:grpSp>
        <p:nvGrpSpPr>
          <p:cNvPr id="16436" name="Google Shape;16436;p1404"/>
          <p:cNvGrpSpPr/>
          <p:nvPr/>
        </p:nvGrpSpPr>
        <p:grpSpPr>
          <a:xfrm>
            <a:off x="0" y="0"/>
            <a:ext cx="12191996" cy="2148830"/>
            <a:chOff x="0" y="0"/>
            <a:chExt cx="12191996" cy="2148830"/>
          </a:xfrm>
        </p:grpSpPr>
        <p:sp>
          <p:nvSpPr>
            <p:cNvPr id="16437" name="Google Shape;16437;p140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38" name="Google Shape;16438;p140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439" name="Google Shape;16439;p1404"/>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40" name="Google Shape;16440;p1404"/>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41" name="Google Shape;16441;p140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442" name="Google Shape;16442;p140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46698233"/>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matchingName="Photo Slide 6">
  <p:cSld name="1_Photo Slide 6">
    <p:spTree>
      <p:nvGrpSpPr>
        <p:cNvPr id="1" name="Shape 16460"/>
        <p:cNvGrpSpPr/>
        <p:nvPr/>
      </p:nvGrpSpPr>
      <p:grpSpPr>
        <a:xfrm>
          <a:off x="0" y="0"/>
          <a:ext cx="0" cy="0"/>
          <a:chOff x="0" y="0"/>
          <a:chExt cx="0" cy="0"/>
        </a:xfrm>
      </p:grpSpPr>
      <p:sp>
        <p:nvSpPr>
          <p:cNvPr id="16461" name="Google Shape;16461;p140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462" name="Google Shape;16462;p1407"/>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463" name="Google Shape;16463;p1407"/>
          <p:cNvGrpSpPr/>
          <p:nvPr/>
        </p:nvGrpSpPr>
        <p:grpSpPr>
          <a:xfrm>
            <a:off x="4" y="5379428"/>
            <a:ext cx="2807363" cy="753895"/>
            <a:chOff x="0" y="5379424"/>
            <a:chExt cx="2807363" cy="753895"/>
          </a:xfrm>
        </p:grpSpPr>
        <p:sp>
          <p:nvSpPr>
            <p:cNvPr id="16464" name="Google Shape;16464;p140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465" name="Google Shape;16465;p140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466" name="Google Shape;16466;p1407"/>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2878175148"/>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matchingName="Title and Content 9">
  <p:cSld name="1_Title and Content 9">
    <p:spTree>
      <p:nvGrpSpPr>
        <p:cNvPr id="1" name="Shape 16475"/>
        <p:cNvGrpSpPr/>
        <p:nvPr/>
      </p:nvGrpSpPr>
      <p:grpSpPr>
        <a:xfrm>
          <a:off x="0" y="0"/>
          <a:ext cx="0" cy="0"/>
          <a:chOff x="0" y="0"/>
          <a:chExt cx="0" cy="0"/>
        </a:xfrm>
      </p:grpSpPr>
      <p:grpSp>
        <p:nvGrpSpPr>
          <p:cNvPr id="16476" name="Google Shape;16476;p1409"/>
          <p:cNvGrpSpPr/>
          <p:nvPr/>
        </p:nvGrpSpPr>
        <p:grpSpPr>
          <a:xfrm>
            <a:off x="7191545" y="0"/>
            <a:ext cx="5000460" cy="1425988"/>
            <a:chOff x="7191545" y="0"/>
            <a:chExt cx="5000460" cy="1425988"/>
          </a:xfrm>
        </p:grpSpPr>
        <p:pic>
          <p:nvPicPr>
            <p:cNvPr id="16477" name="Google Shape;16477;p1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78" name="Google Shape;16478;p1409"/>
            <p:cNvGrpSpPr/>
            <p:nvPr/>
          </p:nvGrpSpPr>
          <p:grpSpPr>
            <a:xfrm>
              <a:off x="7191545" y="0"/>
              <a:ext cx="5000460" cy="1425988"/>
              <a:chOff x="7191545" y="0"/>
              <a:chExt cx="5000460" cy="1425988"/>
            </a:xfrm>
          </p:grpSpPr>
          <p:sp>
            <p:nvSpPr>
              <p:cNvPr id="16479" name="Google Shape;16479;p1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80" name="Google Shape;16480;p1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81" name="Google Shape;16481;p140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2" name="Google Shape;16482;p140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83" name="Google Shape;16483;p140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84" name="Google Shape;16484;p1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85" name="Google Shape;16485;p140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38510561"/>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matchingName="Two Content 5">
  <p:cSld name="1_Two Content 5">
    <p:spTree>
      <p:nvGrpSpPr>
        <p:cNvPr id="1" name="Shape 16486"/>
        <p:cNvGrpSpPr/>
        <p:nvPr/>
      </p:nvGrpSpPr>
      <p:grpSpPr>
        <a:xfrm>
          <a:off x="0" y="0"/>
          <a:ext cx="0" cy="0"/>
          <a:chOff x="0" y="0"/>
          <a:chExt cx="0" cy="0"/>
        </a:xfrm>
      </p:grpSpPr>
      <p:sp>
        <p:nvSpPr>
          <p:cNvPr id="16487" name="Google Shape;16487;p141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88" name="Google Shape;16488;p1410"/>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6489" name="Google Shape;16489;p1410"/>
          <p:cNvGrpSpPr/>
          <p:nvPr/>
        </p:nvGrpSpPr>
        <p:grpSpPr>
          <a:xfrm>
            <a:off x="7191545" y="0"/>
            <a:ext cx="5000460" cy="1425988"/>
            <a:chOff x="7191545" y="0"/>
            <a:chExt cx="5000460" cy="1425988"/>
          </a:xfrm>
        </p:grpSpPr>
        <p:pic>
          <p:nvPicPr>
            <p:cNvPr id="16490" name="Google Shape;16490;p1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491" name="Google Shape;16491;p1410"/>
            <p:cNvGrpSpPr/>
            <p:nvPr/>
          </p:nvGrpSpPr>
          <p:grpSpPr>
            <a:xfrm>
              <a:off x="7191545" y="0"/>
              <a:ext cx="5000460" cy="1425988"/>
              <a:chOff x="7191545" y="0"/>
              <a:chExt cx="5000460" cy="1425988"/>
            </a:xfrm>
          </p:grpSpPr>
          <p:sp>
            <p:nvSpPr>
              <p:cNvPr id="16492" name="Google Shape;16492;p1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493" name="Google Shape;16493;p1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494" name="Google Shape;16494;p1410"/>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495" name="Google Shape;16495;p1410"/>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496" name="Google Shape;16496;p1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497" name="Google Shape;16497;p141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37546624"/>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matchingName="Comparison 4">
  <p:cSld name="1_Comparison 4">
    <p:spTree>
      <p:nvGrpSpPr>
        <p:cNvPr id="1" name="Shape 16498"/>
        <p:cNvGrpSpPr/>
        <p:nvPr/>
      </p:nvGrpSpPr>
      <p:grpSpPr>
        <a:xfrm>
          <a:off x="0" y="0"/>
          <a:ext cx="0" cy="0"/>
          <a:chOff x="0" y="0"/>
          <a:chExt cx="0" cy="0"/>
        </a:xfrm>
      </p:grpSpPr>
      <p:grpSp>
        <p:nvGrpSpPr>
          <p:cNvPr id="16499" name="Google Shape;16499;p1411"/>
          <p:cNvGrpSpPr/>
          <p:nvPr/>
        </p:nvGrpSpPr>
        <p:grpSpPr>
          <a:xfrm>
            <a:off x="7191545" y="0"/>
            <a:ext cx="5000460" cy="1425988"/>
            <a:chOff x="7191545" y="0"/>
            <a:chExt cx="5000460" cy="1425988"/>
          </a:xfrm>
        </p:grpSpPr>
        <p:pic>
          <p:nvPicPr>
            <p:cNvPr id="16500" name="Google Shape;16500;p1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01" name="Google Shape;16501;p1411"/>
            <p:cNvGrpSpPr/>
            <p:nvPr/>
          </p:nvGrpSpPr>
          <p:grpSpPr>
            <a:xfrm>
              <a:off x="7191545" y="0"/>
              <a:ext cx="5000460" cy="1425988"/>
              <a:chOff x="7191545" y="0"/>
              <a:chExt cx="5000460" cy="1425988"/>
            </a:xfrm>
          </p:grpSpPr>
          <p:sp>
            <p:nvSpPr>
              <p:cNvPr id="16502" name="Google Shape;16502;p1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03" name="Google Shape;16503;p1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504" name="Google Shape;16504;p141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05" name="Google Shape;16505;p141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06" name="Google Shape;16506;p1411"/>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07" name="Google Shape;16507;p1411"/>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08" name="Google Shape;16508;p1411"/>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09" name="Google Shape;16509;p141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0" name="Google Shape;16510;p1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1" name="Google Shape;16511;p141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16806033"/>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matchingName="Quotation 7">
  <p:cSld name="2_Quotation 7">
    <p:spTree>
      <p:nvGrpSpPr>
        <p:cNvPr id="1" name="Shape 16512"/>
        <p:cNvGrpSpPr/>
        <p:nvPr/>
      </p:nvGrpSpPr>
      <p:grpSpPr>
        <a:xfrm>
          <a:off x="0" y="0"/>
          <a:ext cx="0" cy="0"/>
          <a:chOff x="0" y="0"/>
          <a:chExt cx="0" cy="0"/>
        </a:xfrm>
      </p:grpSpPr>
      <p:sp>
        <p:nvSpPr>
          <p:cNvPr id="16513" name="Google Shape;16513;p141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14" name="Google Shape;16514;p14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5" name="Google Shape;16515;p1412"/>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16" name="Google Shape;16516;p141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17" name="Google Shape;16517;p1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18" name="Google Shape;16518;p141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19" name="Google Shape;16519;p1412"/>
          <p:cNvGrpSpPr/>
          <p:nvPr/>
        </p:nvGrpSpPr>
        <p:grpSpPr>
          <a:xfrm>
            <a:off x="7191545" y="0"/>
            <a:ext cx="5000460" cy="1425988"/>
            <a:chOff x="7191545" y="0"/>
            <a:chExt cx="5000460" cy="1425988"/>
          </a:xfrm>
        </p:grpSpPr>
        <p:pic>
          <p:nvPicPr>
            <p:cNvPr id="16520" name="Google Shape;16520;p1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21" name="Google Shape;16521;p1412"/>
            <p:cNvGrpSpPr/>
            <p:nvPr/>
          </p:nvGrpSpPr>
          <p:grpSpPr>
            <a:xfrm>
              <a:off x="7191545" y="0"/>
              <a:ext cx="5000460" cy="1425988"/>
              <a:chOff x="7191545" y="0"/>
              <a:chExt cx="5000460" cy="1425988"/>
            </a:xfrm>
          </p:grpSpPr>
          <p:sp>
            <p:nvSpPr>
              <p:cNvPr id="16522" name="Google Shape;16522;p1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23" name="Google Shape;16523;p1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24" name="Google Shape;16524;p1412"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298269246"/>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matchingName="1_Quotation 7">
  <p:cSld name="2_Quotation 7">
    <p:spTree>
      <p:nvGrpSpPr>
        <p:cNvPr id="1" name="Shape 16525"/>
        <p:cNvGrpSpPr/>
        <p:nvPr/>
      </p:nvGrpSpPr>
      <p:grpSpPr>
        <a:xfrm>
          <a:off x="0" y="0"/>
          <a:ext cx="0" cy="0"/>
          <a:chOff x="0" y="0"/>
          <a:chExt cx="0" cy="0"/>
        </a:xfrm>
      </p:grpSpPr>
      <p:sp>
        <p:nvSpPr>
          <p:cNvPr id="16526" name="Google Shape;16526;p141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27" name="Google Shape;16527;p141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28" name="Google Shape;16528;p1413"/>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29" name="Google Shape;16529;p141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30" name="Google Shape;16530;p1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31" name="Google Shape;16531;p141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32" name="Google Shape;16532;p1413"/>
          <p:cNvGrpSpPr/>
          <p:nvPr/>
        </p:nvGrpSpPr>
        <p:grpSpPr>
          <a:xfrm>
            <a:off x="7191545" y="0"/>
            <a:ext cx="5000460" cy="1425988"/>
            <a:chOff x="7191545" y="0"/>
            <a:chExt cx="5000460" cy="1425988"/>
          </a:xfrm>
        </p:grpSpPr>
        <p:pic>
          <p:nvPicPr>
            <p:cNvPr id="16533" name="Google Shape;16533;p1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34" name="Google Shape;16534;p1413"/>
            <p:cNvGrpSpPr/>
            <p:nvPr/>
          </p:nvGrpSpPr>
          <p:grpSpPr>
            <a:xfrm>
              <a:off x="7191545" y="0"/>
              <a:ext cx="5000460" cy="1425988"/>
              <a:chOff x="7191545" y="0"/>
              <a:chExt cx="5000460" cy="1425988"/>
            </a:xfrm>
          </p:grpSpPr>
          <p:sp>
            <p:nvSpPr>
              <p:cNvPr id="16535" name="Google Shape;16535;p1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36" name="Google Shape;16536;p1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37" name="Google Shape;16537;p1413"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06017226"/>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matchingName="End 4">
  <p:cSld name="1_End 4">
    <p:spTree>
      <p:nvGrpSpPr>
        <p:cNvPr id="1" name="Shape 16538"/>
        <p:cNvGrpSpPr/>
        <p:nvPr/>
      </p:nvGrpSpPr>
      <p:grpSpPr>
        <a:xfrm>
          <a:off x="0" y="0"/>
          <a:ext cx="0" cy="0"/>
          <a:chOff x="0" y="0"/>
          <a:chExt cx="0" cy="0"/>
        </a:xfrm>
      </p:grpSpPr>
      <p:grpSp>
        <p:nvGrpSpPr>
          <p:cNvPr id="16539" name="Google Shape;16539;p1414"/>
          <p:cNvGrpSpPr/>
          <p:nvPr/>
        </p:nvGrpSpPr>
        <p:grpSpPr>
          <a:xfrm>
            <a:off x="0" y="0"/>
            <a:ext cx="12191996" cy="2148830"/>
            <a:chOff x="0" y="0"/>
            <a:chExt cx="12191996" cy="2148830"/>
          </a:xfrm>
        </p:grpSpPr>
        <p:sp>
          <p:nvSpPr>
            <p:cNvPr id="16540" name="Google Shape;16540;p1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41" name="Google Shape;16541;p1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42" name="Google Shape;16542;p1414"/>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43" name="Google Shape;16543;p1414"/>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44" name="Google Shape;16544;p141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45" name="Google Shape;16545;p1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79340097"/>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matchingName="End 5">
  <p:cSld name="1_End 5">
    <p:spTree>
      <p:nvGrpSpPr>
        <p:cNvPr id="1" name="Shape 16556"/>
        <p:cNvGrpSpPr/>
        <p:nvPr/>
      </p:nvGrpSpPr>
      <p:grpSpPr>
        <a:xfrm>
          <a:off x="0" y="0"/>
          <a:ext cx="0" cy="0"/>
          <a:chOff x="0" y="0"/>
          <a:chExt cx="0" cy="0"/>
        </a:xfrm>
      </p:grpSpPr>
      <p:grpSp>
        <p:nvGrpSpPr>
          <p:cNvPr id="16557" name="Google Shape;16557;p1416"/>
          <p:cNvGrpSpPr/>
          <p:nvPr/>
        </p:nvGrpSpPr>
        <p:grpSpPr>
          <a:xfrm>
            <a:off x="0" y="0"/>
            <a:ext cx="12191996" cy="2148830"/>
            <a:chOff x="0" y="0"/>
            <a:chExt cx="12191996" cy="2148830"/>
          </a:xfrm>
        </p:grpSpPr>
        <p:sp>
          <p:nvSpPr>
            <p:cNvPr id="16558" name="Google Shape;16558;p141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59" name="Google Shape;16559;p141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560" name="Google Shape;16560;p1416"/>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61" name="Google Shape;16561;p1416"/>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62" name="Google Shape;16562;p141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563" name="Google Shape;16563;p141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29013096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matchingName="Quotation 8">
  <p:cSld name="2_Quotation 8">
    <p:spTree>
      <p:nvGrpSpPr>
        <p:cNvPr id="1" name="Shape 16573"/>
        <p:cNvGrpSpPr/>
        <p:nvPr/>
      </p:nvGrpSpPr>
      <p:grpSpPr>
        <a:xfrm>
          <a:off x="0" y="0"/>
          <a:ext cx="0" cy="0"/>
          <a:chOff x="0" y="0"/>
          <a:chExt cx="0" cy="0"/>
        </a:xfrm>
      </p:grpSpPr>
      <p:sp>
        <p:nvSpPr>
          <p:cNvPr id="16574" name="Google Shape;16574;p141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75" name="Google Shape;16575;p141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76" name="Google Shape;16576;p141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77" name="Google Shape;16577;p141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78" name="Google Shape;16578;p141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79" name="Google Shape;16579;p141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80" name="Google Shape;16580;p1418"/>
          <p:cNvGrpSpPr/>
          <p:nvPr/>
        </p:nvGrpSpPr>
        <p:grpSpPr>
          <a:xfrm>
            <a:off x="7191545" y="0"/>
            <a:ext cx="5000460" cy="1425988"/>
            <a:chOff x="7191545" y="0"/>
            <a:chExt cx="5000460" cy="1425988"/>
          </a:xfrm>
        </p:grpSpPr>
        <p:pic>
          <p:nvPicPr>
            <p:cNvPr id="16581" name="Google Shape;16581;p141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82" name="Google Shape;16582;p1418"/>
            <p:cNvGrpSpPr/>
            <p:nvPr/>
          </p:nvGrpSpPr>
          <p:grpSpPr>
            <a:xfrm>
              <a:off x="7191545" y="0"/>
              <a:ext cx="5000460" cy="1425988"/>
              <a:chOff x="7191545" y="0"/>
              <a:chExt cx="5000460" cy="1425988"/>
            </a:xfrm>
          </p:grpSpPr>
          <p:sp>
            <p:nvSpPr>
              <p:cNvPr id="16583" name="Google Shape;16583;p141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84" name="Google Shape;16584;p141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85" name="Google Shape;16585;p141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637775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matchingName="1_Quotation 8">
  <p:cSld name="2_Quotation 8">
    <p:spTree>
      <p:nvGrpSpPr>
        <p:cNvPr id="1" name="Shape 16586"/>
        <p:cNvGrpSpPr/>
        <p:nvPr/>
      </p:nvGrpSpPr>
      <p:grpSpPr>
        <a:xfrm>
          <a:off x="0" y="0"/>
          <a:ext cx="0" cy="0"/>
          <a:chOff x="0" y="0"/>
          <a:chExt cx="0" cy="0"/>
        </a:xfrm>
      </p:grpSpPr>
      <p:sp>
        <p:nvSpPr>
          <p:cNvPr id="16587" name="Google Shape;16587;p141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588" name="Google Shape;16588;p141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89" name="Google Shape;16589;p141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590" name="Google Shape;16590;p141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591" name="Google Shape;16591;p141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592" name="Google Shape;16592;p141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93" name="Google Shape;16593;p1419"/>
          <p:cNvGrpSpPr/>
          <p:nvPr/>
        </p:nvGrpSpPr>
        <p:grpSpPr>
          <a:xfrm>
            <a:off x="7191545" y="0"/>
            <a:ext cx="5000460" cy="1425988"/>
            <a:chOff x="7191545" y="0"/>
            <a:chExt cx="5000460" cy="1425988"/>
          </a:xfrm>
        </p:grpSpPr>
        <p:pic>
          <p:nvPicPr>
            <p:cNvPr id="16594" name="Google Shape;16594;p141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595" name="Google Shape;16595;p1419"/>
            <p:cNvGrpSpPr/>
            <p:nvPr/>
          </p:nvGrpSpPr>
          <p:grpSpPr>
            <a:xfrm>
              <a:off x="7191545" y="0"/>
              <a:ext cx="5000460" cy="1425988"/>
              <a:chOff x="7191545" y="0"/>
              <a:chExt cx="5000460" cy="1425988"/>
            </a:xfrm>
          </p:grpSpPr>
          <p:sp>
            <p:nvSpPr>
              <p:cNvPr id="16596" name="Google Shape;16596;p141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597" name="Google Shape;16597;p141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598" name="Google Shape;16598;p141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971956210"/>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matchingName="Photo Slide 7">
  <p:cSld name="1_Photo Slide 7">
    <p:spTree>
      <p:nvGrpSpPr>
        <p:cNvPr id="1" name="Shape 16615"/>
        <p:cNvGrpSpPr/>
        <p:nvPr/>
      </p:nvGrpSpPr>
      <p:grpSpPr>
        <a:xfrm>
          <a:off x="0" y="0"/>
          <a:ext cx="0" cy="0"/>
          <a:chOff x="0" y="0"/>
          <a:chExt cx="0" cy="0"/>
        </a:xfrm>
      </p:grpSpPr>
      <p:sp>
        <p:nvSpPr>
          <p:cNvPr id="16616" name="Google Shape;16616;p142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617" name="Google Shape;16617;p1422"/>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618" name="Google Shape;16618;p1422"/>
          <p:cNvGrpSpPr/>
          <p:nvPr/>
        </p:nvGrpSpPr>
        <p:grpSpPr>
          <a:xfrm>
            <a:off x="4" y="5379428"/>
            <a:ext cx="2807363" cy="753895"/>
            <a:chOff x="0" y="5379424"/>
            <a:chExt cx="2807363" cy="753895"/>
          </a:xfrm>
        </p:grpSpPr>
        <p:sp>
          <p:nvSpPr>
            <p:cNvPr id="16619" name="Google Shape;16619;p142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0" name="Google Shape;16620;p142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621" name="Google Shape;16621;p1422"/>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4066021309"/>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matchingName="Quotation 9">
  <p:cSld name="2_Quotation 9">
    <p:spTree>
      <p:nvGrpSpPr>
        <p:cNvPr id="1" name="Shape 16622"/>
        <p:cNvGrpSpPr/>
        <p:nvPr/>
      </p:nvGrpSpPr>
      <p:grpSpPr>
        <a:xfrm>
          <a:off x="0" y="0"/>
          <a:ext cx="0" cy="0"/>
          <a:chOff x="0" y="0"/>
          <a:chExt cx="0" cy="0"/>
        </a:xfrm>
      </p:grpSpPr>
      <p:sp>
        <p:nvSpPr>
          <p:cNvPr id="16623" name="Google Shape;16623;p142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24" name="Google Shape;16624;p14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25" name="Google Shape;16625;p1423"/>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626" name="Google Shape;16626;p142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27" name="Google Shape;16627;p1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28" name="Google Shape;16628;p142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29" name="Google Shape;16629;p1423"/>
          <p:cNvGrpSpPr/>
          <p:nvPr/>
        </p:nvGrpSpPr>
        <p:grpSpPr>
          <a:xfrm>
            <a:off x="7191545" y="0"/>
            <a:ext cx="5000460" cy="1425988"/>
            <a:chOff x="7191545" y="0"/>
            <a:chExt cx="5000460" cy="1425988"/>
          </a:xfrm>
        </p:grpSpPr>
        <p:pic>
          <p:nvPicPr>
            <p:cNvPr id="16630" name="Google Shape;16630;p1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31" name="Google Shape;16631;p1423"/>
            <p:cNvGrpSpPr/>
            <p:nvPr/>
          </p:nvGrpSpPr>
          <p:grpSpPr>
            <a:xfrm>
              <a:off x="7191545" y="0"/>
              <a:ext cx="5000460" cy="1425988"/>
              <a:chOff x="7191545" y="0"/>
              <a:chExt cx="5000460" cy="1425988"/>
            </a:xfrm>
          </p:grpSpPr>
          <p:sp>
            <p:nvSpPr>
              <p:cNvPr id="16632" name="Google Shape;16632;p1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33" name="Google Shape;16633;p1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34" name="Google Shape;16634;p1423"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520731453"/>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matchingName="Quotation 10">
  <p:cSld name="2_Quotation 10">
    <p:spTree>
      <p:nvGrpSpPr>
        <p:cNvPr id="1" name="Shape 16635"/>
        <p:cNvGrpSpPr/>
        <p:nvPr/>
      </p:nvGrpSpPr>
      <p:grpSpPr>
        <a:xfrm>
          <a:off x="0" y="0"/>
          <a:ext cx="0" cy="0"/>
          <a:chOff x="0" y="0"/>
          <a:chExt cx="0" cy="0"/>
        </a:xfrm>
      </p:grpSpPr>
      <p:sp>
        <p:nvSpPr>
          <p:cNvPr id="16636" name="Google Shape;16636;p142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37" name="Google Shape;16637;p142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38" name="Google Shape;16638;p1424"/>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639" name="Google Shape;16639;p142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40" name="Google Shape;16640;p1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41" name="Google Shape;16641;p142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42" name="Google Shape;16642;p1424"/>
          <p:cNvGrpSpPr/>
          <p:nvPr/>
        </p:nvGrpSpPr>
        <p:grpSpPr>
          <a:xfrm>
            <a:off x="7191545" y="0"/>
            <a:ext cx="5000460" cy="1425988"/>
            <a:chOff x="7191545" y="0"/>
            <a:chExt cx="5000460" cy="1425988"/>
          </a:xfrm>
        </p:grpSpPr>
        <p:pic>
          <p:nvPicPr>
            <p:cNvPr id="16643" name="Google Shape;16643;p1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44" name="Google Shape;16644;p1424"/>
            <p:cNvGrpSpPr/>
            <p:nvPr/>
          </p:nvGrpSpPr>
          <p:grpSpPr>
            <a:xfrm>
              <a:off x="7191545" y="0"/>
              <a:ext cx="5000460" cy="1425988"/>
              <a:chOff x="7191545" y="0"/>
              <a:chExt cx="5000460" cy="1425988"/>
            </a:xfrm>
          </p:grpSpPr>
          <p:sp>
            <p:nvSpPr>
              <p:cNvPr id="16645" name="Google Shape;16645;p1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46" name="Google Shape;16646;p1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47" name="Google Shape;16647;p1424"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526012076"/>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matchingName="1_Quotation 9">
  <p:cSld name="2_Quotation 9">
    <p:spTree>
      <p:nvGrpSpPr>
        <p:cNvPr id="1" name="Shape 16648"/>
        <p:cNvGrpSpPr/>
        <p:nvPr/>
      </p:nvGrpSpPr>
      <p:grpSpPr>
        <a:xfrm>
          <a:off x="0" y="0"/>
          <a:ext cx="0" cy="0"/>
          <a:chOff x="0" y="0"/>
          <a:chExt cx="0" cy="0"/>
        </a:xfrm>
      </p:grpSpPr>
      <p:sp>
        <p:nvSpPr>
          <p:cNvPr id="16649" name="Google Shape;16649;p14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50" name="Google Shape;16650;p14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51" name="Google Shape;16651;p142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652" name="Google Shape;16652;p142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53" name="Google Shape;16653;p14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54" name="Google Shape;16654;p142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55" name="Google Shape;16655;p1425"/>
          <p:cNvGrpSpPr/>
          <p:nvPr/>
        </p:nvGrpSpPr>
        <p:grpSpPr>
          <a:xfrm>
            <a:off x="7191545" y="0"/>
            <a:ext cx="5000460" cy="1425988"/>
            <a:chOff x="7191545" y="0"/>
            <a:chExt cx="5000460" cy="1425988"/>
          </a:xfrm>
        </p:grpSpPr>
        <p:pic>
          <p:nvPicPr>
            <p:cNvPr id="16656" name="Google Shape;16656;p14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57" name="Google Shape;16657;p1425"/>
            <p:cNvGrpSpPr/>
            <p:nvPr/>
          </p:nvGrpSpPr>
          <p:grpSpPr>
            <a:xfrm>
              <a:off x="7191545" y="0"/>
              <a:ext cx="5000460" cy="1425988"/>
              <a:chOff x="7191545" y="0"/>
              <a:chExt cx="5000460" cy="1425988"/>
            </a:xfrm>
          </p:grpSpPr>
          <p:sp>
            <p:nvSpPr>
              <p:cNvPr id="16658" name="Google Shape;16658;p14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59" name="Google Shape;16659;p14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60" name="Google Shape;16660;p142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438992603"/>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matchingName="1_Quotation 10">
  <p:cSld name="2_Quotation 10">
    <p:spTree>
      <p:nvGrpSpPr>
        <p:cNvPr id="1" name="Shape 16661"/>
        <p:cNvGrpSpPr/>
        <p:nvPr/>
      </p:nvGrpSpPr>
      <p:grpSpPr>
        <a:xfrm>
          <a:off x="0" y="0"/>
          <a:ext cx="0" cy="0"/>
          <a:chOff x="0" y="0"/>
          <a:chExt cx="0" cy="0"/>
        </a:xfrm>
      </p:grpSpPr>
      <p:sp>
        <p:nvSpPr>
          <p:cNvPr id="16662" name="Google Shape;16662;p14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663" name="Google Shape;16663;p1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64" name="Google Shape;16664;p142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665" name="Google Shape;16665;p142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66" name="Google Shape;16666;p1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67" name="Google Shape;16667;p142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68" name="Google Shape;16668;p1426"/>
          <p:cNvGrpSpPr/>
          <p:nvPr/>
        </p:nvGrpSpPr>
        <p:grpSpPr>
          <a:xfrm>
            <a:off x="7191545" y="0"/>
            <a:ext cx="5000460" cy="1425988"/>
            <a:chOff x="7191545" y="0"/>
            <a:chExt cx="5000460" cy="1425988"/>
          </a:xfrm>
        </p:grpSpPr>
        <p:pic>
          <p:nvPicPr>
            <p:cNvPr id="16669" name="Google Shape;16669;p1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0" name="Google Shape;16670;p1426"/>
            <p:cNvGrpSpPr/>
            <p:nvPr/>
          </p:nvGrpSpPr>
          <p:grpSpPr>
            <a:xfrm>
              <a:off x="7191545" y="0"/>
              <a:ext cx="5000460" cy="1425988"/>
              <a:chOff x="7191545" y="0"/>
              <a:chExt cx="5000460" cy="1425988"/>
            </a:xfrm>
          </p:grpSpPr>
          <p:sp>
            <p:nvSpPr>
              <p:cNvPr id="16671" name="Google Shape;16671;p1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2" name="Google Shape;16672;p1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673" name="Google Shape;16673;p142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518393194"/>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matchingName="Title and Content 10">
  <p:cSld name="1_Title and Content 10">
    <p:spTree>
      <p:nvGrpSpPr>
        <p:cNvPr id="1" name="Shape 16674"/>
        <p:cNvGrpSpPr/>
        <p:nvPr/>
      </p:nvGrpSpPr>
      <p:grpSpPr>
        <a:xfrm>
          <a:off x="0" y="0"/>
          <a:ext cx="0" cy="0"/>
          <a:chOff x="0" y="0"/>
          <a:chExt cx="0" cy="0"/>
        </a:xfrm>
      </p:grpSpPr>
      <p:grpSp>
        <p:nvGrpSpPr>
          <p:cNvPr id="16675" name="Google Shape;16675;p1427"/>
          <p:cNvGrpSpPr/>
          <p:nvPr/>
        </p:nvGrpSpPr>
        <p:grpSpPr>
          <a:xfrm>
            <a:off x="7191545" y="0"/>
            <a:ext cx="5000460" cy="1425988"/>
            <a:chOff x="7191545" y="0"/>
            <a:chExt cx="5000460" cy="1425988"/>
          </a:xfrm>
        </p:grpSpPr>
        <p:pic>
          <p:nvPicPr>
            <p:cNvPr id="16676" name="Google Shape;16676;p1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77" name="Google Shape;16677;p1427"/>
            <p:cNvGrpSpPr/>
            <p:nvPr/>
          </p:nvGrpSpPr>
          <p:grpSpPr>
            <a:xfrm>
              <a:off x="7191545" y="0"/>
              <a:ext cx="5000460" cy="1425988"/>
              <a:chOff x="7191545" y="0"/>
              <a:chExt cx="5000460" cy="1425988"/>
            </a:xfrm>
          </p:grpSpPr>
          <p:sp>
            <p:nvSpPr>
              <p:cNvPr id="16678" name="Google Shape;16678;p1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79" name="Google Shape;16679;p1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80" name="Google Shape;16680;p1427"/>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1" name="Google Shape;16681;p142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682" name="Google Shape;16682;p142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83" name="Google Shape;16683;p1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84" name="Google Shape;16684;p142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61243565"/>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matchingName="Two Content 6">
  <p:cSld name="1_Two Content 6">
    <p:spTree>
      <p:nvGrpSpPr>
        <p:cNvPr id="1" name="Shape 16685"/>
        <p:cNvGrpSpPr/>
        <p:nvPr/>
      </p:nvGrpSpPr>
      <p:grpSpPr>
        <a:xfrm>
          <a:off x="0" y="0"/>
          <a:ext cx="0" cy="0"/>
          <a:chOff x="0" y="0"/>
          <a:chExt cx="0" cy="0"/>
        </a:xfrm>
      </p:grpSpPr>
      <p:sp>
        <p:nvSpPr>
          <p:cNvPr id="16686" name="Google Shape;16686;p1428"/>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87" name="Google Shape;16687;p1428"/>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6688" name="Google Shape;16688;p1428"/>
          <p:cNvGrpSpPr/>
          <p:nvPr/>
        </p:nvGrpSpPr>
        <p:grpSpPr>
          <a:xfrm>
            <a:off x="7191545" y="0"/>
            <a:ext cx="5000460" cy="1425988"/>
            <a:chOff x="7191545" y="0"/>
            <a:chExt cx="5000460" cy="1425988"/>
          </a:xfrm>
        </p:grpSpPr>
        <p:pic>
          <p:nvPicPr>
            <p:cNvPr id="16689" name="Google Shape;16689;p1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690" name="Google Shape;16690;p1428"/>
            <p:cNvGrpSpPr/>
            <p:nvPr/>
          </p:nvGrpSpPr>
          <p:grpSpPr>
            <a:xfrm>
              <a:off x="7191545" y="0"/>
              <a:ext cx="5000460" cy="1425988"/>
              <a:chOff x="7191545" y="0"/>
              <a:chExt cx="5000460" cy="1425988"/>
            </a:xfrm>
          </p:grpSpPr>
          <p:sp>
            <p:nvSpPr>
              <p:cNvPr id="16691" name="Google Shape;16691;p1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692" name="Google Shape;16692;p1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693" name="Google Shape;16693;p1428"/>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694" name="Google Shape;16694;p1428"/>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695" name="Google Shape;16695;p1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696" name="Google Shape;16696;p142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68693270"/>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matchingName="Comparison 5">
  <p:cSld name="1_Comparison 5">
    <p:spTree>
      <p:nvGrpSpPr>
        <p:cNvPr id="1" name="Shape 16697"/>
        <p:cNvGrpSpPr/>
        <p:nvPr/>
      </p:nvGrpSpPr>
      <p:grpSpPr>
        <a:xfrm>
          <a:off x="0" y="0"/>
          <a:ext cx="0" cy="0"/>
          <a:chOff x="0" y="0"/>
          <a:chExt cx="0" cy="0"/>
        </a:xfrm>
      </p:grpSpPr>
      <p:grpSp>
        <p:nvGrpSpPr>
          <p:cNvPr id="16698" name="Google Shape;16698;p1429"/>
          <p:cNvGrpSpPr/>
          <p:nvPr/>
        </p:nvGrpSpPr>
        <p:grpSpPr>
          <a:xfrm>
            <a:off x="7191545" y="0"/>
            <a:ext cx="5000460" cy="1425988"/>
            <a:chOff x="7191545" y="0"/>
            <a:chExt cx="5000460" cy="1425988"/>
          </a:xfrm>
        </p:grpSpPr>
        <p:pic>
          <p:nvPicPr>
            <p:cNvPr id="16699" name="Google Shape;16699;p1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00" name="Google Shape;16700;p1429"/>
            <p:cNvGrpSpPr/>
            <p:nvPr/>
          </p:nvGrpSpPr>
          <p:grpSpPr>
            <a:xfrm>
              <a:off x="7191545" y="0"/>
              <a:ext cx="5000460" cy="1425988"/>
              <a:chOff x="7191545" y="0"/>
              <a:chExt cx="5000460" cy="1425988"/>
            </a:xfrm>
          </p:grpSpPr>
          <p:sp>
            <p:nvSpPr>
              <p:cNvPr id="16701" name="Google Shape;16701;p1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02" name="Google Shape;16702;p1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03" name="Google Shape;16703;p142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04" name="Google Shape;16704;p142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05" name="Google Shape;16705;p1429"/>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06" name="Google Shape;16706;p1429"/>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07" name="Google Shape;16707;p1429"/>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08" name="Google Shape;16708;p142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09" name="Google Shape;16709;p1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10" name="Google Shape;16710;p142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07503059"/>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matchingName="End 6">
  <p:cSld name="1_End 6">
    <p:spTree>
      <p:nvGrpSpPr>
        <p:cNvPr id="1" name="Shape 16721"/>
        <p:cNvGrpSpPr/>
        <p:nvPr/>
      </p:nvGrpSpPr>
      <p:grpSpPr>
        <a:xfrm>
          <a:off x="0" y="0"/>
          <a:ext cx="0" cy="0"/>
          <a:chOff x="0" y="0"/>
          <a:chExt cx="0" cy="0"/>
        </a:xfrm>
      </p:grpSpPr>
      <p:grpSp>
        <p:nvGrpSpPr>
          <p:cNvPr id="16722" name="Google Shape;16722;p1431"/>
          <p:cNvGrpSpPr/>
          <p:nvPr/>
        </p:nvGrpSpPr>
        <p:grpSpPr>
          <a:xfrm>
            <a:off x="0" y="0"/>
            <a:ext cx="12191996" cy="2148830"/>
            <a:chOff x="0" y="0"/>
            <a:chExt cx="12191996" cy="2148830"/>
          </a:xfrm>
        </p:grpSpPr>
        <p:sp>
          <p:nvSpPr>
            <p:cNvPr id="16723" name="Google Shape;16723;p143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24" name="Google Shape;16724;p143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725" name="Google Shape;16725;p1431"/>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26" name="Google Shape;16726;p1431"/>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27" name="Google Shape;16727;p143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728" name="Google Shape;16728;p143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0089828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matchingName="Quotation 11">
  <p:cSld name="2_Quotation 11">
    <p:spTree>
      <p:nvGrpSpPr>
        <p:cNvPr id="1" name="Shape 16754"/>
        <p:cNvGrpSpPr/>
        <p:nvPr/>
      </p:nvGrpSpPr>
      <p:grpSpPr>
        <a:xfrm>
          <a:off x="0" y="0"/>
          <a:ext cx="0" cy="0"/>
          <a:chOff x="0" y="0"/>
          <a:chExt cx="0" cy="0"/>
        </a:xfrm>
      </p:grpSpPr>
      <p:sp>
        <p:nvSpPr>
          <p:cNvPr id="16755" name="Google Shape;16755;p14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56" name="Google Shape;16756;p14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57" name="Google Shape;16757;p143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58" name="Google Shape;16758;p143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59" name="Google Shape;16759;p1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60" name="Google Shape;16760;p143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61" name="Google Shape;16761;p1435"/>
          <p:cNvGrpSpPr/>
          <p:nvPr/>
        </p:nvGrpSpPr>
        <p:grpSpPr>
          <a:xfrm>
            <a:off x="7191545" y="0"/>
            <a:ext cx="5000460" cy="1425988"/>
            <a:chOff x="7191545" y="0"/>
            <a:chExt cx="5000460" cy="1425988"/>
          </a:xfrm>
        </p:grpSpPr>
        <p:pic>
          <p:nvPicPr>
            <p:cNvPr id="16762" name="Google Shape;16762;p1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63" name="Google Shape;16763;p1435"/>
            <p:cNvGrpSpPr/>
            <p:nvPr/>
          </p:nvGrpSpPr>
          <p:grpSpPr>
            <a:xfrm>
              <a:off x="7191545" y="0"/>
              <a:ext cx="5000460" cy="1425988"/>
              <a:chOff x="7191545" y="0"/>
              <a:chExt cx="5000460" cy="1425988"/>
            </a:xfrm>
          </p:grpSpPr>
          <p:sp>
            <p:nvSpPr>
              <p:cNvPr id="16764" name="Google Shape;16764;p1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65" name="Google Shape;16765;p1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66" name="Google Shape;16766;p143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352890735"/>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matchingName="1_Quotation 11">
  <p:cSld name="2_Quotation 11">
    <p:spTree>
      <p:nvGrpSpPr>
        <p:cNvPr id="1" name="Shape 16767"/>
        <p:cNvGrpSpPr/>
        <p:nvPr/>
      </p:nvGrpSpPr>
      <p:grpSpPr>
        <a:xfrm>
          <a:off x="0" y="0"/>
          <a:ext cx="0" cy="0"/>
          <a:chOff x="0" y="0"/>
          <a:chExt cx="0" cy="0"/>
        </a:xfrm>
      </p:grpSpPr>
      <p:sp>
        <p:nvSpPr>
          <p:cNvPr id="16768" name="Google Shape;16768;p14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769" name="Google Shape;16769;p14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70" name="Google Shape;16770;p143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71" name="Google Shape;16771;p143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72" name="Google Shape;16772;p1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73" name="Google Shape;16773;p143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74" name="Google Shape;16774;p1436"/>
          <p:cNvGrpSpPr/>
          <p:nvPr/>
        </p:nvGrpSpPr>
        <p:grpSpPr>
          <a:xfrm>
            <a:off x="7191545" y="0"/>
            <a:ext cx="5000460" cy="1425988"/>
            <a:chOff x="7191545" y="0"/>
            <a:chExt cx="5000460" cy="1425988"/>
          </a:xfrm>
        </p:grpSpPr>
        <p:pic>
          <p:nvPicPr>
            <p:cNvPr id="16775" name="Google Shape;16775;p1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76" name="Google Shape;16776;p1436"/>
            <p:cNvGrpSpPr/>
            <p:nvPr/>
          </p:nvGrpSpPr>
          <p:grpSpPr>
            <a:xfrm>
              <a:off x="7191545" y="0"/>
              <a:ext cx="5000460" cy="1425988"/>
              <a:chOff x="7191545" y="0"/>
              <a:chExt cx="5000460" cy="1425988"/>
            </a:xfrm>
          </p:grpSpPr>
          <p:sp>
            <p:nvSpPr>
              <p:cNvPr id="16777" name="Google Shape;16777;p1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78" name="Google Shape;16778;p1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779" name="Google Shape;16779;p143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302119328"/>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matchingName="Title and Content 11">
  <p:cSld name="1_Title and Content 11">
    <p:spTree>
      <p:nvGrpSpPr>
        <p:cNvPr id="1" name="Shape 16780"/>
        <p:cNvGrpSpPr/>
        <p:nvPr/>
      </p:nvGrpSpPr>
      <p:grpSpPr>
        <a:xfrm>
          <a:off x="0" y="0"/>
          <a:ext cx="0" cy="0"/>
          <a:chOff x="0" y="0"/>
          <a:chExt cx="0" cy="0"/>
        </a:xfrm>
      </p:grpSpPr>
      <p:grpSp>
        <p:nvGrpSpPr>
          <p:cNvPr id="16781" name="Google Shape;16781;p1437"/>
          <p:cNvGrpSpPr/>
          <p:nvPr/>
        </p:nvGrpSpPr>
        <p:grpSpPr>
          <a:xfrm>
            <a:off x="7191545" y="0"/>
            <a:ext cx="5000460" cy="1425988"/>
            <a:chOff x="7191545" y="0"/>
            <a:chExt cx="5000460" cy="1425988"/>
          </a:xfrm>
        </p:grpSpPr>
        <p:pic>
          <p:nvPicPr>
            <p:cNvPr id="16782" name="Google Shape;16782;p14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83" name="Google Shape;16783;p1437"/>
            <p:cNvGrpSpPr/>
            <p:nvPr/>
          </p:nvGrpSpPr>
          <p:grpSpPr>
            <a:xfrm>
              <a:off x="7191545" y="0"/>
              <a:ext cx="5000460" cy="1425988"/>
              <a:chOff x="7191545" y="0"/>
              <a:chExt cx="5000460" cy="1425988"/>
            </a:xfrm>
          </p:grpSpPr>
          <p:sp>
            <p:nvSpPr>
              <p:cNvPr id="16784" name="Google Shape;16784;p14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85" name="Google Shape;16785;p14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86" name="Google Shape;16786;p1437"/>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87" name="Google Shape;16787;p14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788" name="Google Shape;16788;p143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789" name="Google Shape;16789;p14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790" name="Google Shape;16790;p143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63988859"/>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matchingName="Two Content 7">
  <p:cSld name="1_Two Content 7">
    <p:spTree>
      <p:nvGrpSpPr>
        <p:cNvPr id="1" name="Shape 16791"/>
        <p:cNvGrpSpPr/>
        <p:nvPr/>
      </p:nvGrpSpPr>
      <p:grpSpPr>
        <a:xfrm>
          <a:off x="0" y="0"/>
          <a:ext cx="0" cy="0"/>
          <a:chOff x="0" y="0"/>
          <a:chExt cx="0" cy="0"/>
        </a:xfrm>
      </p:grpSpPr>
      <p:sp>
        <p:nvSpPr>
          <p:cNvPr id="16792" name="Google Shape;16792;p1438"/>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93" name="Google Shape;16793;p1438"/>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6794" name="Google Shape;16794;p1438"/>
          <p:cNvGrpSpPr/>
          <p:nvPr/>
        </p:nvGrpSpPr>
        <p:grpSpPr>
          <a:xfrm>
            <a:off x="7191545" y="0"/>
            <a:ext cx="5000460" cy="1425988"/>
            <a:chOff x="7191545" y="0"/>
            <a:chExt cx="5000460" cy="1425988"/>
          </a:xfrm>
        </p:grpSpPr>
        <p:pic>
          <p:nvPicPr>
            <p:cNvPr id="16795" name="Google Shape;16795;p14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796" name="Google Shape;16796;p1438"/>
            <p:cNvGrpSpPr/>
            <p:nvPr/>
          </p:nvGrpSpPr>
          <p:grpSpPr>
            <a:xfrm>
              <a:off x="7191545" y="0"/>
              <a:ext cx="5000460" cy="1425988"/>
              <a:chOff x="7191545" y="0"/>
              <a:chExt cx="5000460" cy="1425988"/>
            </a:xfrm>
          </p:grpSpPr>
          <p:sp>
            <p:nvSpPr>
              <p:cNvPr id="16797" name="Google Shape;16797;p14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798" name="Google Shape;16798;p14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799" name="Google Shape;16799;p1438"/>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00" name="Google Shape;16800;p1438"/>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01" name="Google Shape;16801;p14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02" name="Google Shape;16802;p143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48353229"/>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matchingName="Comparison 6">
  <p:cSld name="1_Comparison 6">
    <p:spTree>
      <p:nvGrpSpPr>
        <p:cNvPr id="1" name="Shape 16803"/>
        <p:cNvGrpSpPr/>
        <p:nvPr/>
      </p:nvGrpSpPr>
      <p:grpSpPr>
        <a:xfrm>
          <a:off x="0" y="0"/>
          <a:ext cx="0" cy="0"/>
          <a:chOff x="0" y="0"/>
          <a:chExt cx="0" cy="0"/>
        </a:xfrm>
      </p:grpSpPr>
      <p:grpSp>
        <p:nvGrpSpPr>
          <p:cNvPr id="16804" name="Google Shape;16804;p1439"/>
          <p:cNvGrpSpPr/>
          <p:nvPr/>
        </p:nvGrpSpPr>
        <p:grpSpPr>
          <a:xfrm>
            <a:off x="7191545" y="0"/>
            <a:ext cx="5000460" cy="1425988"/>
            <a:chOff x="7191545" y="0"/>
            <a:chExt cx="5000460" cy="1425988"/>
          </a:xfrm>
        </p:grpSpPr>
        <p:pic>
          <p:nvPicPr>
            <p:cNvPr id="16805" name="Google Shape;16805;p14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06" name="Google Shape;16806;p1439"/>
            <p:cNvGrpSpPr/>
            <p:nvPr/>
          </p:nvGrpSpPr>
          <p:grpSpPr>
            <a:xfrm>
              <a:off x="7191545" y="0"/>
              <a:ext cx="5000460" cy="1425988"/>
              <a:chOff x="7191545" y="0"/>
              <a:chExt cx="5000460" cy="1425988"/>
            </a:xfrm>
          </p:grpSpPr>
          <p:sp>
            <p:nvSpPr>
              <p:cNvPr id="16807" name="Google Shape;16807;p14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08" name="Google Shape;16808;p14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6809" name="Google Shape;16809;p143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10" name="Google Shape;16810;p14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11" name="Google Shape;16811;p1439"/>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12" name="Google Shape;16812;p1439"/>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13" name="Google Shape;16813;p1439"/>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14" name="Google Shape;16814;p143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15" name="Google Shape;16815;p14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16" name="Google Shape;16816;p143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16054574"/>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matchingName="Photo Slide 8">
  <p:cSld name="1_Photo Slide 8">
    <p:spTree>
      <p:nvGrpSpPr>
        <p:cNvPr id="1" name="Shape 16817"/>
        <p:cNvGrpSpPr/>
        <p:nvPr/>
      </p:nvGrpSpPr>
      <p:grpSpPr>
        <a:xfrm>
          <a:off x="0" y="0"/>
          <a:ext cx="0" cy="0"/>
          <a:chOff x="0" y="0"/>
          <a:chExt cx="0" cy="0"/>
        </a:xfrm>
      </p:grpSpPr>
      <p:sp>
        <p:nvSpPr>
          <p:cNvPr id="16818" name="Google Shape;16818;p144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819" name="Google Shape;16819;p1440"/>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820" name="Google Shape;16820;p1440"/>
          <p:cNvGrpSpPr/>
          <p:nvPr/>
        </p:nvGrpSpPr>
        <p:grpSpPr>
          <a:xfrm>
            <a:off x="4" y="5379428"/>
            <a:ext cx="2807363" cy="753895"/>
            <a:chOff x="0" y="5379424"/>
            <a:chExt cx="2807363" cy="753895"/>
          </a:xfrm>
        </p:grpSpPr>
        <p:sp>
          <p:nvSpPr>
            <p:cNvPr id="16821" name="Google Shape;16821;p144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2" name="Google Shape;16822;p144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823" name="Google Shape;16823;p1440"/>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1434439546"/>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matchingName="End 7">
  <p:cSld name="1_End 7">
    <p:spTree>
      <p:nvGrpSpPr>
        <p:cNvPr id="1" name="Shape 16824"/>
        <p:cNvGrpSpPr/>
        <p:nvPr/>
      </p:nvGrpSpPr>
      <p:grpSpPr>
        <a:xfrm>
          <a:off x="0" y="0"/>
          <a:ext cx="0" cy="0"/>
          <a:chOff x="0" y="0"/>
          <a:chExt cx="0" cy="0"/>
        </a:xfrm>
      </p:grpSpPr>
      <p:grpSp>
        <p:nvGrpSpPr>
          <p:cNvPr id="16825" name="Google Shape;16825;p1441"/>
          <p:cNvGrpSpPr/>
          <p:nvPr/>
        </p:nvGrpSpPr>
        <p:grpSpPr>
          <a:xfrm>
            <a:off x="0" y="0"/>
            <a:ext cx="12191996" cy="2148830"/>
            <a:chOff x="0" y="0"/>
            <a:chExt cx="12191996" cy="2148830"/>
          </a:xfrm>
        </p:grpSpPr>
        <p:sp>
          <p:nvSpPr>
            <p:cNvPr id="16826" name="Google Shape;16826;p14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27" name="Google Shape;16827;p14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6828" name="Google Shape;16828;p1441"/>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29" name="Google Shape;16829;p1441"/>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30" name="Google Shape;16830;p14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831" name="Google Shape;16831;p14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919103182"/>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matchingName="Quotation 12">
  <p:cSld name="2_Quotation 12">
    <p:spTree>
      <p:nvGrpSpPr>
        <p:cNvPr id="1" name="Shape 16858"/>
        <p:cNvGrpSpPr/>
        <p:nvPr/>
      </p:nvGrpSpPr>
      <p:grpSpPr>
        <a:xfrm>
          <a:off x="0" y="0"/>
          <a:ext cx="0" cy="0"/>
          <a:chOff x="0" y="0"/>
          <a:chExt cx="0" cy="0"/>
        </a:xfrm>
      </p:grpSpPr>
      <p:sp>
        <p:nvSpPr>
          <p:cNvPr id="16859" name="Google Shape;16859;p144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60" name="Google Shape;16860;p144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61" name="Google Shape;16861;p144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62" name="Google Shape;16862;p144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63" name="Google Shape;16863;p14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64" name="Google Shape;16864;p144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65" name="Google Shape;16865;p1445"/>
          <p:cNvGrpSpPr/>
          <p:nvPr/>
        </p:nvGrpSpPr>
        <p:grpSpPr>
          <a:xfrm>
            <a:off x="7191545" y="0"/>
            <a:ext cx="5000460" cy="1425988"/>
            <a:chOff x="7191545" y="0"/>
            <a:chExt cx="5000460" cy="1425988"/>
          </a:xfrm>
        </p:grpSpPr>
        <p:pic>
          <p:nvPicPr>
            <p:cNvPr id="16866" name="Google Shape;16866;p14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67" name="Google Shape;16867;p1445"/>
            <p:cNvGrpSpPr/>
            <p:nvPr/>
          </p:nvGrpSpPr>
          <p:grpSpPr>
            <a:xfrm>
              <a:off x="7191545" y="0"/>
              <a:ext cx="5000460" cy="1425988"/>
              <a:chOff x="7191545" y="0"/>
              <a:chExt cx="5000460" cy="1425988"/>
            </a:xfrm>
          </p:grpSpPr>
          <p:sp>
            <p:nvSpPr>
              <p:cNvPr id="16868" name="Google Shape;16868;p14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69" name="Google Shape;16869;p14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70" name="Google Shape;16870;p144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803417577"/>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matchingName="3_Quotation 2">
  <p:cSld name="8_Quotation 2">
    <p:spTree>
      <p:nvGrpSpPr>
        <p:cNvPr id="1" name="Shape 16871"/>
        <p:cNvGrpSpPr/>
        <p:nvPr/>
      </p:nvGrpSpPr>
      <p:grpSpPr>
        <a:xfrm>
          <a:off x="0" y="0"/>
          <a:ext cx="0" cy="0"/>
          <a:chOff x="0" y="0"/>
          <a:chExt cx="0" cy="0"/>
        </a:xfrm>
      </p:grpSpPr>
      <p:sp>
        <p:nvSpPr>
          <p:cNvPr id="16872" name="Google Shape;16872;p144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73" name="Google Shape;16873;p144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74" name="Google Shape;16874;p144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75" name="Google Shape;16875;p144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76" name="Google Shape;16876;p1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77" name="Google Shape;16877;p144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78" name="Google Shape;16878;p1446"/>
          <p:cNvGrpSpPr/>
          <p:nvPr/>
        </p:nvGrpSpPr>
        <p:grpSpPr>
          <a:xfrm>
            <a:off x="7191545" y="0"/>
            <a:ext cx="5000460" cy="1425988"/>
            <a:chOff x="7191545" y="0"/>
            <a:chExt cx="5000460" cy="1425988"/>
          </a:xfrm>
        </p:grpSpPr>
        <p:pic>
          <p:nvPicPr>
            <p:cNvPr id="16879" name="Google Shape;16879;p1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80" name="Google Shape;16880;p1446"/>
            <p:cNvGrpSpPr/>
            <p:nvPr/>
          </p:nvGrpSpPr>
          <p:grpSpPr>
            <a:xfrm>
              <a:off x="7191545" y="0"/>
              <a:ext cx="5000460" cy="1425988"/>
              <a:chOff x="7191545" y="0"/>
              <a:chExt cx="5000460" cy="1425988"/>
            </a:xfrm>
          </p:grpSpPr>
          <p:sp>
            <p:nvSpPr>
              <p:cNvPr id="16881" name="Google Shape;16881;p1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82" name="Google Shape;16882;p1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83" name="Google Shape;16883;p144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60217900"/>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matchingName="Quotation 13">
  <p:cSld name="2_Quotation 13">
    <p:spTree>
      <p:nvGrpSpPr>
        <p:cNvPr id="1" name="Shape 16884"/>
        <p:cNvGrpSpPr/>
        <p:nvPr/>
      </p:nvGrpSpPr>
      <p:grpSpPr>
        <a:xfrm>
          <a:off x="0" y="0"/>
          <a:ext cx="0" cy="0"/>
          <a:chOff x="0" y="0"/>
          <a:chExt cx="0" cy="0"/>
        </a:xfrm>
      </p:grpSpPr>
      <p:sp>
        <p:nvSpPr>
          <p:cNvPr id="16885" name="Google Shape;16885;p144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86" name="Google Shape;16886;p144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87" name="Google Shape;16887;p1447"/>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888" name="Google Shape;16888;p144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889" name="Google Shape;16889;p14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890" name="Google Shape;16890;p144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91" name="Google Shape;16891;p1447"/>
          <p:cNvGrpSpPr/>
          <p:nvPr/>
        </p:nvGrpSpPr>
        <p:grpSpPr>
          <a:xfrm>
            <a:off x="7191545" y="0"/>
            <a:ext cx="5000460" cy="1425988"/>
            <a:chOff x="7191545" y="0"/>
            <a:chExt cx="5000460" cy="1425988"/>
          </a:xfrm>
        </p:grpSpPr>
        <p:pic>
          <p:nvPicPr>
            <p:cNvPr id="16892" name="Google Shape;16892;p14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893" name="Google Shape;16893;p1447"/>
            <p:cNvGrpSpPr/>
            <p:nvPr/>
          </p:nvGrpSpPr>
          <p:grpSpPr>
            <a:xfrm>
              <a:off x="7191545" y="0"/>
              <a:ext cx="5000460" cy="1425988"/>
              <a:chOff x="7191545" y="0"/>
              <a:chExt cx="5000460" cy="1425988"/>
            </a:xfrm>
          </p:grpSpPr>
          <p:sp>
            <p:nvSpPr>
              <p:cNvPr id="16894" name="Google Shape;16894;p14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895" name="Google Shape;16895;p14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896" name="Google Shape;16896;p1447"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9739659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matchingName="1_Quotation 12">
  <p:cSld name="2_Quotation 12">
    <p:spTree>
      <p:nvGrpSpPr>
        <p:cNvPr id="1" name="Shape 16897"/>
        <p:cNvGrpSpPr/>
        <p:nvPr/>
      </p:nvGrpSpPr>
      <p:grpSpPr>
        <a:xfrm>
          <a:off x="0" y="0"/>
          <a:ext cx="0" cy="0"/>
          <a:chOff x="0" y="0"/>
          <a:chExt cx="0" cy="0"/>
        </a:xfrm>
      </p:grpSpPr>
      <p:sp>
        <p:nvSpPr>
          <p:cNvPr id="16898" name="Google Shape;16898;p14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899" name="Google Shape;16899;p14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00" name="Google Shape;16900;p144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901" name="Google Shape;16901;p144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02" name="Google Shape;16902;p14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03" name="Google Shape;16903;p144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04" name="Google Shape;16904;p1448"/>
          <p:cNvGrpSpPr/>
          <p:nvPr/>
        </p:nvGrpSpPr>
        <p:grpSpPr>
          <a:xfrm>
            <a:off x="7191545" y="0"/>
            <a:ext cx="5000460" cy="1425988"/>
            <a:chOff x="7191545" y="0"/>
            <a:chExt cx="5000460" cy="1425988"/>
          </a:xfrm>
        </p:grpSpPr>
        <p:pic>
          <p:nvPicPr>
            <p:cNvPr id="16905" name="Google Shape;16905;p14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06" name="Google Shape;16906;p1448"/>
            <p:cNvGrpSpPr/>
            <p:nvPr/>
          </p:nvGrpSpPr>
          <p:grpSpPr>
            <a:xfrm>
              <a:off x="7191545" y="0"/>
              <a:ext cx="5000460" cy="1425988"/>
              <a:chOff x="7191545" y="0"/>
              <a:chExt cx="5000460" cy="1425988"/>
            </a:xfrm>
          </p:grpSpPr>
          <p:sp>
            <p:nvSpPr>
              <p:cNvPr id="16907" name="Google Shape;16907;p14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08" name="Google Shape;16908;p14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09" name="Google Shape;16909;p144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373233308"/>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matchingName="4_Quotation 2">
  <p:cSld name="8_Quotation 2">
    <p:spTree>
      <p:nvGrpSpPr>
        <p:cNvPr id="1" name="Shape 16910"/>
        <p:cNvGrpSpPr/>
        <p:nvPr/>
      </p:nvGrpSpPr>
      <p:grpSpPr>
        <a:xfrm>
          <a:off x="0" y="0"/>
          <a:ext cx="0" cy="0"/>
          <a:chOff x="0" y="0"/>
          <a:chExt cx="0" cy="0"/>
        </a:xfrm>
      </p:grpSpPr>
      <p:sp>
        <p:nvSpPr>
          <p:cNvPr id="16911" name="Google Shape;16911;p144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12" name="Google Shape;16912;p144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13" name="Google Shape;16913;p144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914" name="Google Shape;16914;p144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15" name="Google Shape;16915;p14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16" name="Google Shape;16916;p144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17" name="Google Shape;16917;p1449"/>
          <p:cNvGrpSpPr/>
          <p:nvPr/>
        </p:nvGrpSpPr>
        <p:grpSpPr>
          <a:xfrm>
            <a:off x="7191545" y="0"/>
            <a:ext cx="5000460" cy="1425988"/>
            <a:chOff x="7191545" y="0"/>
            <a:chExt cx="5000460" cy="1425988"/>
          </a:xfrm>
        </p:grpSpPr>
        <p:pic>
          <p:nvPicPr>
            <p:cNvPr id="16918" name="Google Shape;16918;p14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19" name="Google Shape;16919;p1449"/>
            <p:cNvGrpSpPr/>
            <p:nvPr/>
          </p:nvGrpSpPr>
          <p:grpSpPr>
            <a:xfrm>
              <a:off x="7191545" y="0"/>
              <a:ext cx="5000460" cy="1425988"/>
              <a:chOff x="7191545" y="0"/>
              <a:chExt cx="5000460" cy="1425988"/>
            </a:xfrm>
          </p:grpSpPr>
          <p:sp>
            <p:nvSpPr>
              <p:cNvPr id="16920" name="Google Shape;16920;p14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21" name="Google Shape;16921;p14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22" name="Google Shape;16922;p144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148138784"/>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matchingName="1_Quotation 13">
  <p:cSld name="2_Quotation 13">
    <p:spTree>
      <p:nvGrpSpPr>
        <p:cNvPr id="1" name="Shape 16923"/>
        <p:cNvGrpSpPr/>
        <p:nvPr/>
      </p:nvGrpSpPr>
      <p:grpSpPr>
        <a:xfrm>
          <a:off x="0" y="0"/>
          <a:ext cx="0" cy="0"/>
          <a:chOff x="0" y="0"/>
          <a:chExt cx="0" cy="0"/>
        </a:xfrm>
      </p:grpSpPr>
      <p:sp>
        <p:nvSpPr>
          <p:cNvPr id="16924" name="Google Shape;16924;p145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25" name="Google Shape;16925;p145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6" name="Google Shape;16926;p1450"/>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927" name="Google Shape;16927;p145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28" name="Google Shape;16928;p14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29" name="Google Shape;16929;p145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30" name="Google Shape;16930;p1450"/>
          <p:cNvGrpSpPr/>
          <p:nvPr/>
        </p:nvGrpSpPr>
        <p:grpSpPr>
          <a:xfrm>
            <a:off x="7191545" y="0"/>
            <a:ext cx="5000460" cy="1425988"/>
            <a:chOff x="7191545" y="0"/>
            <a:chExt cx="5000460" cy="1425988"/>
          </a:xfrm>
        </p:grpSpPr>
        <p:pic>
          <p:nvPicPr>
            <p:cNvPr id="16931" name="Google Shape;16931;p14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32" name="Google Shape;16932;p1450"/>
            <p:cNvGrpSpPr/>
            <p:nvPr/>
          </p:nvGrpSpPr>
          <p:grpSpPr>
            <a:xfrm>
              <a:off x="7191545" y="0"/>
              <a:ext cx="5000460" cy="1425988"/>
              <a:chOff x="7191545" y="0"/>
              <a:chExt cx="5000460" cy="1425988"/>
            </a:xfrm>
          </p:grpSpPr>
          <p:sp>
            <p:nvSpPr>
              <p:cNvPr id="16933" name="Google Shape;16933;p14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4" name="Google Shape;16934;p14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35" name="Google Shape;16935;p1450"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673506697"/>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16936"/>
        <p:cNvGrpSpPr/>
        <p:nvPr/>
      </p:nvGrpSpPr>
      <p:grpSpPr>
        <a:xfrm>
          <a:off x="0" y="0"/>
          <a:ext cx="0" cy="0"/>
          <a:chOff x="0" y="0"/>
          <a:chExt cx="0" cy="0"/>
        </a:xfrm>
      </p:grpSpPr>
      <p:sp>
        <p:nvSpPr>
          <p:cNvPr id="16937" name="Google Shape;16937;p1451"/>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38" name="Google Shape;16938;p1451"/>
          <p:cNvSpPr/>
          <p:nvPr/>
        </p:nvSpPr>
        <p:spPr>
          <a:xfrm>
            <a:off x="4" y="5100856"/>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39" name="Google Shape;16939;p1451"/>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6940" name="Google Shape;16940;p1451"/>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6941" name="Google Shape;16941;p1451"/>
          <p:cNvPicPr preferRelativeResize="0"/>
          <p:nvPr/>
        </p:nvPicPr>
        <p:blipFill rotWithShape="1">
          <a:blip r:embed="rId3">
            <a:alphaModFix/>
          </a:blip>
          <a:srcRect/>
          <a:stretch/>
        </p:blipFill>
        <p:spPr>
          <a:xfrm>
            <a:off x="313960" y="5564128"/>
            <a:ext cx="2025386" cy="911355"/>
          </a:xfrm>
          <a:prstGeom prst="rect">
            <a:avLst/>
          </a:prstGeom>
          <a:noFill/>
          <a:ln>
            <a:noFill/>
          </a:ln>
        </p:spPr>
      </p:pic>
      <p:sp>
        <p:nvSpPr>
          <p:cNvPr id="16942" name="Google Shape;16942;p1451"/>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43" name="Google Shape;16943;p1451"/>
          <p:cNvSpPr txBox="1">
            <a:spLocks noGrp="1"/>
          </p:cNvSpPr>
          <p:nvPr>
            <p:ph type="title"/>
          </p:nvPr>
        </p:nvSpPr>
        <p:spPr>
          <a:xfrm>
            <a:off x="471697" y="365448"/>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4" name="Google Shape;16944;p1451"/>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945" name="Google Shape;16945;p1451"/>
          <p:cNvSpPr txBox="1">
            <a:spLocks noGrp="1"/>
          </p:cNvSpPr>
          <p:nvPr>
            <p:ph type="ftr" idx="11"/>
          </p:nvPr>
        </p:nvSpPr>
        <p:spPr>
          <a:xfrm>
            <a:off x="609603" y="6356355"/>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6" name="Google Shape;16946;p145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6947" name="Google Shape;16947;p1451"/>
          <p:cNvSpPr txBox="1">
            <a:spLocks noGrp="1"/>
          </p:cNvSpPr>
          <p:nvPr>
            <p:ph type="sldNum" idx="12"/>
          </p:nvPr>
        </p:nvSpPr>
        <p:spPr>
          <a:xfrm>
            <a:off x="8839203" y="6356355"/>
            <a:ext cx="2743200" cy="365129"/>
          </a:xfrm>
          <a:prstGeom prst="rect">
            <a:avLst/>
          </a:prstGeom>
          <a:noFill/>
          <a:ln>
            <a:noFill/>
          </a:ln>
        </p:spPr>
        <p:txBody>
          <a:bodyPr spcFirstLastPara="1" wrap="square" lIns="0" tIns="0" rIns="0" bIns="0" anchor="ctr" anchorCtr="0">
            <a:noAutofit/>
          </a:bodyPr>
          <a:lstStyle>
            <a:lvl1pPr marL="38111"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11"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11"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11"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11"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11"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11"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11"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11"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19736439"/>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matchingName="2_Quotation 2">
  <p:cSld name="8_Quotation 2">
    <p:spTree>
      <p:nvGrpSpPr>
        <p:cNvPr id="1" name="Shape 16948"/>
        <p:cNvGrpSpPr/>
        <p:nvPr/>
      </p:nvGrpSpPr>
      <p:grpSpPr>
        <a:xfrm>
          <a:off x="0" y="0"/>
          <a:ext cx="0" cy="0"/>
          <a:chOff x="0" y="0"/>
          <a:chExt cx="0" cy="0"/>
        </a:xfrm>
      </p:grpSpPr>
      <p:sp>
        <p:nvSpPr>
          <p:cNvPr id="16949" name="Google Shape;16949;p145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50" name="Google Shape;16950;p1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51" name="Google Shape;16951;p1452"/>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952" name="Google Shape;16952;p145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53" name="Google Shape;16953;p1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54" name="Google Shape;16954;p145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55" name="Google Shape;16955;p1452"/>
          <p:cNvGrpSpPr/>
          <p:nvPr/>
        </p:nvGrpSpPr>
        <p:grpSpPr>
          <a:xfrm>
            <a:off x="7191545" y="0"/>
            <a:ext cx="5000460" cy="1425988"/>
            <a:chOff x="7191545" y="0"/>
            <a:chExt cx="5000460" cy="1425988"/>
          </a:xfrm>
        </p:grpSpPr>
        <p:pic>
          <p:nvPicPr>
            <p:cNvPr id="16956" name="Google Shape;16956;p1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57" name="Google Shape;16957;p1452"/>
            <p:cNvGrpSpPr/>
            <p:nvPr/>
          </p:nvGrpSpPr>
          <p:grpSpPr>
            <a:xfrm>
              <a:off x="7191545" y="0"/>
              <a:ext cx="5000460" cy="1425988"/>
              <a:chOff x="7191545" y="0"/>
              <a:chExt cx="5000460" cy="1425988"/>
            </a:xfrm>
          </p:grpSpPr>
          <p:sp>
            <p:nvSpPr>
              <p:cNvPr id="16958" name="Google Shape;16958;p1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59" name="Google Shape;16959;p1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60" name="Google Shape;16960;p1452"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517825594"/>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matchingName="5_Quotation 2">
  <p:cSld name="8_Quotation 2">
    <p:spTree>
      <p:nvGrpSpPr>
        <p:cNvPr id="1" name="Shape 16961"/>
        <p:cNvGrpSpPr/>
        <p:nvPr/>
      </p:nvGrpSpPr>
      <p:grpSpPr>
        <a:xfrm>
          <a:off x="0" y="0"/>
          <a:ext cx="0" cy="0"/>
          <a:chOff x="0" y="0"/>
          <a:chExt cx="0" cy="0"/>
        </a:xfrm>
      </p:grpSpPr>
      <p:sp>
        <p:nvSpPr>
          <p:cNvPr id="16962" name="Google Shape;16962;p14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63" name="Google Shape;16963;p14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64" name="Google Shape;16964;p1453"/>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6965" name="Google Shape;16965;p145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6966" name="Google Shape;16966;p1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6967" name="Google Shape;16967;p145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68" name="Google Shape;16968;p1453"/>
          <p:cNvGrpSpPr/>
          <p:nvPr/>
        </p:nvGrpSpPr>
        <p:grpSpPr>
          <a:xfrm>
            <a:off x="7191545" y="0"/>
            <a:ext cx="5000460" cy="1425988"/>
            <a:chOff x="7191545" y="0"/>
            <a:chExt cx="5000460" cy="1425988"/>
          </a:xfrm>
        </p:grpSpPr>
        <p:pic>
          <p:nvPicPr>
            <p:cNvPr id="16969" name="Google Shape;16969;p1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6970" name="Google Shape;16970;p1453"/>
            <p:cNvGrpSpPr/>
            <p:nvPr/>
          </p:nvGrpSpPr>
          <p:grpSpPr>
            <a:xfrm>
              <a:off x="7191545" y="0"/>
              <a:ext cx="5000460" cy="1425988"/>
              <a:chOff x="7191545" y="0"/>
              <a:chExt cx="5000460" cy="1425988"/>
            </a:xfrm>
          </p:grpSpPr>
          <p:sp>
            <p:nvSpPr>
              <p:cNvPr id="16971" name="Google Shape;16971;p1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6972" name="Google Shape;16972;p1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6973" name="Google Shape;16973;p1453"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050771353"/>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matchingName="Photo Slide 9">
  <p:cSld name="1_Photo Slide 9">
    <p:spTree>
      <p:nvGrpSpPr>
        <p:cNvPr id="1" name="Shape 16990"/>
        <p:cNvGrpSpPr/>
        <p:nvPr/>
      </p:nvGrpSpPr>
      <p:grpSpPr>
        <a:xfrm>
          <a:off x="0" y="0"/>
          <a:ext cx="0" cy="0"/>
          <a:chOff x="0" y="0"/>
          <a:chExt cx="0" cy="0"/>
        </a:xfrm>
      </p:grpSpPr>
      <p:sp>
        <p:nvSpPr>
          <p:cNvPr id="16991" name="Google Shape;16991;p145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6992" name="Google Shape;16992;p1456"/>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6993" name="Google Shape;16993;p1456"/>
          <p:cNvGrpSpPr/>
          <p:nvPr/>
        </p:nvGrpSpPr>
        <p:grpSpPr>
          <a:xfrm>
            <a:off x="4" y="5379428"/>
            <a:ext cx="2807363" cy="753895"/>
            <a:chOff x="0" y="5379424"/>
            <a:chExt cx="2807363" cy="753895"/>
          </a:xfrm>
        </p:grpSpPr>
        <p:sp>
          <p:nvSpPr>
            <p:cNvPr id="16994" name="Google Shape;16994;p145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5" name="Google Shape;16995;p145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6996" name="Google Shape;16996;p1456"/>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3805888763"/>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matchingName="Quotation 14">
  <p:cSld name="2_Quotation 14">
    <p:spTree>
      <p:nvGrpSpPr>
        <p:cNvPr id="1" name="Shape 16997"/>
        <p:cNvGrpSpPr/>
        <p:nvPr/>
      </p:nvGrpSpPr>
      <p:grpSpPr>
        <a:xfrm>
          <a:off x="0" y="0"/>
          <a:ext cx="0" cy="0"/>
          <a:chOff x="0" y="0"/>
          <a:chExt cx="0" cy="0"/>
        </a:xfrm>
      </p:grpSpPr>
      <p:sp>
        <p:nvSpPr>
          <p:cNvPr id="16998" name="Google Shape;16998;p14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6999" name="Google Shape;16999;p14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00" name="Google Shape;17000;p1457"/>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01" name="Google Shape;17001;p145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02" name="Google Shape;17002;p1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03" name="Google Shape;17003;p145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04" name="Google Shape;17004;p1457"/>
          <p:cNvGrpSpPr/>
          <p:nvPr/>
        </p:nvGrpSpPr>
        <p:grpSpPr>
          <a:xfrm>
            <a:off x="7191545" y="0"/>
            <a:ext cx="5000460" cy="1425988"/>
            <a:chOff x="7191545" y="0"/>
            <a:chExt cx="5000460" cy="1425988"/>
          </a:xfrm>
        </p:grpSpPr>
        <p:pic>
          <p:nvPicPr>
            <p:cNvPr id="17005" name="Google Shape;17005;p1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06" name="Google Shape;17006;p1457"/>
            <p:cNvGrpSpPr/>
            <p:nvPr/>
          </p:nvGrpSpPr>
          <p:grpSpPr>
            <a:xfrm>
              <a:off x="7191545" y="0"/>
              <a:ext cx="5000460" cy="1425988"/>
              <a:chOff x="7191545" y="0"/>
              <a:chExt cx="5000460" cy="1425988"/>
            </a:xfrm>
          </p:grpSpPr>
          <p:sp>
            <p:nvSpPr>
              <p:cNvPr id="17007" name="Google Shape;17007;p1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08" name="Google Shape;17008;p1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09" name="Google Shape;17009;p1457"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770947078"/>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matchingName="1_Quotation 14">
  <p:cSld name="2_Quotation 14">
    <p:spTree>
      <p:nvGrpSpPr>
        <p:cNvPr id="1" name="Shape 17010"/>
        <p:cNvGrpSpPr/>
        <p:nvPr/>
      </p:nvGrpSpPr>
      <p:grpSpPr>
        <a:xfrm>
          <a:off x="0" y="0"/>
          <a:ext cx="0" cy="0"/>
          <a:chOff x="0" y="0"/>
          <a:chExt cx="0" cy="0"/>
        </a:xfrm>
      </p:grpSpPr>
      <p:sp>
        <p:nvSpPr>
          <p:cNvPr id="17011" name="Google Shape;17011;p145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12" name="Google Shape;17012;p145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13" name="Google Shape;17013;p145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14" name="Google Shape;17014;p145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15" name="Google Shape;17015;p14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16" name="Google Shape;17016;p145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017" name="Google Shape;17017;p1458"/>
          <p:cNvGrpSpPr/>
          <p:nvPr/>
        </p:nvGrpSpPr>
        <p:grpSpPr>
          <a:xfrm>
            <a:off x="7191545" y="0"/>
            <a:ext cx="5000460" cy="1425988"/>
            <a:chOff x="7191545" y="0"/>
            <a:chExt cx="5000460" cy="1425988"/>
          </a:xfrm>
        </p:grpSpPr>
        <p:pic>
          <p:nvPicPr>
            <p:cNvPr id="17018" name="Google Shape;17018;p14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19" name="Google Shape;17019;p1458"/>
            <p:cNvGrpSpPr/>
            <p:nvPr/>
          </p:nvGrpSpPr>
          <p:grpSpPr>
            <a:xfrm>
              <a:off x="7191545" y="0"/>
              <a:ext cx="5000460" cy="1425988"/>
              <a:chOff x="7191545" y="0"/>
              <a:chExt cx="5000460" cy="1425988"/>
            </a:xfrm>
          </p:grpSpPr>
          <p:sp>
            <p:nvSpPr>
              <p:cNvPr id="17020" name="Google Shape;17020;p14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1" name="Google Shape;17021;p14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022" name="Google Shape;17022;p145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261717458"/>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matchingName="Title and Content 12">
  <p:cSld name="1_Title and Content 12">
    <p:spTree>
      <p:nvGrpSpPr>
        <p:cNvPr id="1" name="Shape 17023"/>
        <p:cNvGrpSpPr/>
        <p:nvPr/>
      </p:nvGrpSpPr>
      <p:grpSpPr>
        <a:xfrm>
          <a:off x="0" y="0"/>
          <a:ext cx="0" cy="0"/>
          <a:chOff x="0" y="0"/>
          <a:chExt cx="0" cy="0"/>
        </a:xfrm>
      </p:grpSpPr>
      <p:grpSp>
        <p:nvGrpSpPr>
          <p:cNvPr id="17024" name="Google Shape;17024;p1459"/>
          <p:cNvGrpSpPr/>
          <p:nvPr/>
        </p:nvGrpSpPr>
        <p:grpSpPr>
          <a:xfrm>
            <a:off x="7191545" y="0"/>
            <a:ext cx="5000460" cy="1425988"/>
            <a:chOff x="7191545" y="0"/>
            <a:chExt cx="5000460" cy="1425988"/>
          </a:xfrm>
        </p:grpSpPr>
        <p:pic>
          <p:nvPicPr>
            <p:cNvPr id="17025" name="Google Shape;17025;p14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26" name="Google Shape;17026;p1459"/>
            <p:cNvGrpSpPr/>
            <p:nvPr/>
          </p:nvGrpSpPr>
          <p:grpSpPr>
            <a:xfrm>
              <a:off x="7191545" y="0"/>
              <a:ext cx="5000460" cy="1425988"/>
              <a:chOff x="7191545" y="0"/>
              <a:chExt cx="5000460" cy="1425988"/>
            </a:xfrm>
          </p:grpSpPr>
          <p:sp>
            <p:nvSpPr>
              <p:cNvPr id="17027" name="Google Shape;17027;p14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28" name="Google Shape;17028;p14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29" name="Google Shape;17029;p145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0" name="Google Shape;17030;p145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31" name="Google Shape;17031;p145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32" name="Google Shape;17032;p14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33" name="Google Shape;17033;p145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4655753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matchingName="Two Content 8">
  <p:cSld name="1_Two Content 8">
    <p:spTree>
      <p:nvGrpSpPr>
        <p:cNvPr id="1" name="Shape 17034"/>
        <p:cNvGrpSpPr/>
        <p:nvPr/>
      </p:nvGrpSpPr>
      <p:grpSpPr>
        <a:xfrm>
          <a:off x="0" y="0"/>
          <a:ext cx="0" cy="0"/>
          <a:chOff x="0" y="0"/>
          <a:chExt cx="0" cy="0"/>
        </a:xfrm>
      </p:grpSpPr>
      <p:sp>
        <p:nvSpPr>
          <p:cNvPr id="17035" name="Google Shape;17035;p146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6" name="Google Shape;17036;p1460"/>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7037" name="Google Shape;17037;p1460"/>
          <p:cNvGrpSpPr/>
          <p:nvPr/>
        </p:nvGrpSpPr>
        <p:grpSpPr>
          <a:xfrm>
            <a:off x="7191545" y="0"/>
            <a:ext cx="5000460" cy="1425988"/>
            <a:chOff x="7191545" y="0"/>
            <a:chExt cx="5000460" cy="1425988"/>
          </a:xfrm>
        </p:grpSpPr>
        <p:pic>
          <p:nvPicPr>
            <p:cNvPr id="17038" name="Google Shape;17038;p14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39" name="Google Shape;17039;p1460"/>
            <p:cNvGrpSpPr/>
            <p:nvPr/>
          </p:nvGrpSpPr>
          <p:grpSpPr>
            <a:xfrm>
              <a:off x="7191545" y="0"/>
              <a:ext cx="5000460" cy="1425988"/>
              <a:chOff x="7191545" y="0"/>
              <a:chExt cx="5000460" cy="1425988"/>
            </a:xfrm>
          </p:grpSpPr>
          <p:sp>
            <p:nvSpPr>
              <p:cNvPr id="17040" name="Google Shape;17040;p14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41" name="Google Shape;17041;p14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42" name="Google Shape;17042;p1460"/>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43" name="Google Shape;17043;p1460"/>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44" name="Google Shape;17044;p14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45" name="Google Shape;17045;p146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33755410"/>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matchingName="Comparison 7">
  <p:cSld name="1_Comparison 7">
    <p:spTree>
      <p:nvGrpSpPr>
        <p:cNvPr id="1" name="Shape 17046"/>
        <p:cNvGrpSpPr/>
        <p:nvPr/>
      </p:nvGrpSpPr>
      <p:grpSpPr>
        <a:xfrm>
          <a:off x="0" y="0"/>
          <a:ext cx="0" cy="0"/>
          <a:chOff x="0" y="0"/>
          <a:chExt cx="0" cy="0"/>
        </a:xfrm>
      </p:grpSpPr>
      <p:grpSp>
        <p:nvGrpSpPr>
          <p:cNvPr id="17047" name="Google Shape;17047;p1461"/>
          <p:cNvGrpSpPr/>
          <p:nvPr/>
        </p:nvGrpSpPr>
        <p:grpSpPr>
          <a:xfrm>
            <a:off x="7191545" y="0"/>
            <a:ext cx="5000460" cy="1425988"/>
            <a:chOff x="7191545" y="0"/>
            <a:chExt cx="5000460" cy="1425988"/>
          </a:xfrm>
        </p:grpSpPr>
        <p:pic>
          <p:nvPicPr>
            <p:cNvPr id="17048" name="Google Shape;17048;p1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049" name="Google Shape;17049;p1461"/>
            <p:cNvGrpSpPr/>
            <p:nvPr/>
          </p:nvGrpSpPr>
          <p:grpSpPr>
            <a:xfrm>
              <a:off x="7191545" y="0"/>
              <a:ext cx="5000460" cy="1425988"/>
              <a:chOff x="7191545" y="0"/>
              <a:chExt cx="5000460" cy="1425988"/>
            </a:xfrm>
          </p:grpSpPr>
          <p:sp>
            <p:nvSpPr>
              <p:cNvPr id="17050" name="Google Shape;17050;p1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51" name="Google Shape;17051;p1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052" name="Google Shape;17052;p146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53" name="Google Shape;17053;p146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54" name="Google Shape;17054;p1461"/>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55" name="Google Shape;17055;p1461"/>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56" name="Google Shape;17056;p1461"/>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57" name="Google Shape;17057;p146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058" name="Google Shape;17058;p1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059" name="Google Shape;17059;p146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62079487"/>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matchingName="End 8">
  <p:cSld name="1_End 8">
    <p:spTree>
      <p:nvGrpSpPr>
        <p:cNvPr id="1" name="Shape 17070"/>
        <p:cNvGrpSpPr/>
        <p:nvPr/>
      </p:nvGrpSpPr>
      <p:grpSpPr>
        <a:xfrm>
          <a:off x="0" y="0"/>
          <a:ext cx="0" cy="0"/>
          <a:chOff x="0" y="0"/>
          <a:chExt cx="0" cy="0"/>
        </a:xfrm>
      </p:grpSpPr>
      <p:grpSp>
        <p:nvGrpSpPr>
          <p:cNvPr id="17071" name="Google Shape;17071;p1463"/>
          <p:cNvGrpSpPr/>
          <p:nvPr/>
        </p:nvGrpSpPr>
        <p:grpSpPr>
          <a:xfrm>
            <a:off x="0" y="0"/>
            <a:ext cx="12191996" cy="2148830"/>
            <a:chOff x="0" y="0"/>
            <a:chExt cx="12191996" cy="2148830"/>
          </a:xfrm>
        </p:grpSpPr>
        <p:sp>
          <p:nvSpPr>
            <p:cNvPr id="17072" name="Google Shape;17072;p146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073" name="Google Shape;17073;p146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074" name="Google Shape;17074;p1463"/>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075" name="Google Shape;17075;p1463"/>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076" name="Google Shape;17076;p146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077" name="Google Shape;17077;p146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07245709"/>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matchingName="Photo Slide 10">
  <p:cSld name="2_Photo Slide 10">
    <p:spTree>
      <p:nvGrpSpPr>
        <p:cNvPr id="1" name="Shape 17103"/>
        <p:cNvGrpSpPr/>
        <p:nvPr/>
      </p:nvGrpSpPr>
      <p:grpSpPr>
        <a:xfrm>
          <a:off x="0" y="0"/>
          <a:ext cx="0" cy="0"/>
          <a:chOff x="0" y="0"/>
          <a:chExt cx="0" cy="0"/>
        </a:xfrm>
      </p:grpSpPr>
      <p:sp>
        <p:nvSpPr>
          <p:cNvPr id="17104" name="Google Shape;17104;p146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105" name="Google Shape;17105;p1467"/>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106" name="Google Shape;17106;p1467"/>
          <p:cNvGrpSpPr/>
          <p:nvPr/>
        </p:nvGrpSpPr>
        <p:grpSpPr>
          <a:xfrm>
            <a:off x="4" y="5379428"/>
            <a:ext cx="2807363" cy="753895"/>
            <a:chOff x="0" y="5379424"/>
            <a:chExt cx="2807363" cy="753895"/>
          </a:xfrm>
        </p:grpSpPr>
        <p:sp>
          <p:nvSpPr>
            <p:cNvPr id="17107" name="Google Shape;17107;p146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08" name="Google Shape;17108;p146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109" name="Google Shape;17109;p1467"/>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1429863767"/>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matchingName="Quotation 15">
  <p:cSld name="2_Quotation 15">
    <p:spTree>
      <p:nvGrpSpPr>
        <p:cNvPr id="1" name="Shape 17110"/>
        <p:cNvGrpSpPr/>
        <p:nvPr/>
      </p:nvGrpSpPr>
      <p:grpSpPr>
        <a:xfrm>
          <a:off x="0" y="0"/>
          <a:ext cx="0" cy="0"/>
          <a:chOff x="0" y="0"/>
          <a:chExt cx="0" cy="0"/>
        </a:xfrm>
      </p:grpSpPr>
      <p:sp>
        <p:nvSpPr>
          <p:cNvPr id="17111" name="Google Shape;17111;p146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12" name="Google Shape;17112;p146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13" name="Google Shape;17113;p1468"/>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14" name="Google Shape;17114;p146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15" name="Google Shape;17115;p14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16" name="Google Shape;17116;p146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17" name="Google Shape;17117;p1468"/>
          <p:cNvGrpSpPr/>
          <p:nvPr/>
        </p:nvGrpSpPr>
        <p:grpSpPr>
          <a:xfrm>
            <a:off x="7191545" y="0"/>
            <a:ext cx="5000460" cy="1425988"/>
            <a:chOff x="7191545" y="0"/>
            <a:chExt cx="5000460" cy="1425988"/>
          </a:xfrm>
        </p:grpSpPr>
        <p:pic>
          <p:nvPicPr>
            <p:cNvPr id="17118" name="Google Shape;17118;p14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19" name="Google Shape;17119;p1468"/>
            <p:cNvGrpSpPr/>
            <p:nvPr/>
          </p:nvGrpSpPr>
          <p:grpSpPr>
            <a:xfrm>
              <a:off x="7191545" y="0"/>
              <a:ext cx="5000460" cy="1425988"/>
              <a:chOff x="7191545" y="0"/>
              <a:chExt cx="5000460" cy="1425988"/>
            </a:xfrm>
          </p:grpSpPr>
          <p:sp>
            <p:nvSpPr>
              <p:cNvPr id="17120" name="Google Shape;17120;p14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1" name="Google Shape;17121;p14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22" name="Google Shape;17122;p1468"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11374715"/>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matchingName="Title and Content 13">
  <p:cSld name="2_Title and Content 13">
    <p:spTree>
      <p:nvGrpSpPr>
        <p:cNvPr id="1" name="Shape 17123"/>
        <p:cNvGrpSpPr/>
        <p:nvPr/>
      </p:nvGrpSpPr>
      <p:grpSpPr>
        <a:xfrm>
          <a:off x="0" y="0"/>
          <a:ext cx="0" cy="0"/>
          <a:chOff x="0" y="0"/>
          <a:chExt cx="0" cy="0"/>
        </a:xfrm>
      </p:grpSpPr>
      <p:grpSp>
        <p:nvGrpSpPr>
          <p:cNvPr id="17124" name="Google Shape;17124;p1469"/>
          <p:cNvGrpSpPr/>
          <p:nvPr/>
        </p:nvGrpSpPr>
        <p:grpSpPr>
          <a:xfrm>
            <a:off x="7191545" y="0"/>
            <a:ext cx="5000460" cy="1425988"/>
            <a:chOff x="7191545" y="0"/>
            <a:chExt cx="5000460" cy="1425988"/>
          </a:xfrm>
        </p:grpSpPr>
        <p:pic>
          <p:nvPicPr>
            <p:cNvPr id="17125" name="Google Shape;17125;p1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26" name="Google Shape;17126;p1469"/>
            <p:cNvGrpSpPr/>
            <p:nvPr/>
          </p:nvGrpSpPr>
          <p:grpSpPr>
            <a:xfrm>
              <a:off x="7191545" y="0"/>
              <a:ext cx="5000460" cy="1425988"/>
              <a:chOff x="7191545" y="0"/>
              <a:chExt cx="5000460" cy="1425988"/>
            </a:xfrm>
          </p:grpSpPr>
          <p:sp>
            <p:nvSpPr>
              <p:cNvPr id="17127" name="Google Shape;17127;p1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28" name="Google Shape;17128;p1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29" name="Google Shape;17129;p146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0" name="Google Shape;17130;p146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31" name="Google Shape;17131;p146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32" name="Google Shape;17132;p1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33" name="Google Shape;17133;p146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88572799"/>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matchingName="Two Content 9">
  <p:cSld name="2_Two Content 9">
    <p:spTree>
      <p:nvGrpSpPr>
        <p:cNvPr id="1" name="Shape 17134"/>
        <p:cNvGrpSpPr/>
        <p:nvPr/>
      </p:nvGrpSpPr>
      <p:grpSpPr>
        <a:xfrm>
          <a:off x="0" y="0"/>
          <a:ext cx="0" cy="0"/>
          <a:chOff x="0" y="0"/>
          <a:chExt cx="0" cy="0"/>
        </a:xfrm>
      </p:grpSpPr>
      <p:sp>
        <p:nvSpPr>
          <p:cNvPr id="17135" name="Google Shape;17135;p147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36" name="Google Shape;17136;p1470"/>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7137" name="Google Shape;17137;p1470"/>
          <p:cNvGrpSpPr/>
          <p:nvPr/>
        </p:nvGrpSpPr>
        <p:grpSpPr>
          <a:xfrm>
            <a:off x="7191545" y="0"/>
            <a:ext cx="5000460" cy="1425988"/>
            <a:chOff x="7191545" y="0"/>
            <a:chExt cx="5000460" cy="1425988"/>
          </a:xfrm>
        </p:grpSpPr>
        <p:pic>
          <p:nvPicPr>
            <p:cNvPr id="17138" name="Google Shape;17138;p1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39" name="Google Shape;17139;p1470"/>
            <p:cNvGrpSpPr/>
            <p:nvPr/>
          </p:nvGrpSpPr>
          <p:grpSpPr>
            <a:xfrm>
              <a:off x="7191545" y="0"/>
              <a:ext cx="5000460" cy="1425988"/>
              <a:chOff x="7191545" y="0"/>
              <a:chExt cx="5000460" cy="1425988"/>
            </a:xfrm>
          </p:grpSpPr>
          <p:sp>
            <p:nvSpPr>
              <p:cNvPr id="17140" name="Google Shape;17140;p1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41" name="Google Shape;17141;p1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42" name="Google Shape;17142;p1470"/>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43" name="Google Shape;17143;p1470"/>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44" name="Google Shape;17144;p1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45" name="Google Shape;17145;p147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4959349"/>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matchingName="Comparison 8">
  <p:cSld name="2_Comparison 8">
    <p:spTree>
      <p:nvGrpSpPr>
        <p:cNvPr id="1" name="Shape 17146"/>
        <p:cNvGrpSpPr/>
        <p:nvPr/>
      </p:nvGrpSpPr>
      <p:grpSpPr>
        <a:xfrm>
          <a:off x="0" y="0"/>
          <a:ext cx="0" cy="0"/>
          <a:chOff x="0" y="0"/>
          <a:chExt cx="0" cy="0"/>
        </a:xfrm>
      </p:grpSpPr>
      <p:grpSp>
        <p:nvGrpSpPr>
          <p:cNvPr id="17147" name="Google Shape;17147;p1471"/>
          <p:cNvGrpSpPr/>
          <p:nvPr/>
        </p:nvGrpSpPr>
        <p:grpSpPr>
          <a:xfrm>
            <a:off x="7191545" y="0"/>
            <a:ext cx="5000460" cy="1425988"/>
            <a:chOff x="7191545" y="0"/>
            <a:chExt cx="5000460" cy="1425988"/>
          </a:xfrm>
        </p:grpSpPr>
        <p:pic>
          <p:nvPicPr>
            <p:cNvPr id="17148" name="Google Shape;17148;p1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49" name="Google Shape;17149;p1471"/>
            <p:cNvGrpSpPr/>
            <p:nvPr/>
          </p:nvGrpSpPr>
          <p:grpSpPr>
            <a:xfrm>
              <a:off x="7191545" y="0"/>
              <a:ext cx="5000460" cy="1425988"/>
              <a:chOff x="7191545" y="0"/>
              <a:chExt cx="5000460" cy="1425988"/>
            </a:xfrm>
          </p:grpSpPr>
          <p:sp>
            <p:nvSpPr>
              <p:cNvPr id="17150" name="Google Shape;17150;p1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51" name="Google Shape;17151;p1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152" name="Google Shape;17152;p147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53" name="Google Shape;17153;p1471"/>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54" name="Google Shape;17154;p1471"/>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55" name="Google Shape;17155;p1471"/>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56" name="Google Shape;17156;p1471"/>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57" name="Google Shape;17157;p147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58" name="Google Shape;17158;p1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59" name="Google Shape;17159;p147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72397913"/>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matchingName="End 9">
  <p:cSld name="2_End 9">
    <p:spTree>
      <p:nvGrpSpPr>
        <p:cNvPr id="1" name="Shape 17170"/>
        <p:cNvGrpSpPr/>
        <p:nvPr/>
      </p:nvGrpSpPr>
      <p:grpSpPr>
        <a:xfrm>
          <a:off x="0" y="0"/>
          <a:ext cx="0" cy="0"/>
          <a:chOff x="0" y="0"/>
          <a:chExt cx="0" cy="0"/>
        </a:xfrm>
      </p:grpSpPr>
      <p:grpSp>
        <p:nvGrpSpPr>
          <p:cNvPr id="17171" name="Google Shape;17171;p1473"/>
          <p:cNvGrpSpPr/>
          <p:nvPr/>
        </p:nvGrpSpPr>
        <p:grpSpPr>
          <a:xfrm>
            <a:off x="0" y="0"/>
            <a:ext cx="12191996" cy="2148830"/>
            <a:chOff x="0" y="0"/>
            <a:chExt cx="12191996" cy="2148830"/>
          </a:xfrm>
        </p:grpSpPr>
        <p:sp>
          <p:nvSpPr>
            <p:cNvPr id="17172" name="Google Shape;17172;p147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73" name="Google Shape;17173;p147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174" name="Google Shape;17174;p1473"/>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75" name="Google Shape;17175;p1473"/>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76" name="Google Shape;17176;p1473"/>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177" name="Google Shape;17177;p147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95808489"/>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matchingName="3_Quotation 3">
  <p:cSld name="6_Quotation 3">
    <p:spTree>
      <p:nvGrpSpPr>
        <p:cNvPr id="1" name="Shape 17187"/>
        <p:cNvGrpSpPr/>
        <p:nvPr/>
      </p:nvGrpSpPr>
      <p:grpSpPr>
        <a:xfrm>
          <a:off x="0" y="0"/>
          <a:ext cx="0" cy="0"/>
          <a:chOff x="0" y="0"/>
          <a:chExt cx="0" cy="0"/>
        </a:xfrm>
      </p:grpSpPr>
      <p:sp>
        <p:nvSpPr>
          <p:cNvPr id="17188" name="Google Shape;17188;p14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189" name="Google Shape;17189;p1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90" name="Google Shape;17190;p147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191" name="Google Shape;17191;p147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192" name="Google Shape;17192;p1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193" name="Google Shape;17193;p147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94" name="Google Shape;17194;p1475"/>
          <p:cNvGrpSpPr/>
          <p:nvPr/>
        </p:nvGrpSpPr>
        <p:grpSpPr>
          <a:xfrm>
            <a:off x="7191545" y="0"/>
            <a:ext cx="5000460" cy="1425988"/>
            <a:chOff x="7191545" y="0"/>
            <a:chExt cx="5000460" cy="1425988"/>
          </a:xfrm>
        </p:grpSpPr>
        <p:pic>
          <p:nvPicPr>
            <p:cNvPr id="17195" name="Google Shape;17195;p1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196" name="Google Shape;17196;p1475"/>
            <p:cNvGrpSpPr/>
            <p:nvPr/>
          </p:nvGrpSpPr>
          <p:grpSpPr>
            <a:xfrm>
              <a:off x="7191545" y="0"/>
              <a:ext cx="5000460" cy="1425988"/>
              <a:chOff x="7191545" y="0"/>
              <a:chExt cx="5000460" cy="1425988"/>
            </a:xfrm>
          </p:grpSpPr>
          <p:sp>
            <p:nvSpPr>
              <p:cNvPr id="17197" name="Google Shape;17197;p1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198" name="Google Shape;17198;p1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199" name="Google Shape;17199;p147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562167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matchingName="1_Photo Slide 10">
  <p:cSld name="2_Photo Slide 10">
    <p:spTree>
      <p:nvGrpSpPr>
        <p:cNvPr id="1" name="Shape 17216"/>
        <p:cNvGrpSpPr/>
        <p:nvPr/>
      </p:nvGrpSpPr>
      <p:grpSpPr>
        <a:xfrm>
          <a:off x="0" y="0"/>
          <a:ext cx="0" cy="0"/>
          <a:chOff x="0" y="0"/>
          <a:chExt cx="0" cy="0"/>
        </a:xfrm>
      </p:grpSpPr>
      <p:sp>
        <p:nvSpPr>
          <p:cNvPr id="17217" name="Google Shape;17217;p147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218" name="Google Shape;17218;p1478"/>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219" name="Google Shape;17219;p1478"/>
          <p:cNvGrpSpPr/>
          <p:nvPr/>
        </p:nvGrpSpPr>
        <p:grpSpPr>
          <a:xfrm>
            <a:off x="4" y="5379428"/>
            <a:ext cx="2807363" cy="753895"/>
            <a:chOff x="0" y="5379424"/>
            <a:chExt cx="2807363" cy="753895"/>
          </a:xfrm>
        </p:grpSpPr>
        <p:sp>
          <p:nvSpPr>
            <p:cNvPr id="17220" name="Google Shape;17220;p147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1" name="Google Shape;17221;p147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222" name="Google Shape;17222;p1478"/>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2918470573"/>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matchingName="1_Quotation 15">
  <p:cSld name="2_Quotation 15">
    <p:spTree>
      <p:nvGrpSpPr>
        <p:cNvPr id="1" name="Shape 17223"/>
        <p:cNvGrpSpPr/>
        <p:nvPr/>
      </p:nvGrpSpPr>
      <p:grpSpPr>
        <a:xfrm>
          <a:off x="0" y="0"/>
          <a:ext cx="0" cy="0"/>
          <a:chOff x="0" y="0"/>
          <a:chExt cx="0" cy="0"/>
        </a:xfrm>
      </p:grpSpPr>
      <p:sp>
        <p:nvSpPr>
          <p:cNvPr id="17224" name="Google Shape;17224;p147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25" name="Google Shape;17225;p147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26" name="Google Shape;17226;p147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27" name="Google Shape;17227;p147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28" name="Google Shape;17228;p1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29" name="Google Shape;17229;p147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30" name="Google Shape;17230;p1479"/>
          <p:cNvGrpSpPr/>
          <p:nvPr/>
        </p:nvGrpSpPr>
        <p:grpSpPr>
          <a:xfrm>
            <a:off x="7191545" y="0"/>
            <a:ext cx="5000460" cy="1425988"/>
            <a:chOff x="7191545" y="0"/>
            <a:chExt cx="5000460" cy="1425988"/>
          </a:xfrm>
        </p:grpSpPr>
        <p:pic>
          <p:nvPicPr>
            <p:cNvPr id="17231" name="Google Shape;17231;p1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2" name="Google Shape;17232;p1479"/>
            <p:cNvGrpSpPr/>
            <p:nvPr/>
          </p:nvGrpSpPr>
          <p:grpSpPr>
            <a:xfrm>
              <a:off x="7191545" y="0"/>
              <a:ext cx="5000460" cy="1425988"/>
              <a:chOff x="7191545" y="0"/>
              <a:chExt cx="5000460" cy="1425988"/>
            </a:xfrm>
          </p:grpSpPr>
          <p:sp>
            <p:nvSpPr>
              <p:cNvPr id="17233" name="Google Shape;17233;p1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34" name="Google Shape;17234;p1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235" name="Google Shape;17235;p147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718561846"/>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matchingName="1_Title and Content 13">
  <p:cSld name="2_Title and Content 13">
    <p:spTree>
      <p:nvGrpSpPr>
        <p:cNvPr id="1" name="Shape 17236"/>
        <p:cNvGrpSpPr/>
        <p:nvPr/>
      </p:nvGrpSpPr>
      <p:grpSpPr>
        <a:xfrm>
          <a:off x="0" y="0"/>
          <a:ext cx="0" cy="0"/>
          <a:chOff x="0" y="0"/>
          <a:chExt cx="0" cy="0"/>
        </a:xfrm>
      </p:grpSpPr>
      <p:grpSp>
        <p:nvGrpSpPr>
          <p:cNvPr id="17237" name="Google Shape;17237;p1480"/>
          <p:cNvGrpSpPr/>
          <p:nvPr/>
        </p:nvGrpSpPr>
        <p:grpSpPr>
          <a:xfrm>
            <a:off x="7191545" y="0"/>
            <a:ext cx="5000460" cy="1425988"/>
            <a:chOff x="7191545" y="0"/>
            <a:chExt cx="5000460" cy="1425988"/>
          </a:xfrm>
        </p:grpSpPr>
        <p:pic>
          <p:nvPicPr>
            <p:cNvPr id="17238" name="Google Shape;17238;p1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39" name="Google Shape;17239;p1480"/>
            <p:cNvGrpSpPr/>
            <p:nvPr/>
          </p:nvGrpSpPr>
          <p:grpSpPr>
            <a:xfrm>
              <a:off x="7191545" y="0"/>
              <a:ext cx="5000460" cy="1425988"/>
              <a:chOff x="7191545" y="0"/>
              <a:chExt cx="5000460" cy="1425988"/>
            </a:xfrm>
          </p:grpSpPr>
          <p:sp>
            <p:nvSpPr>
              <p:cNvPr id="17240" name="Google Shape;17240;p1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41" name="Google Shape;17241;p1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42" name="Google Shape;17242;p1480"/>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3" name="Google Shape;17243;p148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44" name="Google Shape;17244;p148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45" name="Google Shape;17245;p1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46" name="Google Shape;17246;p148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7431086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matchingName="1_Two Content 9">
  <p:cSld name="2_Two Content 9">
    <p:spTree>
      <p:nvGrpSpPr>
        <p:cNvPr id="1" name="Shape 17247"/>
        <p:cNvGrpSpPr/>
        <p:nvPr/>
      </p:nvGrpSpPr>
      <p:grpSpPr>
        <a:xfrm>
          <a:off x="0" y="0"/>
          <a:ext cx="0" cy="0"/>
          <a:chOff x="0" y="0"/>
          <a:chExt cx="0" cy="0"/>
        </a:xfrm>
      </p:grpSpPr>
      <p:sp>
        <p:nvSpPr>
          <p:cNvPr id="17248" name="Google Shape;17248;p148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9" name="Google Shape;17249;p1481"/>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7250" name="Google Shape;17250;p1481"/>
          <p:cNvGrpSpPr/>
          <p:nvPr/>
        </p:nvGrpSpPr>
        <p:grpSpPr>
          <a:xfrm>
            <a:off x="7191545" y="0"/>
            <a:ext cx="5000460" cy="1425988"/>
            <a:chOff x="7191545" y="0"/>
            <a:chExt cx="5000460" cy="1425988"/>
          </a:xfrm>
        </p:grpSpPr>
        <p:pic>
          <p:nvPicPr>
            <p:cNvPr id="17251" name="Google Shape;17251;p1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52" name="Google Shape;17252;p1481"/>
            <p:cNvGrpSpPr/>
            <p:nvPr/>
          </p:nvGrpSpPr>
          <p:grpSpPr>
            <a:xfrm>
              <a:off x="7191545" y="0"/>
              <a:ext cx="5000460" cy="1425988"/>
              <a:chOff x="7191545" y="0"/>
              <a:chExt cx="5000460" cy="1425988"/>
            </a:xfrm>
          </p:grpSpPr>
          <p:sp>
            <p:nvSpPr>
              <p:cNvPr id="17253" name="Google Shape;17253;p1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54" name="Google Shape;17254;p1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55" name="Google Shape;17255;p1481"/>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56" name="Google Shape;17256;p1481"/>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57" name="Google Shape;17257;p1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58" name="Google Shape;17258;p148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5136498"/>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matchingName="1_Comparison 8">
  <p:cSld name="2_Comparison 8">
    <p:spTree>
      <p:nvGrpSpPr>
        <p:cNvPr id="1" name="Shape 17259"/>
        <p:cNvGrpSpPr/>
        <p:nvPr/>
      </p:nvGrpSpPr>
      <p:grpSpPr>
        <a:xfrm>
          <a:off x="0" y="0"/>
          <a:ext cx="0" cy="0"/>
          <a:chOff x="0" y="0"/>
          <a:chExt cx="0" cy="0"/>
        </a:xfrm>
      </p:grpSpPr>
      <p:grpSp>
        <p:nvGrpSpPr>
          <p:cNvPr id="17260" name="Google Shape;17260;p1482"/>
          <p:cNvGrpSpPr/>
          <p:nvPr/>
        </p:nvGrpSpPr>
        <p:grpSpPr>
          <a:xfrm>
            <a:off x="7191545" y="0"/>
            <a:ext cx="5000460" cy="1425988"/>
            <a:chOff x="7191545" y="0"/>
            <a:chExt cx="5000460" cy="1425988"/>
          </a:xfrm>
        </p:grpSpPr>
        <p:pic>
          <p:nvPicPr>
            <p:cNvPr id="17261" name="Google Shape;17261;p1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262" name="Google Shape;17262;p1482"/>
            <p:cNvGrpSpPr/>
            <p:nvPr/>
          </p:nvGrpSpPr>
          <p:grpSpPr>
            <a:xfrm>
              <a:off x="7191545" y="0"/>
              <a:ext cx="5000460" cy="1425988"/>
              <a:chOff x="7191545" y="0"/>
              <a:chExt cx="5000460" cy="1425988"/>
            </a:xfrm>
          </p:grpSpPr>
          <p:sp>
            <p:nvSpPr>
              <p:cNvPr id="17263" name="Google Shape;17263;p1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64" name="Google Shape;17264;p1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265" name="Google Shape;17265;p148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66" name="Google Shape;17266;p148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67" name="Google Shape;17267;p1482"/>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68" name="Google Shape;17268;p1482"/>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69" name="Google Shape;17269;p1482"/>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70" name="Google Shape;17270;p148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271" name="Google Shape;17271;p1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272" name="Google Shape;17272;p148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0229681"/>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matchingName="1_End 9">
  <p:cSld name="2_End 9">
    <p:spTree>
      <p:nvGrpSpPr>
        <p:cNvPr id="1" name="Shape 17283"/>
        <p:cNvGrpSpPr/>
        <p:nvPr/>
      </p:nvGrpSpPr>
      <p:grpSpPr>
        <a:xfrm>
          <a:off x="0" y="0"/>
          <a:ext cx="0" cy="0"/>
          <a:chOff x="0" y="0"/>
          <a:chExt cx="0" cy="0"/>
        </a:xfrm>
      </p:grpSpPr>
      <p:grpSp>
        <p:nvGrpSpPr>
          <p:cNvPr id="17284" name="Google Shape;17284;p1484"/>
          <p:cNvGrpSpPr/>
          <p:nvPr/>
        </p:nvGrpSpPr>
        <p:grpSpPr>
          <a:xfrm>
            <a:off x="0" y="0"/>
            <a:ext cx="12191996" cy="2148830"/>
            <a:chOff x="0" y="0"/>
            <a:chExt cx="12191996" cy="2148830"/>
          </a:xfrm>
        </p:grpSpPr>
        <p:sp>
          <p:nvSpPr>
            <p:cNvPr id="17285" name="Google Shape;17285;p148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286" name="Google Shape;17286;p148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287" name="Google Shape;17287;p1484"/>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288" name="Google Shape;17288;p1484"/>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289" name="Google Shape;17289;p148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290" name="Google Shape;17290;p148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748998288"/>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matchingName="4_Quotation 3">
  <p:cSld name="6_Quotation 3">
    <p:spTree>
      <p:nvGrpSpPr>
        <p:cNvPr id="1" name="Shape 17300"/>
        <p:cNvGrpSpPr/>
        <p:nvPr/>
      </p:nvGrpSpPr>
      <p:grpSpPr>
        <a:xfrm>
          <a:off x="0" y="0"/>
          <a:ext cx="0" cy="0"/>
          <a:chOff x="0" y="0"/>
          <a:chExt cx="0" cy="0"/>
        </a:xfrm>
      </p:grpSpPr>
      <p:sp>
        <p:nvSpPr>
          <p:cNvPr id="17301" name="Google Shape;17301;p148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302" name="Google Shape;17302;p148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03" name="Google Shape;17303;p148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04" name="Google Shape;17304;p148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305" name="Google Shape;17305;p14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306" name="Google Shape;17306;p148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07" name="Google Shape;17307;p1486"/>
          <p:cNvGrpSpPr/>
          <p:nvPr/>
        </p:nvGrpSpPr>
        <p:grpSpPr>
          <a:xfrm>
            <a:off x="7191545" y="0"/>
            <a:ext cx="5000460" cy="1425988"/>
            <a:chOff x="7191545" y="0"/>
            <a:chExt cx="5000460" cy="1425988"/>
          </a:xfrm>
        </p:grpSpPr>
        <p:pic>
          <p:nvPicPr>
            <p:cNvPr id="17308" name="Google Shape;17308;p14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309" name="Google Shape;17309;p1486"/>
            <p:cNvGrpSpPr/>
            <p:nvPr/>
          </p:nvGrpSpPr>
          <p:grpSpPr>
            <a:xfrm>
              <a:off x="7191545" y="0"/>
              <a:ext cx="5000460" cy="1425988"/>
              <a:chOff x="7191545" y="0"/>
              <a:chExt cx="5000460" cy="1425988"/>
            </a:xfrm>
          </p:grpSpPr>
          <p:sp>
            <p:nvSpPr>
              <p:cNvPr id="17310" name="Google Shape;17310;p14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311" name="Google Shape;17311;p14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312" name="Google Shape;17312;p148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770702166"/>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319"/>
        <p:cNvGrpSpPr/>
        <p:nvPr/>
      </p:nvGrpSpPr>
      <p:grpSpPr>
        <a:xfrm>
          <a:off x="0" y="0"/>
          <a:ext cx="0" cy="0"/>
          <a:chOff x="0" y="0"/>
          <a:chExt cx="0" cy="0"/>
        </a:xfrm>
      </p:grpSpPr>
      <p:sp>
        <p:nvSpPr>
          <p:cNvPr id="17320" name="Google Shape;17320;p1488"/>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21" name="Google Shape;17321;p1488"/>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2" name="Google Shape;17322;p148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23" name="Google Shape;17323;p148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24" name="Google Shape;17324;p148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25" name="Google Shape;17325;p1488"/>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6" name="Google Shape;17326;p148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27" name="Google Shape;17327;p1488"/>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328" name="Google Shape;17328;p1488"/>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613885408"/>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matchingName="3_Title Slide_Yale Blue 2">
  <p:cSld name="4_Title Slide_Yale Blue 2">
    <p:spTree>
      <p:nvGrpSpPr>
        <p:cNvPr id="1" name="Shape 17329"/>
        <p:cNvGrpSpPr/>
        <p:nvPr/>
      </p:nvGrpSpPr>
      <p:grpSpPr>
        <a:xfrm>
          <a:off x="0" y="0"/>
          <a:ext cx="0" cy="0"/>
          <a:chOff x="0" y="0"/>
          <a:chExt cx="0" cy="0"/>
        </a:xfrm>
      </p:grpSpPr>
      <p:sp>
        <p:nvSpPr>
          <p:cNvPr id="17330" name="Google Shape;17330;p1489"/>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31" name="Google Shape;17331;p1489"/>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2" name="Google Shape;17332;p148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33" name="Google Shape;17333;p148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34" name="Google Shape;17334;p148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35" name="Google Shape;17335;p1489"/>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6" name="Google Shape;17336;p1489"/>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37" name="Google Shape;17337;p1489"/>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338" name="Google Shape;17338;p1489"/>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2715516540"/>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339"/>
        <p:cNvGrpSpPr/>
        <p:nvPr/>
      </p:nvGrpSpPr>
      <p:grpSpPr>
        <a:xfrm>
          <a:off x="0" y="0"/>
          <a:ext cx="0" cy="0"/>
          <a:chOff x="0" y="0"/>
          <a:chExt cx="0" cy="0"/>
        </a:xfrm>
      </p:grpSpPr>
      <p:sp>
        <p:nvSpPr>
          <p:cNvPr id="17340" name="Google Shape;17340;p1490"/>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41" name="Google Shape;17341;p1490"/>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2" name="Google Shape;17342;p149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3" name="Google Shape;17343;p1490"/>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344" name="Google Shape;17344;p14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9528928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7345"/>
        <p:cNvGrpSpPr/>
        <p:nvPr/>
      </p:nvGrpSpPr>
      <p:grpSpPr>
        <a:xfrm>
          <a:off x="0" y="0"/>
          <a:ext cx="0" cy="0"/>
          <a:chOff x="0" y="0"/>
          <a:chExt cx="0" cy="0"/>
        </a:xfrm>
      </p:grpSpPr>
      <p:sp>
        <p:nvSpPr>
          <p:cNvPr id="17346" name="Google Shape;17346;p1491"/>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47" name="Google Shape;17347;p14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
        <p:nvSpPr>
          <p:cNvPr id="17348" name="Google Shape;17348;p149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49" name="Google Shape;17349;p1491"/>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0" name="Google Shape;17350;p1491"/>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29559255"/>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7351"/>
        <p:cNvGrpSpPr/>
        <p:nvPr/>
      </p:nvGrpSpPr>
      <p:grpSpPr>
        <a:xfrm>
          <a:off x="0" y="0"/>
          <a:ext cx="0" cy="0"/>
          <a:chOff x="0" y="0"/>
          <a:chExt cx="0" cy="0"/>
        </a:xfrm>
      </p:grpSpPr>
      <p:sp>
        <p:nvSpPr>
          <p:cNvPr id="17352" name="Google Shape;17352;p1492"/>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3" name="Google Shape;17353;p149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54" name="Google Shape;17354;p149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55" name="Google Shape;17355;p149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56" name="Google Shape;17356;p1492"/>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57" name="Google Shape;17357;p14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730749625"/>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matchingName="3_Title Slide_Yale Blue 3">
  <p:cSld name="4_Title Slide_Yale Blue 3">
    <p:spTree>
      <p:nvGrpSpPr>
        <p:cNvPr id="1" name="Shape 17358"/>
        <p:cNvGrpSpPr/>
        <p:nvPr/>
      </p:nvGrpSpPr>
      <p:grpSpPr>
        <a:xfrm>
          <a:off x="0" y="0"/>
          <a:ext cx="0" cy="0"/>
          <a:chOff x="0" y="0"/>
          <a:chExt cx="0" cy="0"/>
        </a:xfrm>
      </p:grpSpPr>
      <p:sp>
        <p:nvSpPr>
          <p:cNvPr id="17359" name="Google Shape;17359;p1493"/>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60" name="Google Shape;17360;p1493"/>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1" name="Google Shape;17361;p149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62" name="Google Shape;17362;p149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63" name="Google Shape;17363;p149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64" name="Google Shape;17364;p1493"/>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5" name="Google Shape;17365;p149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66" name="Google Shape;17366;p1493"/>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367" name="Google Shape;17367;p1493"/>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4156495804"/>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matchingName="Title and Bullets Layout 2">
  <p:cSld name="1_Title and Bullets Layout 2">
    <p:spTree>
      <p:nvGrpSpPr>
        <p:cNvPr id="1" name="Shape 17368"/>
        <p:cNvGrpSpPr/>
        <p:nvPr/>
      </p:nvGrpSpPr>
      <p:grpSpPr>
        <a:xfrm>
          <a:off x="0" y="0"/>
          <a:ext cx="0" cy="0"/>
          <a:chOff x="0" y="0"/>
          <a:chExt cx="0" cy="0"/>
        </a:xfrm>
      </p:grpSpPr>
      <p:sp>
        <p:nvSpPr>
          <p:cNvPr id="17369" name="Google Shape;17369;p1494"/>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0" name="Google Shape;17370;p1494"/>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1" name="Google Shape;17371;p149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2" name="Google Shape;17372;p1494"/>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373" name="Google Shape;17373;p1494"/>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652038661"/>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matchingName="1_Title and Content 2">
  <p:cSld name="2_Title and Content 2">
    <p:spTree>
      <p:nvGrpSpPr>
        <p:cNvPr id="1" name="Shape 17374"/>
        <p:cNvGrpSpPr/>
        <p:nvPr/>
      </p:nvGrpSpPr>
      <p:grpSpPr>
        <a:xfrm>
          <a:off x="0" y="0"/>
          <a:ext cx="0" cy="0"/>
          <a:chOff x="0" y="0"/>
          <a:chExt cx="0" cy="0"/>
        </a:xfrm>
      </p:grpSpPr>
      <p:sp>
        <p:nvSpPr>
          <p:cNvPr id="17375" name="Google Shape;17375;p1495"/>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376" name="Google Shape;17376;p1495"/>
          <p:cNvPicPr preferRelativeResize="0"/>
          <p:nvPr/>
        </p:nvPicPr>
        <p:blipFill rotWithShape="1">
          <a:blip r:embed="rId2">
            <a:alphaModFix/>
          </a:blip>
          <a:srcRect/>
          <a:stretch/>
        </p:blipFill>
        <p:spPr>
          <a:xfrm>
            <a:off x="7132671" y="6364410"/>
            <a:ext cx="5059329" cy="493593"/>
          </a:xfrm>
          <a:prstGeom prst="rect">
            <a:avLst/>
          </a:prstGeom>
          <a:noFill/>
          <a:ln>
            <a:noFill/>
          </a:ln>
        </p:spPr>
      </p:pic>
      <p:sp>
        <p:nvSpPr>
          <p:cNvPr id="17377" name="Google Shape;17377;p149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78" name="Google Shape;17378;p1495"/>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79" name="Google Shape;17379;p1495"/>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84284265"/>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matchingName="Two Section | Picture and Copy Layout 2">
  <p:cSld name="1_Two Section | Picture and Copy Layout 2">
    <p:spTree>
      <p:nvGrpSpPr>
        <p:cNvPr id="1" name="Shape 17380"/>
        <p:cNvGrpSpPr/>
        <p:nvPr/>
      </p:nvGrpSpPr>
      <p:grpSpPr>
        <a:xfrm>
          <a:off x="0" y="0"/>
          <a:ext cx="0" cy="0"/>
          <a:chOff x="0" y="0"/>
          <a:chExt cx="0" cy="0"/>
        </a:xfrm>
      </p:grpSpPr>
      <p:sp>
        <p:nvSpPr>
          <p:cNvPr id="17381" name="Google Shape;17381;p1496"/>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2" name="Google Shape;17382;p149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383" name="Google Shape;17383;p1496"/>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84" name="Google Shape;17384;p1496"/>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85" name="Google Shape;17385;p1496"/>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386" name="Google Shape;17386;p1496"/>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995253818"/>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matchingName="3_Title Slide_Yale Blue 4">
  <p:cSld name="4_Title Slide_Yale Blue 4">
    <p:spTree>
      <p:nvGrpSpPr>
        <p:cNvPr id="1" name="Shape 17387"/>
        <p:cNvGrpSpPr/>
        <p:nvPr/>
      </p:nvGrpSpPr>
      <p:grpSpPr>
        <a:xfrm>
          <a:off x="0" y="0"/>
          <a:ext cx="0" cy="0"/>
          <a:chOff x="0" y="0"/>
          <a:chExt cx="0" cy="0"/>
        </a:xfrm>
      </p:grpSpPr>
      <p:sp>
        <p:nvSpPr>
          <p:cNvPr id="17388" name="Google Shape;17388;p1497"/>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389" name="Google Shape;17389;p1497"/>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0" name="Google Shape;17390;p149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391" name="Google Shape;17391;p149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2" name="Google Shape;17392;p149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393" name="Google Shape;17393;p1497"/>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4" name="Google Shape;17394;p149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395" name="Google Shape;17395;p1497"/>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396" name="Google Shape;17396;p1497"/>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4250515202"/>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matchingName="Title and Bullets Layout 3">
  <p:cSld name="1_Title and Bullets Layout 3">
    <p:spTree>
      <p:nvGrpSpPr>
        <p:cNvPr id="1" name="Shape 17397"/>
        <p:cNvGrpSpPr/>
        <p:nvPr/>
      </p:nvGrpSpPr>
      <p:grpSpPr>
        <a:xfrm>
          <a:off x="0" y="0"/>
          <a:ext cx="0" cy="0"/>
          <a:chOff x="0" y="0"/>
          <a:chExt cx="0" cy="0"/>
        </a:xfrm>
      </p:grpSpPr>
      <p:sp>
        <p:nvSpPr>
          <p:cNvPr id="17398" name="Google Shape;17398;p1498"/>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99" name="Google Shape;17399;p1498"/>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0" name="Google Shape;17400;p149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1" name="Google Shape;17401;p1498"/>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02" name="Google Shape;17402;p1498"/>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066712420"/>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matchingName="1_Title and Content 3">
  <p:cSld name="2_Title and Content 3">
    <p:spTree>
      <p:nvGrpSpPr>
        <p:cNvPr id="1" name="Shape 17403"/>
        <p:cNvGrpSpPr/>
        <p:nvPr/>
      </p:nvGrpSpPr>
      <p:grpSpPr>
        <a:xfrm>
          <a:off x="0" y="0"/>
          <a:ext cx="0" cy="0"/>
          <a:chOff x="0" y="0"/>
          <a:chExt cx="0" cy="0"/>
        </a:xfrm>
      </p:grpSpPr>
      <p:sp>
        <p:nvSpPr>
          <p:cNvPr id="17404" name="Google Shape;17404;p1499"/>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05" name="Google Shape;17405;p1499"/>
          <p:cNvPicPr preferRelativeResize="0"/>
          <p:nvPr/>
        </p:nvPicPr>
        <p:blipFill rotWithShape="1">
          <a:blip r:embed="rId2">
            <a:alphaModFix/>
          </a:blip>
          <a:srcRect/>
          <a:stretch/>
        </p:blipFill>
        <p:spPr>
          <a:xfrm>
            <a:off x="7132671" y="6364410"/>
            <a:ext cx="5059329" cy="493593"/>
          </a:xfrm>
          <a:prstGeom prst="rect">
            <a:avLst/>
          </a:prstGeom>
          <a:noFill/>
          <a:ln>
            <a:noFill/>
          </a:ln>
        </p:spPr>
      </p:pic>
      <p:sp>
        <p:nvSpPr>
          <p:cNvPr id="17406" name="Google Shape;17406;p149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07" name="Google Shape;17407;p1499"/>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08" name="Google Shape;17408;p1499"/>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17666996"/>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matchingName="Two Section | Picture and Copy Layout 3">
  <p:cSld name="1_Two Section | Picture and Copy Layout 3">
    <p:spTree>
      <p:nvGrpSpPr>
        <p:cNvPr id="1" name="Shape 17409"/>
        <p:cNvGrpSpPr/>
        <p:nvPr/>
      </p:nvGrpSpPr>
      <p:grpSpPr>
        <a:xfrm>
          <a:off x="0" y="0"/>
          <a:ext cx="0" cy="0"/>
          <a:chOff x="0" y="0"/>
          <a:chExt cx="0" cy="0"/>
        </a:xfrm>
      </p:grpSpPr>
      <p:sp>
        <p:nvSpPr>
          <p:cNvPr id="17410" name="Google Shape;17410;p1500"/>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1" name="Google Shape;17411;p150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12" name="Google Shape;17412;p1500"/>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13" name="Google Shape;17413;p1500"/>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14" name="Google Shape;17414;p1500"/>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15" name="Google Shape;17415;p1500"/>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42675924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matchingName="3_Title Slide_Yale Blue 5">
  <p:cSld name="5_Title Slide_Yale Blue 5">
    <p:spTree>
      <p:nvGrpSpPr>
        <p:cNvPr id="1" name="Shape 17416"/>
        <p:cNvGrpSpPr/>
        <p:nvPr/>
      </p:nvGrpSpPr>
      <p:grpSpPr>
        <a:xfrm>
          <a:off x="0" y="0"/>
          <a:ext cx="0" cy="0"/>
          <a:chOff x="0" y="0"/>
          <a:chExt cx="0" cy="0"/>
        </a:xfrm>
      </p:grpSpPr>
      <p:sp>
        <p:nvSpPr>
          <p:cNvPr id="17417" name="Google Shape;17417;p1501"/>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18" name="Google Shape;17418;p1501"/>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19" name="Google Shape;17419;p150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20" name="Google Shape;17420;p150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1" name="Google Shape;17421;p150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22" name="Google Shape;17422;p1501"/>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3" name="Google Shape;17423;p1501"/>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24" name="Google Shape;17424;p1501"/>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25" name="Google Shape;17425;p1501"/>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477832398"/>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matchingName="3_Title Slide_Yale Blue 6">
  <p:cSld name="5_Title Slide_Yale Blue 6">
    <p:spTree>
      <p:nvGrpSpPr>
        <p:cNvPr id="1" name="Shape 17426"/>
        <p:cNvGrpSpPr/>
        <p:nvPr/>
      </p:nvGrpSpPr>
      <p:grpSpPr>
        <a:xfrm>
          <a:off x="0" y="0"/>
          <a:ext cx="0" cy="0"/>
          <a:chOff x="0" y="0"/>
          <a:chExt cx="0" cy="0"/>
        </a:xfrm>
      </p:grpSpPr>
      <p:sp>
        <p:nvSpPr>
          <p:cNvPr id="17427" name="Google Shape;17427;p1502"/>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28" name="Google Shape;17428;p1502"/>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29" name="Google Shape;17429;p15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30" name="Google Shape;17430;p150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1" name="Google Shape;17431;p150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32" name="Google Shape;17432;p1502"/>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3" name="Google Shape;17433;p1502"/>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34" name="Google Shape;17434;p1502"/>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35" name="Google Shape;17435;p1502"/>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734012778"/>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matchingName="Title and Bullets Layout 4">
  <p:cSld name="2_Title and Bullets Layout 4">
    <p:spTree>
      <p:nvGrpSpPr>
        <p:cNvPr id="1" name="Shape 17436"/>
        <p:cNvGrpSpPr/>
        <p:nvPr/>
      </p:nvGrpSpPr>
      <p:grpSpPr>
        <a:xfrm>
          <a:off x="0" y="0"/>
          <a:ext cx="0" cy="0"/>
          <a:chOff x="0" y="0"/>
          <a:chExt cx="0" cy="0"/>
        </a:xfrm>
      </p:grpSpPr>
      <p:sp>
        <p:nvSpPr>
          <p:cNvPr id="17437" name="Google Shape;17437;p1503"/>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38" name="Google Shape;17438;p1503"/>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39" name="Google Shape;17439;p150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0" name="Google Shape;17440;p1503"/>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41" name="Google Shape;17441;p1503"/>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2264378486"/>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matchingName="1_Title and Content 4">
  <p:cSld name="3_Title and Content 4">
    <p:spTree>
      <p:nvGrpSpPr>
        <p:cNvPr id="1" name="Shape 17442"/>
        <p:cNvGrpSpPr/>
        <p:nvPr/>
      </p:nvGrpSpPr>
      <p:grpSpPr>
        <a:xfrm>
          <a:off x="0" y="0"/>
          <a:ext cx="0" cy="0"/>
          <a:chOff x="0" y="0"/>
          <a:chExt cx="0" cy="0"/>
        </a:xfrm>
      </p:grpSpPr>
      <p:sp>
        <p:nvSpPr>
          <p:cNvPr id="17443" name="Google Shape;17443;p1504"/>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44" name="Google Shape;17444;p1504"/>
          <p:cNvPicPr preferRelativeResize="0"/>
          <p:nvPr/>
        </p:nvPicPr>
        <p:blipFill rotWithShape="1">
          <a:blip r:embed="rId2">
            <a:alphaModFix/>
          </a:blip>
          <a:srcRect/>
          <a:stretch/>
        </p:blipFill>
        <p:spPr>
          <a:xfrm>
            <a:off x="7132671" y="6364410"/>
            <a:ext cx="5059329" cy="493593"/>
          </a:xfrm>
          <a:prstGeom prst="rect">
            <a:avLst/>
          </a:prstGeom>
          <a:noFill/>
          <a:ln>
            <a:noFill/>
          </a:ln>
        </p:spPr>
      </p:pic>
      <p:sp>
        <p:nvSpPr>
          <p:cNvPr id="17445" name="Google Shape;17445;p150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46" name="Google Shape;17446;p1504"/>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7" name="Google Shape;17447;p1504"/>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39985864"/>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matchingName="Two Section | Picture and Copy Layout 4">
  <p:cSld name="2_Two Section | Picture and Copy Layout 4">
    <p:spTree>
      <p:nvGrpSpPr>
        <p:cNvPr id="1" name="Shape 17448"/>
        <p:cNvGrpSpPr/>
        <p:nvPr/>
      </p:nvGrpSpPr>
      <p:grpSpPr>
        <a:xfrm>
          <a:off x="0" y="0"/>
          <a:ext cx="0" cy="0"/>
          <a:chOff x="0" y="0"/>
          <a:chExt cx="0" cy="0"/>
        </a:xfrm>
      </p:grpSpPr>
      <p:sp>
        <p:nvSpPr>
          <p:cNvPr id="17449" name="Google Shape;17449;p1505"/>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0" name="Google Shape;17450;p150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51" name="Google Shape;17451;p15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52" name="Google Shape;17452;p1505"/>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53" name="Google Shape;17453;p1505"/>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54" name="Google Shape;17454;p1505"/>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78247471"/>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matchingName="3_Title Slide_Yale Blue 7">
  <p:cSld name="5_Title Slide_Yale Blue 7">
    <p:spTree>
      <p:nvGrpSpPr>
        <p:cNvPr id="1" name="Shape 17455"/>
        <p:cNvGrpSpPr/>
        <p:nvPr/>
      </p:nvGrpSpPr>
      <p:grpSpPr>
        <a:xfrm>
          <a:off x="0" y="0"/>
          <a:ext cx="0" cy="0"/>
          <a:chOff x="0" y="0"/>
          <a:chExt cx="0" cy="0"/>
        </a:xfrm>
      </p:grpSpPr>
      <p:sp>
        <p:nvSpPr>
          <p:cNvPr id="17456" name="Google Shape;17456;p1506"/>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57" name="Google Shape;17457;p1506"/>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58" name="Google Shape;17458;p150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459" name="Google Shape;17459;p150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0" name="Google Shape;17460;p150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461" name="Google Shape;17461;p1506"/>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2" name="Google Shape;17462;p1506"/>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463" name="Google Shape;17463;p1506"/>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64" name="Google Shape;17464;p1506"/>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11146625"/>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matchingName="Title and Bullets Layout 5">
  <p:cSld name="2_Title and Bullets Layout 5">
    <p:spTree>
      <p:nvGrpSpPr>
        <p:cNvPr id="1" name="Shape 17465"/>
        <p:cNvGrpSpPr/>
        <p:nvPr/>
      </p:nvGrpSpPr>
      <p:grpSpPr>
        <a:xfrm>
          <a:off x="0" y="0"/>
          <a:ext cx="0" cy="0"/>
          <a:chOff x="0" y="0"/>
          <a:chExt cx="0" cy="0"/>
        </a:xfrm>
      </p:grpSpPr>
      <p:sp>
        <p:nvSpPr>
          <p:cNvPr id="17466" name="Google Shape;17466;p1507"/>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7" name="Google Shape;17467;p1507"/>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8" name="Google Shape;17468;p150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69" name="Google Shape;17469;p1507"/>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70" name="Google Shape;17470;p1507"/>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2647455101"/>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matchingName="2_Title and Content 5">
  <p:cSld name="4_Title and Content 5">
    <p:spTree>
      <p:nvGrpSpPr>
        <p:cNvPr id="1" name="Shape 17471"/>
        <p:cNvGrpSpPr/>
        <p:nvPr/>
      </p:nvGrpSpPr>
      <p:grpSpPr>
        <a:xfrm>
          <a:off x="0" y="0"/>
          <a:ext cx="0" cy="0"/>
          <a:chOff x="0" y="0"/>
          <a:chExt cx="0" cy="0"/>
        </a:xfrm>
      </p:grpSpPr>
      <p:sp>
        <p:nvSpPr>
          <p:cNvPr id="17472" name="Google Shape;17472;p1508"/>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73" name="Google Shape;17473;p1508"/>
          <p:cNvPicPr preferRelativeResize="0"/>
          <p:nvPr/>
        </p:nvPicPr>
        <p:blipFill rotWithShape="1">
          <a:blip r:embed="rId2">
            <a:alphaModFix/>
          </a:blip>
          <a:srcRect/>
          <a:stretch/>
        </p:blipFill>
        <p:spPr>
          <a:xfrm>
            <a:off x="7132671" y="6364410"/>
            <a:ext cx="5059329" cy="493593"/>
          </a:xfrm>
          <a:prstGeom prst="rect">
            <a:avLst/>
          </a:prstGeom>
          <a:noFill/>
          <a:ln>
            <a:noFill/>
          </a:ln>
        </p:spPr>
      </p:pic>
      <p:sp>
        <p:nvSpPr>
          <p:cNvPr id="17474" name="Google Shape;17474;p150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5" name="Google Shape;17475;p1508"/>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76" name="Google Shape;17476;p1508"/>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26927446"/>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matchingName="Two Section | Picture and Copy Layout 5">
  <p:cSld name="2_Two Section | Picture and Copy Layout 5">
    <p:spTree>
      <p:nvGrpSpPr>
        <p:cNvPr id="1" name="Shape 17477"/>
        <p:cNvGrpSpPr/>
        <p:nvPr/>
      </p:nvGrpSpPr>
      <p:grpSpPr>
        <a:xfrm>
          <a:off x="0" y="0"/>
          <a:ext cx="0" cy="0"/>
          <a:chOff x="0" y="0"/>
          <a:chExt cx="0" cy="0"/>
        </a:xfrm>
      </p:grpSpPr>
      <p:sp>
        <p:nvSpPr>
          <p:cNvPr id="17478" name="Google Shape;17478;p1509"/>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79" name="Google Shape;17479;p150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0" name="Google Shape;17480;p150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81" name="Google Shape;17481;p1509"/>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482" name="Google Shape;17482;p1509"/>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83" name="Google Shape;17483;p1509"/>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4181948924"/>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matchingName="Title and Bullets Layout 6">
  <p:cSld name="1_Title and Bullets Layout 6">
    <p:spTree>
      <p:nvGrpSpPr>
        <p:cNvPr id="1" name="Shape 17484"/>
        <p:cNvGrpSpPr/>
        <p:nvPr/>
      </p:nvGrpSpPr>
      <p:grpSpPr>
        <a:xfrm>
          <a:off x="0" y="0"/>
          <a:ext cx="0" cy="0"/>
          <a:chOff x="0" y="0"/>
          <a:chExt cx="0" cy="0"/>
        </a:xfrm>
      </p:grpSpPr>
      <p:sp>
        <p:nvSpPr>
          <p:cNvPr id="17485" name="Google Shape;17485;p1510"/>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86" name="Google Shape;17486;p1510"/>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7" name="Google Shape;17487;p151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88" name="Google Shape;17488;p1510"/>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489" name="Google Shape;17489;p15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22255060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matchingName="1_Title and Content 6">
  <p:cSld name="2_Title and Content 6">
    <p:spTree>
      <p:nvGrpSpPr>
        <p:cNvPr id="1" name="Shape 17490"/>
        <p:cNvGrpSpPr/>
        <p:nvPr/>
      </p:nvGrpSpPr>
      <p:grpSpPr>
        <a:xfrm>
          <a:off x="0" y="0"/>
          <a:ext cx="0" cy="0"/>
          <a:chOff x="0" y="0"/>
          <a:chExt cx="0" cy="0"/>
        </a:xfrm>
      </p:grpSpPr>
      <p:sp>
        <p:nvSpPr>
          <p:cNvPr id="17491" name="Google Shape;17491;p1511"/>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492" name="Google Shape;17492;p1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
        <p:nvSpPr>
          <p:cNvPr id="17493" name="Google Shape;17493;p151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4" name="Google Shape;17494;p1511"/>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95" name="Google Shape;17495;p1511"/>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88160172"/>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matchingName="Two Section | Picture and Copy Layout 6">
  <p:cSld name="1_Two Section | Picture and Copy Layout 6">
    <p:spTree>
      <p:nvGrpSpPr>
        <p:cNvPr id="1" name="Shape 17496"/>
        <p:cNvGrpSpPr/>
        <p:nvPr/>
      </p:nvGrpSpPr>
      <p:grpSpPr>
        <a:xfrm>
          <a:off x="0" y="0"/>
          <a:ext cx="0" cy="0"/>
          <a:chOff x="0" y="0"/>
          <a:chExt cx="0" cy="0"/>
        </a:xfrm>
      </p:grpSpPr>
      <p:sp>
        <p:nvSpPr>
          <p:cNvPr id="17497" name="Google Shape;17497;p1512"/>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8" name="Google Shape;17498;p151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499" name="Google Shape;17499;p151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00" name="Google Shape;17500;p1512"/>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01" name="Google Shape;17501;p1512"/>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02" name="Google Shape;17502;p1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1937509341"/>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matchingName="4_Title Slide_Yale Blue 5">
  <p:cSld name="5_Title Slide_Yale Blue 5">
    <p:spTree>
      <p:nvGrpSpPr>
        <p:cNvPr id="1" name="Shape 17503"/>
        <p:cNvGrpSpPr/>
        <p:nvPr/>
      </p:nvGrpSpPr>
      <p:grpSpPr>
        <a:xfrm>
          <a:off x="0" y="0"/>
          <a:ext cx="0" cy="0"/>
          <a:chOff x="0" y="0"/>
          <a:chExt cx="0" cy="0"/>
        </a:xfrm>
      </p:grpSpPr>
      <p:sp>
        <p:nvSpPr>
          <p:cNvPr id="17504" name="Google Shape;17504;p1513"/>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05" name="Google Shape;17505;p1513"/>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6" name="Google Shape;17506;p151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07" name="Google Shape;17507;p151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08" name="Google Shape;17508;p151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09" name="Google Shape;17509;p1513"/>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0" name="Google Shape;17510;p151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11" name="Google Shape;17511;p1513"/>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512" name="Google Shape;17512;p1513"/>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208028640"/>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matchingName="4_Title Slide_Yale Blue 6">
  <p:cSld name="5_Title Slide_Yale Blue 6">
    <p:spTree>
      <p:nvGrpSpPr>
        <p:cNvPr id="1" name="Shape 17513"/>
        <p:cNvGrpSpPr/>
        <p:nvPr/>
      </p:nvGrpSpPr>
      <p:grpSpPr>
        <a:xfrm>
          <a:off x="0" y="0"/>
          <a:ext cx="0" cy="0"/>
          <a:chOff x="0" y="0"/>
          <a:chExt cx="0" cy="0"/>
        </a:xfrm>
      </p:grpSpPr>
      <p:sp>
        <p:nvSpPr>
          <p:cNvPr id="17514" name="Google Shape;17514;p1514"/>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15" name="Google Shape;17515;p1514"/>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6" name="Google Shape;17516;p151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17" name="Google Shape;17517;p151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18" name="Google Shape;17518;p151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19" name="Google Shape;17519;p1514"/>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0" name="Google Shape;17520;p1514"/>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21" name="Google Shape;17521;p1514"/>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522" name="Google Shape;17522;p1514"/>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4051823432"/>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matchingName="1_Title and Bullets Layout 4">
  <p:cSld name="2_Title and Bullets Layout 4">
    <p:spTree>
      <p:nvGrpSpPr>
        <p:cNvPr id="1" name="Shape 17523"/>
        <p:cNvGrpSpPr/>
        <p:nvPr/>
      </p:nvGrpSpPr>
      <p:grpSpPr>
        <a:xfrm>
          <a:off x="0" y="0"/>
          <a:ext cx="0" cy="0"/>
          <a:chOff x="0" y="0"/>
          <a:chExt cx="0" cy="0"/>
        </a:xfrm>
      </p:grpSpPr>
      <p:sp>
        <p:nvSpPr>
          <p:cNvPr id="17524" name="Google Shape;17524;p1515"/>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25" name="Google Shape;17525;p1515"/>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6" name="Google Shape;17526;p151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27" name="Google Shape;17527;p1515"/>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528" name="Google Shape;17528;p1515"/>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1584977955"/>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matchingName="2_Title and Content 4">
  <p:cSld name="3_Title and Content 4">
    <p:spTree>
      <p:nvGrpSpPr>
        <p:cNvPr id="1" name="Shape 17529"/>
        <p:cNvGrpSpPr/>
        <p:nvPr/>
      </p:nvGrpSpPr>
      <p:grpSpPr>
        <a:xfrm>
          <a:off x="0" y="0"/>
          <a:ext cx="0" cy="0"/>
          <a:chOff x="0" y="0"/>
          <a:chExt cx="0" cy="0"/>
        </a:xfrm>
      </p:grpSpPr>
      <p:sp>
        <p:nvSpPr>
          <p:cNvPr id="17530" name="Google Shape;17530;p1516"/>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31" name="Google Shape;17531;p1516"/>
          <p:cNvPicPr preferRelativeResize="0"/>
          <p:nvPr/>
        </p:nvPicPr>
        <p:blipFill rotWithShape="1">
          <a:blip r:embed="rId2">
            <a:alphaModFix/>
          </a:blip>
          <a:srcRect/>
          <a:stretch/>
        </p:blipFill>
        <p:spPr>
          <a:xfrm>
            <a:off x="7132671" y="6364410"/>
            <a:ext cx="5059329" cy="493593"/>
          </a:xfrm>
          <a:prstGeom prst="rect">
            <a:avLst/>
          </a:prstGeom>
          <a:noFill/>
          <a:ln>
            <a:noFill/>
          </a:ln>
        </p:spPr>
      </p:pic>
      <p:sp>
        <p:nvSpPr>
          <p:cNvPr id="17532" name="Google Shape;17532;p151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3" name="Google Shape;17533;p1516"/>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34" name="Google Shape;17534;p1516"/>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93966747"/>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matchingName="1_Two Section | Picture and Copy Layout 4">
  <p:cSld name="2_Two Section | Picture and Copy Layout 4">
    <p:spTree>
      <p:nvGrpSpPr>
        <p:cNvPr id="1" name="Shape 17535"/>
        <p:cNvGrpSpPr/>
        <p:nvPr/>
      </p:nvGrpSpPr>
      <p:grpSpPr>
        <a:xfrm>
          <a:off x="0" y="0"/>
          <a:ext cx="0" cy="0"/>
          <a:chOff x="0" y="0"/>
          <a:chExt cx="0" cy="0"/>
        </a:xfrm>
      </p:grpSpPr>
      <p:sp>
        <p:nvSpPr>
          <p:cNvPr id="17536" name="Google Shape;17536;p1517"/>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7" name="Google Shape;17537;p151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38" name="Google Shape;17538;p151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39" name="Google Shape;17539;p1517"/>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40" name="Google Shape;17540;p1517"/>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41" name="Google Shape;17541;p1517"/>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182155483"/>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matchingName="4_Title Slide_Yale Blue 7">
  <p:cSld name="5_Title Slide_Yale Blue 7">
    <p:spTree>
      <p:nvGrpSpPr>
        <p:cNvPr id="1" name="Shape 17542"/>
        <p:cNvGrpSpPr/>
        <p:nvPr/>
      </p:nvGrpSpPr>
      <p:grpSpPr>
        <a:xfrm>
          <a:off x="0" y="0"/>
          <a:ext cx="0" cy="0"/>
          <a:chOff x="0" y="0"/>
          <a:chExt cx="0" cy="0"/>
        </a:xfrm>
      </p:grpSpPr>
      <p:sp>
        <p:nvSpPr>
          <p:cNvPr id="17543" name="Google Shape;17543;p1518"/>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44" name="Google Shape;17544;p1518"/>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5" name="Google Shape;17545;p151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546" name="Google Shape;17546;p151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47" name="Google Shape;17547;p151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548" name="Google Shape;17548;p1518"/>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49" name="Google Shape;17549;p151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550" name="Google Shape;17550;p1518"/>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551" name="Google Shape;17551;p1518"/>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2415881068"/>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matchingName="1_Title and Bullets Layout 5">
  <p:cSld name="2_Title and Bullets Layout 5">
    <p:spTree>
      <p:nvGrpSpPr>
        <p:cNvPr id="1" name="Shape 17552"/>
        <p:cNvGrpSpPr/>
        <p:nvPr/>
      </p:nvGrpSpPr>
      <p:grpSpPr>
        <a:xfrm>
          <a:off x="0" y="0"/>
          <a:ext cx="0" cy="0"/>
          <a:chOff x="0" y="0"/>
          <a:chExt cx="0" cy="0"/>
        </a:xfrm>
      </p:grpSpPr>
      <p:sp>
        <p:nvSpPr>
          <p:cNvPr id="17553" name="Google Shape;17553;p1519"/>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54" name="Google Shape;17554;p1519"/>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5" name="Google Shape;17555;p151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56" name="Google Shape;17556;p1519"/>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557" name="Google Shape;17557;p1519"/>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2783609930"/>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matchingName="3_Title and Content 5">
  <p:cSld name="4_Title and Content 5">
    <p:spTree>
      <p:nvGrpSpPr>
        <p:cNvPr id="1" name="Shape 17558"/>
        <p:cNvGrpSpPr/>
        <p:nvPr/>
      </p:nvGrpSpPr>
      <p:grpSpPr>
        <a:xfrm>
          <a:off x="0" y="0"/>
          <a:ext cx="0" cy="0"/>
          <a:chOff x="0" y="0"/>
          <a:chExt cx="0" cy="0"/>
        </a:xfrm>
      </p:grpSpPr>
      <p:sp>
        <p:nvSpPr>
          <p:cNvPr id="17559" name="Google Shape;17559;p1520"/>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560" name="Google Shape;17560;p1520"/>
          <p:cNvPicPr preferRelativeResize="0"/>
          <p:nvPr/>
        </p:nvPicPr>
        <p:blipFill rotWithShape="1">
          <a:blip r:embed="rId2">
            <a:alphaModFix/>
          </a:blip>
          <a:srcRect/>
          <a:stretch/>
        </p:blipFill>
        <p:spPr>
          <a:xfrm>
            <a:off x="7132671" y="6364410"/>
            <a:ext cx="5059329" cy="493593"/>
          </a:xfrm>
          <a:prstGeom prst="rect">
            <a:avLst/>
          </a:prstGeom>
          <a:noFill/>
          <a:ln>
            <a:noFill/>
          </a:ln>
        </p:spPr>
      </p:pic>
      <p:sp>
        <p:nvSpPr>
          <p:cNvPr id="17561" name="Google Shape;17561;p152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2" name="Google Shape;17562;p1520"/>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3" name="Google Shape;17563;p1520"/>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33376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73"/>
        <p:cNvGrpSpPr/>
        <p:nvPr/>
      </p:nvGrpSpPr>
      <p:grpSpPr>
        <a:xfrm>
          <a:off x="0" y="0"/>
          <a:ext cx="0" cy="0"/>
          <a:chOff x="0" y="0"/>
          <a:chExt cx="0" cy="0"/>
        </a:xfrm>
      </p:grpSpPr>
      <p:grpSp>
        <p:nvGrpSpPr>
          <p:cNvPr id="74" name="Google Shape;74;p8"/>
          <p:cNvGrpSpPr/>
          <p:nvPr/>
        </p:nvGrpSpPr>
        <p:grpSpPr>
          <a:xfrm>
            <a:off x="7191542" y="1"/>
            <a:ext cx="5000459" cy="1425992"/>
            <a:chOff x="7191542" y="1"/>
            <a:chExt cx="5000459" cy="1425992"/>
          </a:xfrm>
        </p:grpSpPr>
        <p:pic>
          <p:nvPicPr>
            <p:cNvPr id="75" name="Google Shape;75;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 name="Google Shape;76;p8"/>
            <p:cNvGrpSpPr/>
            <p:nvPr/>
          </p:nvGrpSpPr>
          <p:grpSpPr>
            <a:xfrm>
              <a:off x="7191542" y="1"/>
              <a:ext cx="5000459" cy="1425992"/>
              <a:chOff x="7186272" y="0"/>
              <a:chExt cx="5005729" cy="1427495"/>
            </a:xfrm>
          </p:grpSpPr>
          <p:sp>
            <p:nvSpPr>
              <p:cNvPr id="77" name="Google Shape;77;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 name="Google Shape;79;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 name="Google Shape;81;p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 name="Google Shape;83;p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matchingName="1_Two Section | Picture and Copy Layout 5">
  <p:cSld name="2_Two Section | Picture and Copy Layout 5">
    <p:spTree>
      <p:nvGrpSpPr>
        <p:cNvPr id="1" name="Shape 17564"/>
        <p:cNvGrpSpPr/>
        <p:nvPr/>
      </p:nvGrpSpPr>
      <p:grpSpPr>
        <a:xfrm>
          <a:off x="0" y="0"/>
          <a:ext cx="0" cy="0"/>
          <a:chOff x="0" y="0"/>
          <a:chExt cx="0" cy="0"/>
        </a:xfrm>
      </p:grpSpPr>
      <p:sp>
        <p:nvSpPr>
          <p:cNvPr id="17565" name="Google Shape;17565;p1521"/>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6" name="Google Shape;17566;p152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567" name="Google Shape;17567;p152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68" name="Google Shape;17568;p1521"/>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69" name="Google Shape;17569;p1521"/>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570" name="Google Shape;17570;p1521"/>
          <p:cNvPicPr preferRelativeResize="0"/>
          <p:nvPr/>
        </p:nvPicPr>
        <p:blipFill rotWithShape="1">
          <a:blip r:embed="rId2">
            <a:alphaModFix/>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60773450"/>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matchingName="Photo Slide 11">
  <p:cSld name="1_Photo Slide 11">
    <p:spTree>
      <p:nvGrpSpPr>
        <p:cNvPr id="1" name="Shape 17587"/>
        <p:cNvGrpSpPr/>
        <p:nvPr/>
      </p:nvGrpSpPr>
      <p:grpSpPr>
        <a:xfrm>
          <a:off x="0" y="0"/>
          <a:ext cx="0" cy="0"/>
          <a:chOff x="0" y="0"/>
          <a:chExt cx="0" cy="0"/>
        </a:xfrm>
      </p:grpSpPr>
      <p:sp>
        <p:nvSpPr>
          <p:cNvPr id="17588" name="Google Shape;17588;p152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589" name="Google Shape;17589;p1524"/>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590" name="Google Shape;17590;p1524"/>
          <p:cNvGrpSpPr/>
          <p:nvPr/>
        </p:nvGrpSpPr>
        <p:grpSpPr>
          <a:xfrm>
            <a:off x="4" y="5379428"/>
            <a:ext cx="2807363" cy="753895"/>
            <a:chOff x="0" y="5379424"/>
            <a:chExt cx="2807363" cy="753895"/>
          </a:xfrm>
        </p:grpSpPr>
        <p:sp>
          <p:nvSpPr>
            <p:cNvPr id="17591" name="Google Shape;17591;p152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2" name="Google Shape;17592;p152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593" name="Google Shape;17593;p1524"/>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1668228326"/>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matchingName="Quotation 16">
  <p:cSld name="2_Quotation 16">
    <p:spTree>
      <p:nvGrpSpPr>
        <p:cNvPr id="1" name="Shape 17594"/>
        <p:cNvGrpSpPr/>
        <p:nvPr/>
      </p:nvGrpSpPr>
      <p:grpSpPr>
        <a:xfrm>
          <a:off x="0" y="0"/>
          <a:ext cx="0" cy="0"/>
          <a:chOff x="0" y="0"/>
          <a:chExt cx="0" cy="0"/>
        </a:xfrm>
      </p:grpSpPr>
      <p:sp>
        <p:nvSpPr>
          <p:cNvPr id="17595" name="Google Shape;17595;p152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596" name="Google Shape;17596;p152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97" name="Google Shape;17597;p152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598" name="Google Shape;17598;p152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599" name="Google Shape;17599;p15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00" name="Google Shape;17600;p152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01" name="Google Shape;17601;p1525"/>
          <p:cNvGrpSpPr/>
          <p:nvPr/>
        </p:nvGrpSpPr>
        <p:grpSpPr>
          <a:xfrm>
            <a:off x="7191545" y="0"/>
            <a:ext cx="5000460" cy="1425988"/>
            <a:chOff x="7191545" y="0"/>
            <a:chExt cx="5000460" cy="1425988"/>
          </a:xfrm>
        </p:grpSpPr>
        <p:pic>
          <p:nvPicPr>
            <p:cNvPr id="17602" name="Google Shape;17602;p15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03" name="Google Shape;17603;p1525"/>
            <p:cNvGrpSpPr/>
            <p:nvPr/>
          </p:nvGrpSpPr>
          <p:grpSpPr>
            <a:xfrm>
              <a:off x="7191545" y="0"/>
              <a:ext cx="5000460" cy="1425988"/>
              <a:chOff x="7191545" y="0"/>
              <a:chExt cx="5000460" cy="1425988"/>
            </a:xfrm>
          </p:grpSpPr>
          <p:sp>
            <p:nvSpPr>
              <p:cNvPr id="17604" name="Google Shape;17604;p15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05" name="Google Shape;17605;p15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06" name="Google Shape;17606;p152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446860756"/>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matchingName="1_Quotation 16">
  <p:cSld name="2_Quotation 16">
    <p:spTree>
      <p:nvGrpSpPr>
        <p:cNvPr id="1" name="Shape 17607"/>
        <p:cNvGrpSpPr/>
        <p:nvPr/>
      </p:nvGrpSpPr>
      <p:grpSpPr>
        <a:xfrm>
          <a:off x="0" y="0"/>
          <a:ext cx="0" cy="0"/>
          <a:chOff x="0" y="0"/>
          <a:chExt cx="0" cy="0"/>
        </a:xfrm>
      </p:grpSpPr>
      <p:sp>
        <p:nvSpPr>
          <p:cNvPr id="17608" name="Google Shape;17608;p15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09" name="Google Shape;17609;p15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10" name="Google Shape;17610;p152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11" name="Google Shape;17611;p152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12" name="Google Shape;17612;p1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13" name="Google Shape;17613;p152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14" name="Google Shape;17614;p1526"/>
          <p:cNvGrpSpPr/>
          <p:nvPr/>
        </p:nvGrpSpPr>
        <p:grpSpPr>
          <a:xfrm>
            <a:off x="7191545" y="0"/>
            <a:ext cx="5000460" cy="1425988"/>
            <a:chOff x="7191545" y="0"/>
            <a:chExt cx="5000460" cy="1425988"/>
          </a:xfrm>
        </p:grpSpPr>
        <p:pic>
          <p:nvPicPr>
            <p:cNvPr id="17615" name="Google Shape;17615;p1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16" name="Google Shape;17616;p1526"/>
            <p:cNvGrpSpPr/>
            <p:nvPr/>
          </p:nvGrpSpPr>
          <p:grpSpPr>
            <a:xfrm>
              <a:off x="7191545" y="0"/>
              <a:ext cx="5000460" cy="1425988"/>
              <a:chOff x="7191545" y="0"/>
              <a:chExt cx="5000460" cy="1425988"/>
            </a:xfrm>
          </p:grpSpPr>
          <p:sp>
            <p:nvSpPr>
              <p:cNvPr id="17617" name="Google Shape;17617;p1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18" name="Google Shape;17618;p1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619" name="Google Shape;17619;p152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986021363"/>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matchingName="Two Content 10">
  <p:cSld name="1_Two Content 10">
    <p:spTree>
      <p:nvGrpSpPr>
        <p:cNvPr id="1" name="Shape 17620"/>
        <p:cNvGrpSpPr/>
        <p:nvPr/>
      </p:nvGrpSpPr>
      <p:grpSpPr>
        <a:xfrm>
          <a:off x="0" y="0"/>
          <a:ext cx="0" cy="0"/>
          <a:chOff x="0" y="0"/>
          <a:chExt cx="0" cy="0"/>
        </a:xfrm>
      </p:grpSpPr>
      <p:sp>
        <p:nvSpPr>
          <p:cNvPr id="17621" name="Google Shape;17621;p1527"/>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2" name="Google Shape;17622;p1527"/>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7623" name="Google Shape;17623;p1527"/>
          <p:cNvGrpSpPr/>
          <p:nvPr/>
        </p:nvGrpSpPr>
        <p:grpSpPr>
          <a:xfrm>
            <a:off x="7191545" y="0"/>
            <a:ext cx="5000460" cy="1425988"/>
            <a:chOff x="7191545" y="0"/>
            <a:chExt cx="5000460" cy="1425988"/>
          </a:xfrm>
        </p:grpSpPr>
        <p:pic>
          <p:nvPicPr>
            <p:cNvPr id="17624" name="Google Shape;17624;p1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25" name="Google Shape;17625;p1527"/>
            <p:cNvGrpSpPr/>
            <p:nvPr/>
          </p:nvGrpSpPr>
          <p:grpSpPr>
            <a:xfrm>
              <a:off x="7191545" y="0"/>
              <a:ext cx="5000460" cy="1425988"/>
              <a:chOff x="7191545" y="0"/>
              <a:chExt cx="5000460" cy="1425988"/>
            </a:xfrm>
          </p:grpSpPr>
          <p:sp>
            <p:nvSpPr>
              <p:cNvPr id="17626" name="Google Shape;17626;p1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27" name="Google Shape;17627;p1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28" name="Google Shape;17628;p1527"/>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29" name="Google Shape;17629;p1527"/>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30" name="Google Shape;17630;p1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31" name="Google Shape;17631;p152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19176867"/>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matchingName="Comparison 9">
  <p:cSld name="1_Comparison 9">
    <p:spTree>
      <p:nvGrpSpPr>
        <p:cNvPr id="1" name="Shape 17632"/>
        <p:cNvGrpSpPr/>
        <p:nvPr/>
      </p:nvGrpSpPr>
      <p:grpSpPr>
        <a:xfrm>
          <a:off x="0" y="0"/>
          <a:ext cx="0" cy="0"/>
          <a:chOff x="0" y="0"/>
          <a:chExt cx="0" cy="0"/>
        </a:xfrm>
      </p:grpSpPr>
      <p:grpSp>
        <p:nvGrpSpPr>
          <p:cNvPr id="17633" name="Google Shape;17633;p1528"/>
          <p:cNvGrpSpPr/>
          <p:nvPr/>
        </p:nvGrpSpPr>
        <p:grpSpPr>
          <a:xfrm>
            <a:off x="7191545" y="0"/>
            <a:ext cx="5000460" cy="1425988"/>
            <a:chOff x="7191545" y="0"/>
            <a:chExt cx="5000460" cy="1425988"/>
          </a:xfrm>
        </p:grpSpPr>
        <p:pic>
          <p:nvPicPr>
            <p:cNvPr id="17634" name="Google Shape;17634;p15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635" name="Google Shape;17635;p1528"/>
            <p:cNvGrpSpPr/>
            <p:nvPr/>
          </p:nvGrpSpPr>
          <p:grpSpPr>
            <a:xfrm>
              <a:off x="7191545" y="0"/>
              <a:ext cx="5000460" cy="1425988"/>
              <a:chOff x="7191545" y="0"/>
              <a:chExt cx="5000460" cy="1425988"/>
            </a:xfrm>
          </p:grpSpPr>
          <p:sp>
            <p:nvSpPr>
              <p:cNvPr id="17636" name="Google Shape;17636;p15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37" name="Google Shape;17637;p15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638" name="Google Shape;17638;p1528"/>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39" name="Google Shape;17639;p1528"/>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40" name="Google Shape;17640;p1528"/>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41" name="Google Shape;17641;p1528"/>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42" name="Google Shape;17642;p1528"/>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43" name="Google Shape;17643;p152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644" name="Google Shape;17644;p15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645" name="Google Shape;17645;p152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26397970"/>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matchingName="End 10">
  <p:cSld name="1_End 10">
    <p:spTree>
      <p:nvGrpSpPr>
        <p:cNvPr id="1" name="Shape 17656"/>
        <p:cNvGrpSpPr/>
        <p:nvPr/>
      </p:nvGrpSpPr>
      <p:grpSpPr>
        <a:xfrm>
          <a:off x="0" y="0"/>
          <a:ext cx="0" cy="0"/>
          <a:chOff x="0" y="0"/>
          <a:chExt cx="0" cy="0"/>
        </a:xfrm>
      </p:grpSpPr>
      <p:grpSp>
        <p:nvGrpSpPr>
          <p:cNvPr id="17657" name="Google Shape;17657;p1530"/>
          <p:cNvGrpSpPr/>
          <p:nvPr/>
        </p:nvGrpSpPr>
        <p:grpSpPr>
          <a:xfrm>
            <a:off x="0" y="0"/>
            <a:ext cx="12191996" cy="2148830"/>
            <a:chOff x="0" y="0"/>
            <a:chExt cx="12191996" cy="2148830"/>
          </a:xfrm>
        </p:grpSpPr>
        <p:sp>
          <p:nvSpPr>
            <p:cNvPr id="17658" name="Google Shape;17658;p153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659" name="Google Shape;17659;p153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660" name="Google Shape;17660;p1530"/>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61" name="Google Shape;17661;p1530"/>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662" name="Google Shape;17662;p1530"/>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663" name="Google Shape;17663;p153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667725111"/>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matchingName="Photo Slide 12">
  <p:cSld name="1_Photo Slide 12">
    <p:spTree>
      <p:nvGrpSpPr>
        <p:cNvPr id="1" name="Shape 17689"/>
        <p:cNvGrpSpPr/>
        <p:nvPr/>
      </p:nvGrpSpPr>
      <p:grpSpPr>
        <a:xfrm>
          <a:off x="0" y="0"/>
          <a:ext cx="0" cy="0"/>
          <a:chOff x="0" y="0"/>
          <a:chExt cx="0" cy="0"/>
        </a:xfrm>
      </p:grpSpPr>
      <p:sp>
        <p:nvSpPr>
          <p:cNvPr id="17690" name="Google Shape;17690;p153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691" name="Google Shape;17691;p1534"/>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692" name="Google Shape;17692;p1534"/>
          <p:cNvGrpSpPr/>
          <p:nvPr/>
        </p:nvGrpSpPr>
        <p:grpSpPr>
          <a:xfrm>
            <a:off x="4" y="5379428"/>
            <a:ext cx="2807363" cy="753895"/>
            <a:chOff x="0" y="5379424"/>
            <a:chExt cx="2807363" cy="753895"/>
          </a:xfrm>
        </p:grpSpPr>
        <p:sp>
          <p:nvSpPr>
            <p:cNvPr id="17693" name="Google Shape;17693;p153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4" name="Google Shape;17694;p153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695" name="Google Shape;17695;p1534"/>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462180217"/>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matchingName="Quotation 17">
  <p:cSld name="2_Quotation 17">
    <p:spTree>
      <p:nvGrpSpPr>
        <p:cNvPr id="1" name="Shape 17696"/>
        <p:cNvGrpSpPr/>
        <p:nvPr/>
      </p:nvGrpSpPr>
      <p:grpSpPr>
        <a:xfrm>
          <a:off x="0" y="0"/>
          <a:ext cx="0" cy="0"/>
          <a:chOff x="0" y="0"/>
          <a:chExt cx="0" cy="0"/>
        </a:xfrm>
      </p:grpSpPr>
      <p:sp>
        <p:nvSpPr>
          <p:cNvPr id="17697" name="Google Shape;17697;p153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698" name="Google Shape;17698;p15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99" name="Google Shape;17699;p153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00" name="Google Shape;17700;p153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01" name="Google Shape;17701;p1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02" name="Google Shape;17702;p153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03" name="Google Shape;17703;p1535"/>
          <p:cNvGrpSpPr/>
          <p:nvPr/>
        </p:nvGrpSpPr>
        <p:grpSpPr>
          <a:xfrm>
            <a:off x="7191545" y="0"/>
            <a:ext cx="5000460" cy="1425988"/>
            <a:chOff x="7191545" y="0"/>
            <a:chExt cx="5000460" cy="1425988"/>
          </a:xfrm>
        </p:grpSpPr>
        <p:pic>
          <p:nvPicPr>
            <p:cNvPr id="17704" name="Google Shape;17704;p1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05" name="Google Shape;17705;p1535"/>
            <p:cNvGrpSpPr/>
            <p:nvPr/>
          </p:nvGrpSpPr>
          <p:grpSpPr>
            <a:xfrm>
              <a:off x="7191545" y="0"/>
              <a:ext cx="5000460" cy="1425988"/>
              <a:chOff x="7191545" y="0"/>
              <a:chExt cx="5000460" cy="1425988"/>
            </a:xfrm>
          </p:grpSpPr>
          <p:sp>
            <p:nvSpPr>
              <p:cNvPr id="17706" name="Google Shape;17706;p1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07" name="Google Shape;17707;p1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08" name="Google Shape;17708;p153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869207276"/>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matchingName="1_Quotation 17">
  <p:cSld name="2_Quotation 17">
    <p:spTree>
      <p:nvGrpSpPr>
        <p:cNvPr id="1" name="Shape 17709"/>
        <p:cNvGrpSpPr/>
        <p:nvPr/>
      </p:nvGrpSpPr>
      <p:grpSpPr>
        <a:xfrm>
          <a:off x="0" y="0"/>
          <a:ext cx="0" cy="0"/>
          <a:chOff x="0" y="0"/>
          <a:chExt cx="0" cy="0"/>
        </a:xfrm>
      </p:grpSpPr>
      <p:sp>
        <p:nvSpPr>
          <p:cNvPr id="17710" name="Google Shape;17710;p153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11" name="Google Shape;17711;p153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12" name="Google Shape;17712;p153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13" name="Google Shape;17713;p153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14" name="Google Shape;17714;p15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15" name="Google Shape;17715;p153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16" name="Google Shape;17716;p1536"/>
          <p:cNvGrpSpPr/>
          <p:nvPr/>
        </p:nvGrpSpPr>
        <p:grpSpPr>
          <a:xfrm>
            <a:off x="7191545" y="0"/>
            <a:ext cx="5000460" cy="1425988"/>
            <a:chOff x="7191545" y="0"/>
            <a:chExt cx="5000460" cy="1425988"/>
          </a:xfrm>
        </p:grpSpPr>
        <p:pic>
          <p:nvPicPr>
            <p:cNvPr id="17717" name="Google Shape;17717;p15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18" name="Google Shape;17718;p1536"/>
            <p:cNvGrpSpPr/>
            <p:nvPr/>
          </p:nvGrpSpPr>
          <p:grpSpPr>
            <a:xfrm>
              <a:off x="7191545" y="0"/>
              <a:ext cx="5000460" cy="1425988"/>
              <a:chOff x="7191545" y="0"/>
              <a:chExt cx="5000460" cy="1425988"/>
            </a:xfrm>
          </p:grpSpPr>
          <p:sp>
            <p:nvSpPr>
              <p:cNvPr id="17719" name="Google Shape;17719;p15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0" name="Google Shape;17720;p15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721" name="Google Shape;17721;p153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512556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matchingName="Title and Content 14">
  <p:cSld name="1_Title and Content 14">
    <p:spTree>
      <p:nvGrpSpPr>
        <p:cNvPr id="1" name="Shape 17722"/>
        <p:cNvGrpSpPr/>
        <p:nvPr/>
      </p:nvGrpSpPr>
      <p:grpSpPr>
        <a:xfrm>
          <a:off x="0" y="0"/>
          <a:ext cx="0" cy="0"/>
          <a:chOff x="0" y="0"/>
          <a:chExt cx="0" cy="0"/>
        </a:xfrm>
      </p:grpSpPr>
      <p:grpSp>
        <p:nvGrpSpPr>
          <p:cNvPr id="17723" name="Google Shape;17723;p1537"/>
          <p:cNvGrpSpPr/>
          <p:nvPr/>
        </p:nvGrpSpPr>
        <p:grpSpPr>
          <a:xfrm>
            <a:off x="7191545" y="0"/>
            <a:ext cx="5000460" cy="1425988"/>
            <a:chOff x="7191545" y="0"/>
            <a:chExt cx="5000460" cy="1425988"/>
          </a:xfrm>
        </p:grpSpPr>
        <p:pic>
          <p:nvPicPr>
            <p:cNvPr id="17724" name="Google Shape;17724;p1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25" name="Google Shape;17725;p1537"/>
            <p:cNvGrpSpPr/>
            <p:nvPr/>
          </p:nvGrpSpPr>
          <p:grpSpPr>
            <a:xfrm>
              <a:off x="7191545" y="0"/>
              <a:ext cx="5000460" cy="1425988"/>
              <a:chOff x="7191545" y="0"/>
              <a:chExt cx="5000460" cy="1425988"/>
            </a:xfrm>
          </p:grpSpPr>
          <p:sp>
            <p:nvSpPr>
              <p:cNvPr id="17726" name="Google Shape;17726;p1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27" name="Google Shape;17727;p1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28" name="Google Shape;17728;p1537"/>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29" name="Google Shape;17729;p1537"/>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30" name="Google Shape;17730;p153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31" name="Google Shape;17731;p1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32" name="Google Shape;17732;p153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57368569"/>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matchingName="Two Content 11">
  <p:cSld name="1_Two Content 11">
    <p:spTree>
      <p:nvGrpSpPr>
        <p:cNvPr id="1" name="Shape 17733"/>
        <p:cNvGrpSpPr/>
        <p:nvPr/>
      </p:nvGrpSpPr>
      <p:grpSpPr>
        <a:xfrm>
          <a:off x="0" y="0"/>
          <a:ext cx="0" cy="0"/>
          <a:chOff x="0" y="0"/>
          <a:chExt cx="0" cy="0"/>
        </a:xfrm>
      </p:grpSpPr>
      <p:sp>
        <p:nvSpPr>
          <p:cNvPr id="17734" name="Google Shape;17734;p1538"/>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5" name="Google Shape;17735;p1538"/>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7736" name="Google Shape;17736;p1538"/>
          <p:cNvGrpSpPr/>
          <p:nvPr/>
        </p:nvGrpSpPr>
        <p:grpSpPr>
          <a:xfrm>
            <a:off x="7191545" y="0"/>
            <a:ext cx="5000460" cy="1425988"/>
            <a:chOff x="7191545" y="0"/>
            <a:chExt cx="5000460" cy="1425988"/>
          </a:xfrm>
        </p:grpSpPr>
        <p:pic>
          <p:nvPicPr>
            <p:cNvPr id="17737" name="Google Shape;17737;p1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38" name="Google Shape;17738;p1538"/>
            <p:cNvGrpSpPr/>
            <p:nvPr/>
          </p:nvGrpSpPr>
          <p:grpSpPr>
            <a:xfrm>
              <a:off x="7191545" y="0"/>
              <a:ext cx="5000460" cy="1425988"/>
              <a:chOff x="7191545" y="0"/>
              <a:chExt cx="5000460" cy="1425988"/>
            </a:xfrm>
          </p:grpSpPr>
          <p:sp>
            <p:nvSpPr>
              <p:cNvPr id="17739" name="Google Shape;17739;p1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40" name="Google Shape;17740;p1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41" name="Google Shape;17741;p1538"/>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42" name="Google Shape;17742;p1538"/>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43" name="Google Shape;17743;p1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44" name="Google Shape;17744;p153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0545457"/>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matchingName="Comparison 10">
  <p:cSld name="1_Comparison 10">
    <p:spTree>
      <p:nvGrpSpPr>
        <p:cNvPr id="1" name="Shape 17745"/>
        <p:cNvGrpSpPr/>
        <p:nvPr/>
      </p:nvGrpSpPr>
      <p:grpSpPr>
        <a:xfrm>
          <a:off x="0" y="0"/>
          <a:ext cx="0" cy="0"/>
          <a:chOff x="0" y="0"/>
          <a:chExt cx="0" cy="0"/>
        </a:xfrm>
      </p:grpSpPr>
      <p:grpSp>
        <p:nvGrpSpPr>
          <p:cNvPr id="17746" name="Google Shape;17746;p1539"/>
          <p:cNvGrpSpPr/>
          <p:nvPr/>
        </p:nvGrpSpPr>
        <p:grpSpPr>
          <a:xfrm>
            <a:off x="7191545" y="0"/>
            <a:ext cx="5000460" cy="1425988"/>
            <a:chOff x="7191545" y="0"/>
            <a:chExt cx="5000460" cy="1425988"/>
          </a:xfrm>
        </p:grpSpPr>
        <p:pic>
          <p:nvPicPr>
            <p:cNvPr id="17747" name="Google Shape;17747;p15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748" name="Google Shape;17748;p1539"/>
            <p:cNvGrpSpPr/>
            <p:nvPr/>
          </p:nvGrpSpPr>
          <p:grpSpPr>
            <a:xfrm>
              <a:off x="7191545" y="0"/>
              <a:ext cx="5000460" cy="1425988"/>
              <a:chOff x="7191545" y="0"/>
              <a:chExt cx="5000460" cy="1425988"/>
            </a:xfrm>
          </p:grpSpPr>
          <p:sp>
            <p:nvSpPr>
              <p:cNvPr id="17749" name="Google Shape;17749;p15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50" name="Google Shape;17750;p15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7751" name="Google Shape;17751;p1539"/>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52" name="Google Shape;17752;p1539"/>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53" name="Google Shape;17753;p1539"/>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54" name="Google Shape;17754;p1539"/>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55" name="Google Shape;17755;p1539"/>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56" name="Google Shape;17756;p153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757" name="Google Shape;17757;p15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758" name="Google Shape;17758;p153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88226619"/>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matchingName="End 11">
  <p:cSld name="1_End 11">
    <p:spTree>
      <p:nvGrpSpPr>
        <p:cNvPr id="1" name="Shape 17769"/>
        <p:cNvGrpSpPr/>
        <p:nvPr/>
      </p:nvGrpSpPr>
      <p:grpSpPr>
        <a:xfrm>
          <a:off x="0" y="0"/>
          <a:ext cx="0" cy="0"/>
          <a:chOff x="0" y="0"/>
          <a:chExt cx="0" cy="0"/>
        </a:xfrm>
      </p:grpSpPr>
      <p:grpSp>
        <p:nvGrpSpPr>
          <p:cNvPr id="17770" name="Google Shape;17770;p1541"/>
          <p:cNvGrpSpPr/>
          <p:nvPr/>
        </p:nvGrpSpPr>
        <p:grpSpPr>
          <a:xfrm>
            <a:off x="0" y="0"/>
            <a:ext cx="12191996" cy="2148830"/>
            <a:chOff x="0" y="0"/>
            <a:chExt cx="12191996" cy="2148830"/>
          </a:xfrm>
        </p:grpSpPr>
        <p:sp>
          <p:nvSpPr>
            <p:cNvPr id="17771" name="Google Shape;17771;p1541"/>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772" name="Google Shape;17772;p1541"/>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7773" name="Google Shape;17773;p1541"/>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774" name="Google Shape;17774;p1541"/>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75" name="Google Shape;17775;p1541"/>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776" name="Google Shape;17776;p1541"/>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64867549"/>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matchingName="1_Title Slide">
  <p:cSld name="4_Title Slide">
    <p:spTree>
      <p:nvGrpSpPr>
        <p:cNvPr id="1" name="Shape 17786"/>
        <p:cNvGrpSpPr/>
        <p:nvPr/>
      </p:nvGrpSpPr>
      <p:grpSpPr>
        <a:xfrm>
          <a:off x="0" y="0"/>
          <a:ext cx="0" cy="0"/>
          <a:chOff x="0" y="0"/>
          <a:chExt cx="0" cy="0"/>
        </a:xfrm>
      </p:grpSpPr>
      <p:sp>
        <p:nvSpPr>
          <p:cNvPr id="17787" name="Google Shape;17787;p1543"/>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88" name="Google Shape;17788;p1543"/>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89" name="Google Shape;17789;p1543"/>
          <p:cNvGrpSpPr/>
          <p:nvPr/>
        </p:nvGrpSpPr>
        <p:grpSpPr>
          <a:xfrm>
            <a:off x="4" y="0"/>
            <a:ext cx="1862669" cy="6629400"/>
            <a:chOff x="0" y="0"/>
            <a:chExt cx="1862669" cy="6629400"/>
          </a:xfrm>
        </p:grpSpPr>
        <p:sp>
          <p:nvSpPr>
            <p:cNvPr id="17790" name="Google Shape;17790;p1543"/>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1" name="Google Shape;17791;p1543"/>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792" name="Google Shape;17792;p1543"/>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93" name="Google Shape;17793;p1543"/>
          <p:cNvSpPr txBox="1">
            <a:spLocks noGrp="1"/>
          </p:cNvSpPr>
          <p:nvPr>
            <p:ph type="title"/>
          </p:nvPr>
        </p:nvSpPr>
        <p:spPr>
          <a:xfrm>
            <a:off x="1621872" y="1806428"/>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94" name="Google Shape;17794;p1543"/>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795" name="Google Shape;17795;p1543"/>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85224694"/>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17796"/>
        <p:cNvGrpSpPr/>
        <p:nvPr/>
      </p:nvGrpSpPr>
      <p:grpSpPr>
        <a:xfrm>
          <a:off x="0" y="0"/>
          <a:ext cx="0" cy="0"/>
          <a:chOff x="0" y="0"/>
          <a:chExt cx="0" cy="0"/>
        </a:xfrm>
      </p:grpSpPr>
      <p:sp>
        <p:nvSpPr>
          <p:cNvPr id="17797" name="Google Shape;17797;p154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798" name="Google Shape;17798;p154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799" name="Google Shape;17799;p1544"/>
          <p:cNvGrpSpPr/>
          <p:nvPr/>
        </p:nvGrpSpPr>
        <p:grpSpPr>
          <a:xfrm>
            <a:off x="4" y="0"/>
            <a:ext cx="1862669" cy="6629400"/>
            <a:chOff x="0" y="0"/>
            <a:chExt cx="1862669" cy="6629400"/>
          </a:xfrm>
        </p:grpSpPr>
        <p:sp>
          <p:nvSpPr>
            <p:cNvPr id="17800" name="Google Shape;17800;p154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1" name="Google Shape;17801;p154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02" name="Google Shape;17802;p154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03" name="Google Shape;17803;p1544"/>
          <p:cNvSpPr txBox="1">
            <a:spLocks noGrp="1"/>
          </p:cNvSpPr>
          <p:nvPr>
            <p:ph type="title"/>
          </p:nvPr>
        </p:nvSpPr>
        <p:spPr>
          <a:xfrm>
            <a:off x="1621872" y="1806428"/>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4" name="Google Shape;17804;p154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05" name="Google Shape;17805;p154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8593421"/>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matchingName="3_Title Slide">
  <p:cSld name="4_Title Slide">
    <p:spTree>
      <p:nvGrpSpPr>
        <p:cNvPr id="1" name="Shape 17806"/>
        <p:cNvGrpSpPr/>
        <p:nvPr/>
      </p:nvGrpSpPr>
      <p:grpSpPr>
        <a:xfrm>
          <a:off x="0" y="0"/>
          <a:ext cx="0" cy="0"/>
          <a:chOff x="0" y="0"/>
          <a:chExt cx="0" cy="0"/>
        </a:xfrm>
      </p:grpSpPr>
      <p:sp>
        <p:nvSpPr>
          <p:cNvPr id="17807" name="Google Shape;17807;p1545"/>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08" name="Google Shape;17808;p1545"/>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09" name="Google Shape;17809;p1545"/>
          <p:cNvGrpSpPr/>
          <p:nvPr/>
        </p:nvGrpSpPr>
        <p:grpSpPr>
          <a:xfrm>
            <a:off x="4" y="0"/>
            <a:ext cx="1862669" cy="6629400"/>
            <a:chOff x="0" y="0"/>
            <a:chExt cx="1862669" cy="6629400"/>
          </a:xfrm>
        </p:grpSpPr>
        <p:sp>
          <p:nvSpPr>
            <p:cNvPr id="17810" name="Google Shape;17810;p154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11" name="Google Shape;17811;p154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12" name="Google Shape;17812;p154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13" name="Google Shape;17813;p1545"/>
          <p:cNvSpPr txBox="1">
            <a:spLocks noGrp="1"/>
          </p:cNvSpPr>
          <p:nvPr>
            <p:ph type="title"/>
          </p:nvPr>
        </p:nvSpPr>
        <p:spPr>
          <a:xfrm>
            <a:off x="1621872" y="1806428"/>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4" name="Google Shape;17814;p154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15" name="Google Shape;17815;p154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92581134"/>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matchingName="Table of Content">
  <p:cSld name="1_Table of Content">
    <p:spTree>
      <p:nvGrpSpPr>
        <p:cNvPr id="1" name="Shape 17816"/>
        <p:cNvGrpSpPr/>
        <p:nvPr/>
      </p:nvGrpSpPr>
      <p:grpSpPr>
        <a:xfrm>
          <a:off x="0" y="0"/>
          <a:ext cx="0" cy="0"/>
          <a:chOff x="0" y="0"/>
          <a:chExt cx="0" cy="0"/>
        </a:xfrm>
      </p:grpSpPr>
      <p:sp>
        <p:nvSpPr>
          <p:cNvPr id="17817" name="Google Shape;17817;p1546"/>
          <p:cNvSpPr/>
          <p:nvPr/>
        </p:nvSpPr>
        <p:spPr>
          <a:xfrm>
            <a:off x="-10579" y="6620936"/>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18" name="Google Shape;17818;p1546"/>
          <p:cNvSpPr txBox="1">
            <a:spLocks noGrp="1"/>
          </p:cNvSpPr>
          <p:nvPr>
            <p:ph type="title"/>
          </p:nvPr>
        </p:nvSpPr>
        <p:spPr>
          <a:xfrm>
            <a:off x="218112" y="224845"/>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19" name="Google Shape;17819;p1546"/>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Font typeface="Noto Sans Symbols"/>
              <a:buChar char="▪"/>
              <a:defRPr sz="1867" b="1"/>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20" name="Google Shape;17820;p1546"/>
          <p:cNvSpPr txBox="1">
            <a:spLocks noGrp="1"/>
          </p:cNvSpPr>
          <p:nvPr>
            <p:ph type="body" idx="2"/>
          </p:nvPr>
        </p:nvSpPr>
        <p:spPr>
          <a:xfrm>
            <a:off x="3858936" y="5969002"/>
            <a:ext cx="8074901" cy="649818"/>
          </a:xfrm>
          <a:prstGeom prst="rect">
            <a:avLst/>
          </a:prstGeom>
          <a:noFill/>
          <a:ln>
            <a:noFill/>
          </a:ln>
        </p:spPr>
        <p:txBody>
          <a:bodyPr spcFirstLastPara="1" wrap="square" lIns="91400" tIns="45700" rIns="91400" bIns="45700" anchor="b" anchorCtr="0">
            <a:noAutofit/>
          </a:bodyPr>
          <a:lstStyle>
            <a:lvl1pPr marL="304847" lvl="0" indent="-208862" algn="l">
              <a:lnSpc>
                <a:spcPct val="100000"/>
              </a:lnSpc>
              <a:spcBef>
                <a:spcPts val="1000"/>
              </a:spcBef>
              <a:spcAft>
                <a:spcPts val="0"/>
              </a:spcAft>
              <a:buSzPts val="1333"/>
              <a:buChar char="•"/>
              <a:defRPr sz="1333"/>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21" name="Google Shape;17821;p154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22" name="Google Shape;17822;p154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376939068"/>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matchingName="3_Title Slide_Yale Blue 8">
  <p:cSld name="4_Title Slide_Yale Blue 8">
    <p:spTree>
      <p:nvGrpSpPr>
        <p:cNvPr id="1" name="Shape 17823"/>
        <p:cNvGrpSpPr/>
        <p:nvPr/>
      </p:nvGrpSpPr>
      <p:grpSpPr>
        <a:xfrm>
          <a:off x="0" y="0"/>
          <a:ext cx="0" cy="0"/>
          <a:chOff x="0" y="0"/>
          <a:chExt cx="0" cy="0"/>
        </a:xfrm>
      </p:grpSpPr>
      <p:sp>
        <p:nvSpPr>
          <p:cNvPr id="17824" name="Google Shape;17824;p1547"/>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25" name="Google Shape;17825;p1547"/>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6" name="Google Shape;17826;p154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27" name="Google Shape;17827;p154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8" name="Google Shape;17828;p154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29" name="Google Shape;17829;p1547"/>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0" name="Google Shape;17830;p154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31" name="Google Shape;17831;p1547"/>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832" name="Google Shape;17832;p1547"/>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2545213210"/>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matchingName="1_Title Slide 2">
  <p:cSld name="4_Title Slide 2">
    <p:spTree>
      <p:nvGrpSpPr>
        <p:cNvPr id="1" name="Shape 17833"/>
        <p:cNvGrpSpPr/>
        <p:nvPr/>
      </p:nvGrpSpPr>
      <p:grpSpPr>
        <a:xfrm>
          <a:off x="0" y="0"/>
          <a:ext cx="0" cy="0"/>
          <a:chOff x="0" y="0"/>
          <a:chExt cx="0" cy="0"/>
        </a:xfrm>
      </p:grpSpPr>
      <p:sp>
        <p:nvSpPr>
          <p:cNvPr id="17834" name="Google Shape;17834;p1548"/>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5" name="Google Shape;17835;p1548"/>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36" name="Google Shape;17836;p1548"/>
          <p:cNvGrpSpPr/>
          <p:nvPr/>
        </p:nvGrpSpPr>
        <p:grpSpPr>
          <a:xfrm>
            <a:off x="4" y="0"/>
            <a:ext cx="1862669" cy="6629400"/>
            <a:chOff x="0" y="0"/>
            <a:chExt cx="1862669" cy="6629400"/>
          </a:xfrm>
        </p:grpSpPr>
        <p:sp>
          <p:nvSpPr>
            <p:cNvPr id="17837" name="Google Shape;17837;p154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38" name="Google Shape;17838;p1548"/>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39" name="Google Shape;17839;p154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40" name="Google Shape;17840;p1548"/>
          <p:cNvSpPr txBox="1">
            <a:spLocks noGrp="1"/>
          </p:cNvSpPr>
          <p:nvPr>
            <p:ph type="title"/>
          </p:nvPr>
        </p:nvSpPr>
        <p:spPr>
          <a:xfrm>
            <a:off x="1621872" y="1806428"/>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1" name="Google Shape;17841;p154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42" name="Google Shape;17842;p154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3902490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matchingName="Table of Content 2">
  <p:cSld name="1_Table of Content 2">
    <p:spTree>
      <p:nvGrpSpPr>
        <p:cNvPr id="1" name="Shape 17843"/>
        <p:cNvGrpSpPr/>
        <p:nvPr/>
      </p:nvGrpSpPr>
      <p:grpSpPr>
        <a:xfrm>
          <a:off x="0" y="0"/>
          <a:ext cx="0" cy="0"/>
          <a:chOff x="0" y="0"/>
          <a:chExt cx="0" cy="0"/>
        </a:xfrm>
      </p:grpSpPr>
      <p:sp>
        <p:nvSpPr>
          <p:cNvPr id="17844" name="Google Shape;17844;p1549"/>
          <p:cNvSpPr/>
          <p:nvPr/>
        </p:nvSpPr>
        <p:spPr>
          <a:xfrm>
            <a:off x="-10579" y="6620936"/>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45" name="Google Shape;17845;p1549"/>
          <p:cNvSpPr txBox="1">
            <a:spLocks noGrp="1"/>
          </p:cNvSpPr>
          <p:nvPr>
            <p:ph type="title"/>
          </p:nvPr>
        </p:nvSpPr>
        <p:spPr>
          <a:xfrm>
            <a:off x="218112" y="224845"/>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46" name="Google Shape;17846;p1549"/>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Font typeface="Noto Sans Symbols"/>
              <a:buChar char="▪"/>
              <a:defRPr sz="1867" b="1"/>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47" name="Google Shape;17847;p1549"/>
          <p:cNvSpPr txBox="1">
            <a:spLocks noGrp="1"/>
          </p:cNvSpPr>
          <p:nvPr>
            <p:ph type="body" idx="2"/>
          </p:nvPr>
        </p:nvSpPr>
        <p:spPr>
          <a:xfrm>
            <a:off x="3858936" y="5969002"/>
            <a:ext cx="8074901" cy="649818"/>
          </a:xfrm>
          <a:prstGeom prst="rect">
            <a:avLst/>
          </a:prstGeom>
          <a:noFill/>
          <a:ln>
            <a:noFill/>
          </a:ln>
        </p:spPr>
        <p:txBody>
          <a:bodyPr spcFirstLastPara="1" wrap="square" lIns="91400" tIns="45700" rIns="91400" bIns="45700" anchor="b" anchorCtr="0">
            <a:noAutofit/>
          </a:bodyPr>
          <a:lstStyle>
            <a:lvl1pPr marL="304847" lvl="0" indent="-208862" algn="l">
              <a:lnSpc>
                <a:spcPct val="100000"/>
              </a:lnSpc>
              <a:spcBef>
                <a:spcPts val="1000"/>
              </a:spcBef>
              <a:spcAft>
                <a:spcPts val="0"/>
              </a:spcAft>
              <a:buSzPts val="1333"/>
              <a:buChar char="•"/>
              <a:defRPr sz="1333"/>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48" name="Google Shape;17848;p154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849" name="Google Shape;17849;p154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1841138500"/>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matchingName="3_Title Slide_Yale Blue 9">
  <p:cSld name="5_Title Slide_Yale Blue 9">
    <p:spTree>
      <p:nvGrpSpPr>
        <p:cNvPr id="1" name="Shape 17850"/>
        <p:cNvGrpSpPr/>
        <p:nvPr/>
      </p:nvGrpSpPr>
      <p:grpSpPr>
        <a:xfrm>
          <a:off x="0" y="0"/>
          <a:ext cx="0" cy="0"/>
          <a:chOff x="0" y="0"/>
          <a:chExt cx="0" cy="0"/>
        </a:xfrm>
      </p:grpSpPr>
      <p:sp>
        <p:nvSpPr>
          <p:cNvPr id="17851" name="Google Shape;17851;p1550"/>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52" name="Google Shape;17852;p1550"/>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3" name="Google Shape;17853;p155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54" name="Google Shape;17854;p155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55" name="Google Shape;17855;p155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56" name="Google Shape;17856;p1550"/>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7" name="Google Shape;17857;p1550"/>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58" name="Google Shape;17858;p1550"/>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859" name="Google Shape;17859;p1550"/>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2126839485"/>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matchingName="Title and Bullets Layout 7">
  <p:cSld name="1_Title and Bullets Layout 7">
    <p:spTree>
      <p:nvGrpSpPr>
        <p:cNvPr id="1" name="Shape 17860"/>
        <p:cNvGrpSpPr/>
        <p:nvPr/>
      </p:nvGrpSpPr>
      <p:grpSpPr>
        <a:xfrm>
          <a:off x="0" y="0"/>
          <a:ext cx="0" cy="0"/>
          <a:chOff x="0" y="0"/>
          <a:chExt cx="0" cy="0"/>
        </a:xfrm>
      </p:grpSpPr>
      <p:sp>
        <p:nvSpPr>
          <p:cNvPr id="17861" name="Google Shape;17861;p1551"/>
          <p:cNvSpPr txBox="1">
            <a:spLocks noGrp="1"/>
          </p:cNvSpPr>
          <p:nvPr>
            <p:ph type="title"/>
          </p:nvPr>
        </p:nvSpPr>
        <p:spPr>
          <a:xfrm>
            <a:off x="848992" y="783845"/>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62" name="Google Shape;17862;p1551"/>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3" name="Google Shape;17863;p155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64" name="Google Shape;17864;p1551"/>
          <p:cNvSpPr txBox="1">
            <a:spLocks noGrp="1"/>
          </p:cNvSpPr>
          <p:nvPr>
            <p:ph type="body" idx="1"/>
          </p:nvPr>
        </p:nvSpPr>
        <p:spPr>
          <a:xfrm>
            <a:off x="848786" y="1615024"/>
            <a:ext cx="10176933" cy="3812115"/>
          </a:xfrm>
          <a:prstGeom prst="rect">
            <a:avLst/>
          </a:prstGeom>
          <a:noFill/>
          <a:ln>
            <a:noFill/>
          </a:ln>
        </p:spPr>
        <p:txBody>
          <a:bodyPr spcFirstLastPara="1" wrap="square" lIns="91400" tIns="45700" rIns="91400" bIns="45700" anchor="t" anchorCtr="0">
            <a:noAutofit/>
          </a:bodyPr>
          <a:lstStyle>
            <a:lvl1pPr marL="304847" lvl="0" indent="-242733" algn="l">
              <a:lnSpc>
                <a:spcPct val="100000"/>
              </a:lnSpc>
              <a:spcBef>
                <a:spcPts val="1000"/>
              </a:spcBef>
              <a:spcAft>
                <a:spcPts val="0"/>
              </a:spcAft>
              <a:buSzPts val="2133"/>
              <a:buChar char="•"/>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865" name="Google Shape;17865;p1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3113892574"/>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matchingName="1_Title and Content 7">
  <p:cSld name="2_Title and Content 7">
    <p:spTree>
      <p:nvGrpSpPr>
        <p:cNvPr id="1" name="Shape 17866"/>
        <p:cNvGrpSpPr/>
        <p:nvPr/>
      </p:nvGrpSpPr>
      <p:grpSpPr>
        <a:xfrm>
          <a:off x="0" y="0"/>
          <a:ext cx="0" cy="0"/>
          <a:chOff x="0" y="0"/>
          <a:chExt cx="0" cy="0"/>
        </a:xfrm>
      </p:grpSpPr>
      <p:sp>
        <p:nvSpPr>
          <p:cNvPr id="17867" name="Google Shape;17867;p1552"/>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17868" name="Google Shape;17868;p1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
        <p:nvSpPr>
          <p:cNvPr id="17869" name="Google Shape;17869;p155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0" name="Google Shape;17870;p1552"/>
          <p:cNvSpPr txBox="1">
            <a:spLocks noGrp="1"/>
          </p:cNvSpPr>
          <p:nvPr>
            <p:ph type="title"/>
          </p:nvPr>
        </p:nvSpPr>
        <p:spPr>
          <a:xfrm>
            <a:off x="848992" y="806861"/>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1" name="Google Shape;17871;p1552"/>
          <p:cNvSpPr txBox="1">
            <a:spLocks noGrp="1"/>
          </p:cNvSpPr>
          <p:nvPr>
            <p:ph type="body" idx="1"/>
          </p:nvPr>
        </p:nvSpPr>
        <p:spPr>
          <a:xfrm>
            <a:off x="848992" y="1637858"/>
            <a:ext cx="10156176" cy="4117159"/>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41600492"/>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matchingName="Two Section | Picture and Copy Layout 7">
  <p:cSld name="1_Two Section | Picture and Copy Layout 7">
    <p:spTree>
      <p:nvGrpSpPr>
        <p:cNvPr id="1" name="Shape 17872"/>
        <p:cNvGrpSpPr/>
        <p:nvPr/>
      </p:nvGrpSpPr>
      <p:grpSpPr>
        <a:xfrm>
          <a:off x="0" y="0"/>
          <a:ext cx="0" cy="0"/>
          <a:chOff x="0" y="0"/>
          <a:chExt cx="0" cy="0"/>
        </a:xfrm>
      </p:grpSpPr>
      <p:sp>
        <p:nvSpPr>
          <p:cNvPr id="17873" name="Google Shape;17873;p1553"/>
          <p:cNvSpPr/>
          <p:nvPr/>
        </p:nvSpPr>
        <p:spPr>
          <a:xfrm>
            <a:off x="0" y="6313122"/>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4" name="Google Shape;17874;p155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17875" name="Google Shape;17875;p155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76" name="Google Shape;17876;p1553"/>
          <p:cNvSpPr txBox="1">
            <a:spLocks noGrp="1"/>
          </p:cNvSpPr>
          <p:nvPr>
            <p:ph type="body" idx="2"/>
          </p:nvPr>
        </p:nvSpPr>
        <p:spPr>
          <a:xfrm>
            <a:off x="5549395" y="1997122"/>
            <a:ext cx="5466557" cy="3085414"/>
          </a:xfrm>
          <a:prstGeom prst="rect">
            <a:avLst/>
          </a:prstGeom>
          <a:noFill/>
          <a:ln>
            <a:noFill/>
          </a:ln>
        </p:spPr>
        <p:txBody>
          <a:bodyPr spcFirstLastPara="1" wrap="square" lIns="91400" tIns="45700" rIns="91400" bIns="45700" anchor="t" anchorCtr="0">
            <a:noAutofit/>
          </a:bodyPr>
          <a:lstStyle>
            <a:lvl1pPr marL="304847" lvl="0" indent="-152424" algn="l">
              <a:lnSpc>
                <a:spcPct val="90000"/>
              </a:lnSpc>
              <a:spcBef>
                <a:spcPts val="1000"/>
              </a:spcBef>
              <a:spcAft>
                <a:spcPts val="0"/>
              </a:spcAft>
              <a:buSzPts val="2400"/>
              <a:buNone/>
              <a:defRPr sz="2133">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77" name="Google Shape;17877;p1553"/>
          <p:cNvSpPr txBox="1">
            <a:spLocks noGrp="1"/>
          </p:cNvSpPr>
          <p:nvPr>
            <p:ph type="title"/>
          </p:nvPr>
        </p:nvSpPr>
        <p:spPr>
          <a:xfrm>
            <a:off x="5549395" y="1154525"/>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878" name="Google Shape;17878;p1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1" y="6364410"/>
            <a:ext cx="5059329" cy="493593"/>
          </a:xfrm>
          <a:prstGeom prst="rect">
            <a:avLst/>
          </a:prstGeom>
          <a:noFill/>
          <a:ln>
            <a:noFill/>
          </a:ln>
        </p:spPr>
      </p:pic>
    </p:spTree>
    <p:extLst>
      <p:ext uri="{BB962C8B-B14F-4D97-AF65-F5344CB8AC3E}">
        <p14:creationId xmlns:p14="http://schemas.microsoft.com/office/powerpoint/2010/main" val="2105243898"/>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matchingName="2_Title Slide 2">
  <p:cSld name="4_Title Slide 2">
    <p:spTree>
      <p:nvGrpSpPr>
        <p:cNvPr id="1" name="Shape 17879"/>
        <p:cNvGrpSpPr/>
        <p:nvPr/>
      </p:nvGrpSpPr>
      <p:grpSpPr>
        <a:xfrm>
          <a:off x="0" y="0"/>
          <a:ext cx="0" cy="0"/>
          <a:chOff x="0" y="0"/>
          <a:chExt cx="0" cy="0"/>
        </a:xfrm>
      </p:grpSpPr>
      <p:sp>
        <p:nvSpPr>
          <p:cNvPr id="17880" name="Google Shape;17880;p1554"/>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1" name="Google Shape;17881;p1554"/>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882" name="Google Shape;17882;p1554"/>
          <p:cNvGrpSpPr/>
          <p:nvPr/>
        </p:nvGrpSpPr>
        <p:grpSpPr>
          <a:xfrm>
            <a:off x="4" y="0"/>
            <a:ext cx="1862669" cy="6629400"/>
            <a:chOff x="0" y="0"/>
            <a:chExt cx="1862669" cy="6629400"/>
          </a:xfrm>
        </p:grpSpPr>
        <p:sp>
          <p:nvSpPr>
            <p:cNvPr id="17883" name="Google Shape;17883;p1554"/>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884" name="Google Shape;17884;p1554"/>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885" name="Google Shape;17885;p1554"/>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86" name="Google Shape;17886;p1554"/>
          <p:cNvSpPr txBox="1">
            <a:spLocks noGrp="1"/>
          </p:cNvSpPr>
          <p:nvPr>
            <p:ph type="title"/>
          </p:nvPr>
        </p:nvSpPr>
        <p:spPr>
          <a:xfrm>
            <a:off x="1621872" y="1806428"/>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87" name="Google Shape;17887;p1554"/>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88" name="Google Shape;17888;p1554"/>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65019577"/>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matchingName="4_Title Slide_Yale Blue 9">
  <p:cSld name="5_Title Slide_Yale Blue 9">
    <p:spTree>
      <p:nvGrpSpPr>
        <p:cNvPr id="1" name="Shape 17889"/>
        <p:cNvGrpSpPr/>
        <p:nvPr/>
      </p:nvGrpSpPr>
      <p:grpSpPr>
        <a:xfrm>
          <a:off x="0" y="0"/>
          <a:ext cx="0" cy="0"/>
          <a:chOff x="0" y="0"/>
          <a:chExt cx="0" cy="0"/>
        </a:xfrm>
      </p:grpSpPr>
      <p:sp>
        <p:nvSpPr>
          <p:cNvPr id="17890" name="Google Shape;17890;p1555"/>
          <p:cNvSpPr txBox="1">
            <a:spLocks noGrp="1"/>
          </p:cNvSpPr>
          <p:nvPr>
            <p:ph type="body" idx="1"/>
          </p:nvPr>
        </p:nvSpPr>
        <p:spPr>
          <a:xfrm>
            <a:off x="2826560" y="5400858"/>
            <a:ext cx="8178613" cy="507856"/>
          </a:xfrm>
          <a:prstGeom prst="rect">
            <a:avLst/>
          </a:prstGeom>
          <a:noFill/>
          <a:ln>
            <a:noFill/>
          </a:ln>
        </p:spPr>
        <p:txBody>
          <a:bodyPr spcFirstLastPara="1" wrap="square" lIns="91400" tIns="45700" rIns="91400" bIns="45700" anchor="t" anchorCtr="0">
            <a:spAutoFit/>
          </a:bodyPr>
          <a:lstStyle>
            <a:lvl1pPr marL="304847" lvl="0" indent="-152424"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891" name="Google Shape;17891;p1555"/>
          <p:cNvSpPr txBox="1">
            <a:spLocks noGrp="1"/>
          </p:cNvSpPr>
          <p:nvPr>
            <p:ph type="title"/>
          </p:nvPr>
        </p:nvSpPr>
        <p:spPr>
          <a:xfrm>
            <a:off x="2826560"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2" name="Google Shape;17892;p155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893" name="Google Shape;17893;p155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94" name="Google Shape;17894;p155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17895" name="Google Shape;17895;p1555"/>
          <p:cNvSpPr/>
          <p:nvPr/>
        </p:nvSpPr>
        <p:spPr>
          <a:xfrm rot="10799991">
            <a:off x="-19" y="2000236"/>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6" name="Google Shape;17896;p1555"/>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17897" name="Google Shape;17897;p1555"/>
          <p:cNvSpPr txBox="1">
            <a:spLocks noGrp="1"/>
          </p:cNvSpPr>
          <p:nvPr>
            <p:ph type="body" idx="2"/>
          </p:nvPr>
        </p:nvSpPr>
        <p:spPr>
          <a:xfrm>
            <a:off x="2826560" y="3447397"/>
            <a:ext cx="8178613" cy="71331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pic>
        <p:nvPicPr>
          <p:cNvPr id="17898" name="Google Shape;17898;p1555"/>
          <p:cNvPicPr preferRelativeResize="0"/>
          <p:nvPr/>
        </p:nvPicPr>
        <p:blipFill rotWithShape="1">
          <a:blip r:embed="rId2">
            <a:alphaModFix/>
          </a:blip>
          <a:srcRect/>
          <a:stretch/>
        </p:blipFill>
        <p:spPr>
          <a:xfrm>
            <a:off x="2829834" y="4178336"/>
            <a:ext cx="4395959" cy="1140165"/>
          </a:xfrm>
          <a:prstGeom prst="rect">
            <a:avLst/>
          </a:prstGeom>
          <a:noFill/>
          <a:ln>
            <a:noFill/>
          </a:ln>
        </p:spPr>
      </p:pic>
    </p:spTree>
    <p:extLst>
      <p:ext uri="{BB962C8B-B14F-4D97-AF65-F5344CB8AC3E}">
        <p14:creationId xmlns:p14="http://schemas.microsoft.com/office/powerpoint/2010/main" val="1558215679"/>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matchingName="3_Title Slide 2">
  <p:cSld name="4_Title Slide 2">
    <p:spTree>
      <p:nvGrpSpPr>
        <p:cNvPr id="1" name="Shape 17899"/>
        <p:cNvGrpSpPr/>
        <p:nvPr/>
      </p:nvGrpSpPr>
      <p:grpSpPr>
        <a:xfrm>
          <a:off x="0" y="0"/>
          <a:ext cx="0" cy="0"/>
          <a:chOff x="0" y="0"/>
          <a:chExt cx="0" cy="0"/>
        </a:xfrm>
      </p:grpSpPr>
      <p:sp>
        <p:nvSpPr>
          <p:cNvPr id="17900" name="Google Shape;17900;p1556"/>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1" name="Google Shape;17901;p1556"/>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17902" name="Google Shape;17902;p1556"/>
          <p:cNvGrpSpPr/>
          <p:nvPr/>
        </p:nvGrpSpPr>
        <p:grpSpPr>
          <a:xfrm>
            <a:off x="4" y="0"/>
            <a:ext cx="1862669" cy="6629400"/>
            <a:chOff x="0" y="0"/>
            <a:chExt cx="1862669" cy="6629400"/>
          </a:xfrm>
        </p:grpSpPr>
        <p:sp>
          <p:nvSpPr>
            <p:cNvPr id="17903" name="Google Shape;17903;p155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17904" name="Google Shape;17904;p155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17905" name="Google Shape;17905;p155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906" name="Google Shape;17906;p1556"/>
          <p:cNvSpPr txBox="1">
            <a:spLocks noGrp="1"/>
          </p:cNvSpPr>
          <p:nvPr>
            <p:ph type="title"/>
          </p:nvPr>
        </p:nvSpPr>
        <p:spPr>
          <a:xfrm>
            <a:off x="1621872" y="1806428"/>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07" name="Google Shape;17907;p155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08" name="Google Shape;17908;p155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47" lvl="0" indent="-231472" algn="l">
              <a:lnSpc>
                <a:spcPct val="100000"/>
              </a:lnSpc>
              <a:spcBef>
                <a:spcPts val="1000"/>
              </a:spcBef>
              <a:spcAft>
                <a:spcPts val="0"/>
              </a:spcAft>
              <a:buSzPts val="1867"/>
              <a:buChar char="•"/>
              <a:defRPr sz="1867"/>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36995896"/>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matchingName="SECTION_HEADER" type="secHead">
  <p:cSld name="1_SECTION_HEADER">
    <p:spTree>
      <p:nvGrpSpPr>
        <p:cNvPr id="1" name="Shape 17909"/>
        <p:cNvGrpSpPr/>
        <p:nvPr/>
      </p:nvGrpSpPr>
      <p:grpSpPr>
        <a:xfrm>
          <a:off x="0" y="0"/>
          <a:ext cx="0" cy="0"/>
          <a:chOff x="0" y="0"/>
          <a:chExt cx="0" cy="0"/>
        </a:xfrm>
      </p:grpSpPr>
      <p:sp>
        <p:nvSpPr>
          <p:cNvPr id="17910" name="Google Shape;17910;p1557"/>
          <p:cNvSpPr txBox="1">
            <a:spLocks noGrp="1"/>
          </p:cNvSpPr>
          <p:nvPr>
            <p:ph type="title"/>
          </p:nvPr>
        </p:nvSpPr>
        <p:spPr>
          <a:xfrm>
            <a:off x="963082" y="4406909"/>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6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1" name="Google Shape;17911;p1557"/>
          <p:cNvSpPr txBox="1">
            <a:spLocks noGrp="1"/>
          </p:cNvSpPr>
          <p:nvPr>
            <p:ph type="body" idx="1"/>
          </p:nvPr>
        </p:nvSpPr>
        <p:spPr>
          <a:xfrm>
            <a:off x="963082" y="2906714"/>
            <a:ext cx="10363196" cy="1500182"/>
          </a:xfrm>
          <a:prstGeom prst="rect">
            <a:avLst/>
          </a:prstGeom>
          <a:noFill/>
          <a:ln>
            <a:noFill/>
          </a:ln>
        </p:spPr>
        <p:txBody>
          <a:bodyPr spcFirstLastPara="1" wrap="square" lIns="91400" tIns="45700" rIns="91400" bIns="45700" anchor="b" anchorCtr="0">
            <a:noAutofit/>
          </a:bodyPr>
          <a:lstStyle>
            <a:lvl1pPr marL="304847" lvl="0" indent="-152424" algn="l">
              <a:lnSpc>
                <a:spcPct val="100000"/>
              </a:lnSpc>
              <a:spcBef>
                <a:spcPts val="1000"/>
              </a:spcBef>
              <a:spcAft>
                <a:spcPts val="0"/>
              </a:spcAft>
              <a:buSzPts val="2400"/>
              <a:buNone/>
              <a:defRPr sz="2000">
                <a:solidFill>
                  <a:srgbClr val="919497"/>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12" name="Google Shape;17912;p155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13" name="Google Shape;17913;p155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4" name="Google Shape;17914;p155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941592551"/>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matchingName="OBJECT_WITH_CAPTION_TEXT" type="objTx">
  <p:cSld name="1_OBJECT_WITH_CAPTION_TEXT">
    <p:spTree>
      <p:nvGrpSpPr>
        <p:cNvPr id="1" name="Shape 17915"/>
        <p:cNvGrpSpPr/>
        <p:nvPr/>
      </p:nvGrpSpPr>
      <p:grpSpPr>
        <a:xfrm>
          <a:off x="0" y="0"/>
          <a:ext cx="0" cy="0"/>
          <a:chOff x="0" y="0"/>
          <a:chExt cx="0" cy="0"/>
        </a:xfrm>
      </p:grpSpPr>
      <p:sp>
        <p:nvSpPr>
          <p:cNvPr id="17916" name="Google Shape;17916;p1558"/>
          <p:cNvSpPr txBox="1">
            <a:spLocks noGrp="1"/>
          </p:cNvSpPr>
          <p:nvPr>
            <p:ph type="title"/>
          </p:nvPr>
        </p:nvSpPr>
        <p:spPr>
          <a:xfrm>
            <a:off x="609607"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000"/>
              <a:buFont typeface="Calibri"/>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17" name="Google Shape;17917;p1558"/>
          <p:cNvSpPr txBox="1">
            <a:spLocks noGrp="1"/>
          </p:cNvSpPr>
          <p:nvPr>
            <p:ph type="body" idx="1"/>
          </p:nvPr>
        </p:nvSpPr>
        <p:spPr>
          <a:xfrm>
            <a:off x="4766734" y="273058"/>
            <a:ext cx="6815663" cy="5853110"/>
          </a:xfrm>
          <a:prstGeom prst="rect">
            <a:avLst/>
          </a:prstGeom>
          <a:noFill/>
          <a:ln>
            <a:noFill/>
          </a:ln>
        </p:spPr>
        <p:txBody>
          <a:bodyPr spcFirstLastPara="1" wrap="square" lIns="91400" tIns="45700" rIns="91400" bIns="45700" anchor="t" anchorCtr="0">
            <a:noAutofit/>
          </a:bodyPr>
          <a:lstStyle>
            <a:lvl1pPr marL="304847" lvl="0" indent="-287910" algn="l">
              <a:lnSpc>
                <a:spcPct val="100000"/>
              </a:lnSpc>
              <a:spcBef>
                <a:spcPts val="1000"/>
              </a:spcBef>
              <a:spcAft>
                <a:spcPts val="0"/>
              </a:spcAft>
              <a:buSzPts val="3200"/>
              <a:buChar char="•"/>
              <a:defRPr sz="32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18" name="Google Shape;17918;p1558"/>
          <p:cNvSpPr txBox="1">
            <a:spLocks noGrp="1"/>
          </p:cNvSpPr>
          <p:nvPr>
            <p:ph type="body" idx="2"/>
          </p:nvPr>
        </p:nvSpPr>
        <p:spPr>
          <a:xfrm>
            <a:off x="609607" y="1435105"/>
            <a:ext cx="4011079" cy="4691064"/>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14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19" name="Google Shape;17919;p1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7920" name="Google Shape;17920;p1558"/>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1" name="Google Shape;17921;p1558"/>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609928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matchingName="EVERYDAY CONTENT ONLY">
  <p:cSld name="1_EVERYDAY CONTENT ONLY">
    <p:spTree>
      <p:nvGrpSpPr>
        <p:cNvPr id="1" name="Shape 17922"/>
        <p:cNvGrpSpPr/>
        <p:nvPr/>
      </p:nvGrpSpPr>
      <p:grpSpPr>
        <a:xfrm>
          <a:off x="0" y="0"/>
          <a:ext cx="0" cy="0"/>
          <a:chOff x="0" y="0"/>
          <a:chExt cx="0" cy="0"/>
        </a:xfrm>
      </p:grpSpPr>
      <p:sp>
        <p:nvSpPr>
          <p:cNvPr id="17923" name="Google Shape;17923;p1559"/>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24" name="Google Shape;17924;p1559"/>
          <p:cNvSpPr/>
          <p:nvPr/>
        </p:nvSpPr>
        <p:spPr>
          <a:xfrm>
            <a:off x="6863645"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5" name="Google Shape;17925;p1559"/>
          <p:cNvSpPr txBox="1">
            <a:spLocks noGrp="1"/>
          </p:cNvSpPr>
          <p:nvPr>
            <p:ph type="body" idx="1"/>
          </p:nvPr>
        </p:nvSpPr>
        <p:spPr>
          <a:xfrm>
            <a:off x="508547" y="1707792"/>
            <a:ext cx="11203667" cy="4648571"/>
          </a:xfrm>
          <a:prstGeom prst="rect">
            <a:avLst/>
          </a:prstGeom>
          <a:noFill/>
          <a:ln>
            <a:noFill/>
          </a:ln>
        </p:spPr>
        <p:txBody>
          <a:bodyPr spcFirstLastPara="1" wrap="square" lIns="91400" tIns="45700" rIns="91400" bIns="45700" anchor="t" anchorCtr="0">
            <a:noAutofit/>
          </a:bodyPr>
          <a:lstStyle>
            <a:lvl1pPr marL="304847" lvl="0" indent="-254039" algn="l">
              <a:lnSpc>
                <a:spcPct val="100000"/>
              </a:lnSpc>
              <a:spcBef>
                <a:spcPts val="1000"/>
              </a:spcBef>
              <a:spcAft>
                <a:spcPts val="0"/>
              </a:spcAft>
              <a:buSzPts val="2400"/>
              <a:buChar char="•"/>
              <a:defRPr>
                <a:solidFill>
                  <a:srgbClr val="4B545E"/>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26" name="Google Shape;17926;p1559"/>
          <p:cNvSpPr/>
          <p:nvPr/>
        </p:nvSpPr>
        <p:spPr>
          <a:xfrm>
            <a:off x="6863645"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27" name="Google Shape;17927;p1559"/>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28" name="Google Shape;17928;p1559"/>
          <p:cNvSpPr txBox="1">
            <a:spLocks noGrp="1"/>
          </p:cNvSpPr>
          <p:nvPr>
            <p:ph type="body" idx="2"/>
          </p:nvPr>
        </p:nvSpPr>
        <p:spPr>
          <a:xfrm>
            <a:off x="332187" y="953348"/>
            <a:ext cx="11430109" cy="415923"/>
          </a:xfrm>
          <a:prstGeom prst="rect">
            <a:avLst/>
          </a:prstGeom>
          <a:noFill/>
          <a:ln>
            <a:noFill/>
          </a:ln>
        </p:spPr>
        <p:txBody>
          <a:bodyPr spcFirstLastPara="1" wrap="square" lIns="91400" tIns="45700" rIns="91400" bIns="45700" anchor="t" anchorCtr="0">
            <a:normAutofit/>
          </a:bodyPr>
          <a:lstStyle>
            <a:lvl1pPr marL="304847" lvl="0" indent="-152424" algn="l">
              <a:lnSpc>
                <a:spcPct val="100000"/>
              </a:lnSpc>
              <a:spcBef>
                <a:spcPts val="1000"/>
              </a:spcBef>
              <a:spcAft>
                <a:spcPts val="0"/>
              </a:spcAft>
              <a:buSzPts val="2400"/>
              <a:buNone/>
              <a:defRPr sz="1400">
                <a:solidFill>
                  <a:srgbClr val="FFFFFF"/>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929" name="Google Shape;17929;p1559"/>
          <p:cNvCxnSpPr/>
          <p:nvPr/>
        </p:nvCxnSpPr>
        <p:spPr>
          <a:xfrm>
            <a:off x="11311722" y="6447273"/>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30" name="Google Shape;17930;p1559"/>
          <p:cNvSpPr txBox="1">
            <a:spLocks noGrp="1"/>
          </p:cNvSpPr>
          <p:nvPr>
            <p:ph type="sldNum" idx="12"/>
          </p:nvPr>
        </p:nvSpPr>
        <p:spPr>
          <a:xfrm>
            <a:off x="11202597" y="6454534"/>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31" name="Google Shape;17931;p1559"/>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1243195837"/>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matchingName="6_Quotation">
  <p:cSld name="8_Quotation">
    <p:spTree>
      <p:nvGrpSpPr>
        <p:cNvPr id="1" name="Shape 17932"/>
        <p:cNvGrpSpPr/>
        <p:nvPr/>
      </p:nvGrpSpPr>
      <p:grpSpPr>
        <a:xfrm>
          <a:off x="0" y="0"/>
          <a:ext cx="0" cy="0"/>
          <a:chOff x="0" y="0"/>
          <a:chExt cx="0" cy="0"/>
        </a:xfrm>
      </p:grpSpPr>
      <p:sp>
        <p:nvSpPr>
          <p:cNvPr id="17933" name="Google Shape;17933;p156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34" name="Google Shape;17934;p156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35" name="Google Shape;17935;p1560"/>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36" name="Google Shape;17936;p156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37" name="Google Shape;17937;p15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38" name="Google Shape;17938;p156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39" name="Google Shape;17939;p1560"/>
          <p:cNvGrpSpPr/>
          <p:nvPr/>
        </p:nvGrpSpPr>
        <p:grpSpPr>
          <a:xfrm>
            <a:off x="7191545" y="0"/>
            <a:ext cx="5000460" cy="1425988"/>
            <a:chOff x="7191545" y="0"/>
            <a:chExt cx="5000460" cy="1425988"/>
          </a:xfrm>
        </p:grpSpPr>
        <p:pic>
          <p:nvPicPr>
            <p:cNvPr id="17940" name="Google Shape;17940;p15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41" name="Google Shape;17941;p1560"/>
            <p:cNvGrpSpPr/>
            <p:nvPr/>
          </p:nvGrpSpPr>
          <p:grpSpPr>
            <a:xfrm>
              <a:off x="7191545" y="0"/>
              <a:ext cx="5000460" cy="1425988"/>
              <a:chOff x="7191545" y="0"/>
              <a:chExt cx="5000460" cy="1425988"/>
            </a:xfrm>
          </p:grpSpPr>
          <p:sp>
            <p:nvSpPr>
              <p:cNvPr id="17942" name="Google Shape;17942;p15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43" name="Google Shape;17943;p15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44" name="Google Shape;17944;p1560"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070453965"/>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matchingName="EVERYDAY CONTENT ONLY 2">
  <p:cSld name="2_EVERYDAY CONTENT ONLY 2">
    <p:spTree>
      <p:nvGrpSpPr>
        <p:cNvPr id="1" name="Shape 17945"/>
        <p:cNvGrpSpPr/>
        <p:nvPr/>
      </p:nvGrpSpPr>
      <p:grpSpPr>
        <a:xfrm>
          <a:off x="0" y="0"/>
          <a:ext cx="0" cy="0"/>
          <a:chOff x="0" y="0"/>
          <a:chExt cx="0" cy="0"/>
        </a:xfrm>
      </p:grpSpPr>
      <p:sp>
        <p:nvSpPr>
          <p:cNvPr id="17946" name="Google Shape;17946;p156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47" name="Google Shape;17947;p1561"/>
          <p:cNvSpPr/>
          <p:nvPr/>
        </p:nvSpPr>
        <p:spPr>
          <a:xfrm>
            <a:off x="6863645"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48" name="Google Shape;17948;p1561"/>
          <p:cNvSpPr txBox="1">
            <a:spLocks noGrp="1"/>
          </p:cNvSpPr>
          <p:nvPr>
            <p:ph type="body" idx="1"/>
          </p:nvPr>
        </p:nvSpPr>
        <p:spPr>
          <a:xfrm>
            <a:off x="508547" y="1707792"/>
            <a:ext cx="11203667" cy="4648571"/>
          </a:xfrm>
          <a:prstGeom prst="rect">
            <a:avLst/>
          </a:prstGeom>
          <a:noFill/>
          <a:ln>
            <a:noFill/>
          </a:ln>
        </p:spPr>
        <p:txBody>
          <a:bodyPr spcFirstLastPara="1" wrap="square" lIns="91400" tIns="45700" rIns="91400" bIns="45700" anchor="t" anchorCtr="0">
            <a:noAutofit/>
          </a:bodyPr>
          <a:lstStyle>
            <a:lvl1pPr marL="304847" lvl="0" indent="-254039" algn="l">
              <a:lnSpc>
                <a:spcPct val="100000"/>
              </a:lnSpc>
              <a:spcBef>
                <a:spcPts val="1000"/>
              </a:spcBef>
              <a:spcAft>
                <a:spcPts val="0"/>
              </a:spcAft>
              <a:buSzPts val="2400"/>
              <a:buChar char="•"/>
              <a:defRPr>
                <a:solidFill>
                  <a:srgbClr val="4B545E"/>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49" name="Google Shape;17949;p1561"/>
          <p:cNvSpPr/>
          <p:nvPr/>
        </p:nvSpPr>
        <p:spPr>
          <a:xfrm>
            <a:off x="6863645"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50" name="Google Shape;17950;p156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51" name="Google Shape;17951;p1561"/>
          <p:cNvSpPr txBox="1">
            <a:spLocks noGrp="1"/>
          </p:cNvSpPr>
          <p:nvPr>
            <p:ph type="body" idx="2"/>
          </p:nvPr>
        </p:nvSpPr>
        <p:spPr>
          <a:xfrm>
            <a:off x="332187" y="953348"/>
            <a:ext cx="11430109" cy="415923"/>
          </a:xfrm>
          <a:prstGeom prst="rect">
            <a:avLst/>
          </a:prstGeom>
          <a:noFill/>
          <a:ln>
            <a:noFill/>
          </a:ln>
        </p:spPr>
        <p:txBody>
          <a:bodyPr spcFirstLastPara="1" wrap="square" lIns="91400" tIns="45700" rIns="91400" bIns="45700" anchor="t" anchorCtr="0">
            <a:normAutofit/>
          </a:bodyPr>
          <a:lstStyle>
            <a:lvl1pPr marL="304847" lvl="0" indent="-152424" algn="l">
              <a:lnSpc>
                <a:spcPct val="100000"/>
              </a:lnSpc>
              <a:spcBef>
                <a:spcPts val="1000"/>
              </a:spcBef>
              <a:spcAft>
                <a:spcPts val="0"/>
              </a:spcAft>
              <a:buSzPts val="2400"/>
              <a:buNone/>
              <a:defRPr sz="1400">
                <a:solidFill>
                  <a:srgbClr val="FFFFFF"/>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952" name="Google Shape;17952;p1561"/>
          <p:cNvCxnSpPr/>
          <p:nvPr/>
        </p:nvCxnSpPr>
        <p:spPr>
          <a:xfrm>
            <a:off x="11311722" y="6447273"/>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53" name="Google Shape;17953;p1561"/>
          <p:cNvSpPr txBox="1">
            <a:spLocks noGrp="1"/>
          </p:cNvSpPr>
          <p:nvPr>
            <p:ph type="sldNum" idx="12"/>
          </p:nvPr>
        </p:nvSpPr>
        <p:spPr>
          <a:xfrm>
            <a:off x="11202597" y="6454534"/>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7954" name="Google Shape;17954;p1561"/>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2451389244"/>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matchingName="Photo Slide 13">
  <p:cSld name="2_Photo Slide 13">
    <p:spTree>
      <p:nvGrpSpPr>
        <p:cNvPr id="1" name="Shape 17971"/>
        <p:cNvGrpSpPr/>
        <p:nvPr/>
      </p:nvGrpSpPr>
      <p:grpSpPr>
        <a:xfrm>
          <a:off x="0" y="0"/>
          <a:ext cx="0" cy="0"/>
          <a:chOff x="0" y="0"/>
          <a:chExt cx="0" cy="0"/>
        </a:xfrm>
      </p:grpSpPr>
      <p:sp>
        <p:nvSpPr>
          <p:cNvPr id="17972" name="Google Shape;17972;p156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973" name="Google Shape;17973;p1564"/>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7974" name="Google Shape;17974;p1564"/>
          <p:cNvGrpSpPr/>
          <p:nvPr/>
        </p:nvGrpSpPr>
        <p:grpSpPr>
          <a:xfrm>
            <a:off x="4" y="5379428"/>
            <a:ext cx="2807363" cy="753895"/>
            <a:chOff x="0" y="5379424"/>
            <a:chExt cx="2807363" cy="753895"/>
          </a:xfrm>
        </p:grpSpPr>
        <p:sp>
          <p:nvSpPr>
            <p:cNvPr id="17975" name="Google Shape;17975;p156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76" name="Google Shape;17976;p156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7977" name="Google Shape;17977;p1564"/>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2984136826"/>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matchingName="7_Quotation">
  <p:cSld name="8_Quotation">
    <p:spTree>
      <p:nvGrpSpPr>
        <p:cNvPr id="1" name="Shape 17978"/>
        <p:cNvGrpSpPr/>
        <p:nvPr/>
      </p:nvGrpSpPr>
      <p:grpSpPr>
        <a:xfrm>
          <a:off x="0" y="0"/>
          <a:ext cx="0" cy="0"/>
          <a:chOff x="0" y="0"/>
          <a:chExt cx="0" cy="0"/>
        </a:xfrm>
      </p:grpSpPr>
      <p:sp>
        <p:nvSpPr>
          <p:cNvPr id="17979" name="Google Shape;17979;p156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80" name="Google Shape;17980;p15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81" name="Google Shape;17981;p1565"/>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82" name="Google Shape;17982;p1565"/>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7983" name="Google Shape;17983;p15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7984" name="Google Shape;17984;p156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85" name="Google Shape;17985;p1565"/>
          <p:cNvGrpSpPr/>
          <p:nvPr/>
        </p:nvGrpSpPr>
        <p:grpSpPr>
          <a:xfrm>
            <a:off x="7191545" y="0"/>
            <a:ext cx="5000460" cy="1425988"/>
            <a:chOff x="7191545" y="0"/>
            <a:chExt cx="5000460" cy="1425988"/>
          </a:xfrm>
        </p:grpSpPr>
        <p:pic>
          <p:nvPicPr>
            <p:cNvPr id="17986" name="Google Shape;17986;p15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7987" name="Google Shape;17987;p1565"/>
            <p:cNvGrpSpPr/>
            <p:nvPr/>
          </p:nvGrpSpPr>
          <p:grpSpPr>
            <a:xfrm>
              <a:off x="7191545" y="0"/>
              <a:ext cx="5000460" cy="1425988"/>
              <a:chOff x="7191545" y="0"/>
              <a:chExt cx="5000460" cy="1425988"/>
            </a:xfrm>
          </p:grpSpPr>
          <p:sp>
            <p:nvSpPr>
              <p:cNvPr id="17988" name="Google Shape;17988;p15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7989" name="Google Shape;17989;p15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7990" name="Google Shape;17990;p1565"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198476325"/>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matchingName="1_EVERYDAY CONTENT ONLY 2">
  <p:cSld name="2_EVERYDAY CONTENT ONLY 2">
    <p:spTree>
      <p:nvGrpSpPr>
        <p:cNvPr id="1" name="Shape 17991"/>
        <p:cNvGrpSpPr/>
        <p:nvPr/>
      </p:nvGrpSpPr>
      <p:grpSpPr>
        <a:xfrm>
          <a:off x="0" y="0"/>
          <a:ext cx="0" cy="0"/>
          <a:chOff x="0" y="0"/>
          <a:chExt cx="0" cy="0"/>
        </a:xfrm>
      </p:grpSpPr>
      <p:sp>
        <p:nvSpPr>
          <p:cNvPr id="17992" name="Google Shape;17992;p1566"/>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7993" name="Google Shape;17993;p1566"/>
          <p:cNvSpPr/>
          <p:nvPr/>
        </p:nvSpPr>
        <p:spPr>
          <a:xfrm>
            <a:off x="6863645"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4" name="Google Shape;17994;p1566"/>
          <p:cNvSpPr txBox="1">
            <a:spLocks noGrp="1"/>
          </p:cNvSpPr>
          <p:nvPr>
            <p:ph type="body" idx="1"/>
          </p:nvPr>
        </p:nvSpPr>
        <p:spPr>
          <a:xfrm>
            <a:off x="508547" y="1707792"/>
            <a:ext cx="11203667" cy="4648571"/>
          </a:xfrm>
          <a:prstGeom prst="rect">
            <a:avLst/>
          </a:prstGeom>
          <a:noFill/>
          <a:ln>
            <a:noFill/>
          </a:ln>
        </p:spPr>
        <p:txBody>
          <a:bodyPr spcFirstLastPara="1" wrap="square" lIns="91400" tIns="45700" rIns="91400" bIns="45700" anchor="t" anchorCtr="0">
            <a:noAutofit/>
          </a:bodyPr>
          <a:lstStyle>
            <a:lvl1pPr marL="304847" lvl="0" indent="-254039" algn="l">
              <a:lnSpc>
                <a:spcPct val="100000"/>
              </a:lnSpc>
              <a:spcBef>
                <a:spcPts val="1000"/>
              </a:spcBef>
              <a:spcAft>
                <a:spcPts val="0"/>
              </a:spcAft>
              <a:buSzPts val="2400"/>
              <a:buChar char="•"/>
              <a:defRPr>
                <a:solidFill>
                  <a:srgbClr val="4B545E"/>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7995" name="Google Shape;17995;p1566"/>
          <p:cNvSpPr/>
          <p:nvPr/>
        </p:nvSpPr>
        <p:spPr>
          <a:xfrm>
            <a:off x="6863645"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17996" name="Google Shape;17996;p1566"/>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97" name="Google Shape;17997;p1566"/>
          <p:cNvSpPr txBox="1">
            <a:spLocks noGrp="1"/>
          </p:cNvSpPr>
          <p:nvPr>
            <p:ph type="body" idx="2"/>
          </p:nvPr>
        </p:nvSpPr>
        <p:spPr>
          <a:xfrm>
            <a:off x="332187" y="953348"/>
            <a:ext cx="11430109" cy="415923"/>
          </a:xfrm>
          <a:prstGeom prst="rect">
            <a:avLst/>
          </a:prstGeom>
          <a:noFill/>
          <a:ln>
            <a:noFill/>
          </a:ln>
        </p:spPr>
        <p:txBody>
          <a:bodyPr spcFirstLastPara="1" wrap="square" lIns="91400" tIns="45700" rIns="91400" bIns="45700" anchor="t" anchorCtr="0">
            <a:normAutofit/>
          </a:bodyPr>
          <a:lstStyle>
            <a:lvl1pPr marL="304847" lvl="0" indent="-152424" algn="l">
              <a:lnSpc>
                <a:spcPct val="100000"/>
              </a:lnSpc>
              <a:spcBef>
                <a:spcPts val="1000"/>
              </a:spcBef>
              <a:spcAft>
                <a:spcPts val="0"/>
              </a:spcAft>
              <a:buSzPts val="2400"/>
              <a:buNone/>
              <a:defRPr sz="1400">
                <a:solidFill>
                  <a:srgbClr val="FFFFFF"/>
                </a:solidFill>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7998" name="Google Shape;17998;p1566"/>
          <p:cNvCxnSpPr/>
          <p:nvPr/>
        </p:nvCxnSpPr>
        <p:spPr>
          <a:xfrm>
            <a:off x="11311722" y="6447273"/>
            <a:ext cx="0" cy="267883"/>
          </a:xfrm>
          <a:prstGeom prst="straightConnector1">
            <a:avLst/>
          </a:prstGeom>
          <a:noFill/>
          <a:ln w="9525" cap="flat" cmpd="sng">
            <a:solidFill>
              <a:srgbClr val="7F7F7F"/>
            </a:solidFill>
            <a:prstDash val="solid"/>
            <a:miter lim="8000"/>
            <a:headEnd type="none" w="sm" len="sm"/>
            <a:tailEnd type="none" w="sm" len="sm"/>
          </a:ln>
        </p:spPr>
      </p:cxnSp>
      <p:sp>
        <p:nvSpPr>
          <p:cNvPr id="17999" name="Google Shape;17999;p1566"/>
          <p:cNvSpPr txBox="1">
            <a:spLocks noGrp="1"/>
          </p:cNvSpPr>
          <p:nvPr>
            <p:ph type="sldNum" idx="12"/>
          </p:nvPr>
        </p:nvSpPr>
        <p:spPr>
          <a:xfrm>
            <a:off x="11202597" y="6454534"/>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18000" name="Google Shape;18000;p1566"/>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3335724978"/>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matchingName="1_Photo Slide 13">
  <p:cSld name="2_Photo Slide 13">
    <p:spTree>
      <p:nvGrpSpPr>
        <p:cNvPr id="1" name="Shape 18017"/>
        <p:cNvGrpSpPr/>
        <p:nvPr/>
      </p:nvGrpSpPr>
      <p:grpSpPr>
        <a:xfrm>
          <a:off x="0" y="0"/>
          <a:ext cx="0" cy="0"/>
          <a:chOff x="0" y="0"/>
          <a:chExt cx="0" cy="0"/>
        </a:xfrm>
      </p:grpSpPr>
      <p:sp>
        <p:nvSpPr>
          <p:cNvPr id="18018" name="Google Shape;18018;p156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8019" name="Google Shape;18019;p1569"/>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020" name="Google Shape;18020;p1569"/>
          <p:cNvGrpSpPr/>
          <p:nvPr/>
        </p:nvGrpSpPr>
        <p:grpSpPr>
          <a:xfrm>
            <a:off x="4" y="5379428"/>
            <a:ext cx="2807363" cy="753895"/>
            <a:chOff x="0" y="5379424"/>
            <a:chExt cx="2807363" cy="753895"/>
          </a:xfrm>
        </p:grpSpPr>
        <p:sp>
          <p:nvSpPr>
            <p:cNvPr id="18021" name="Google Shape;18021;p156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22" name="Google Shape;18022;p156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023" name="Google Shape;18023;p1569"/>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2478269230"/>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matchingName="Quotation 18">
  <p:cSld name="2_Quotation 18">
    <p:spTree>
      <p:nvGrpSpPr>
        <p:cNvPr id="1" name="Shape 18033"/>
        <p:cNvGrpSpPr/>
        <p:nvPr/>
      </p:nvGrpSpPr>
      <p:grpSpPr>
        <a:xfrm>
          <a:off x="0" y="0"/>
          <a:ext cx="0" cy="0"/>
          <a:chOff x="0" y="0"/>
          <a:chExt cx="0" cy="0"/>
        </a:xfrm>
      </p:grpSpPr>
      <p:sp>
        <p:nvSpPr>
          <p:cNvPr id="18034" name="Google Shape;18034;p157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35" name="Google Shape;18035;p15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36" name="Google Shape;18036;p1571"/>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37" name="Google Shape;18037;p157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38" name="Google Shape;18038;p15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39" name="Google Shape;18039;p157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40" name="Google Shape;18040;p1571"/>
          <p:cNvGrpSpPr/>
          <p:nvPr/>
        </p:nvGrpSpPr>
        <p:grpSpPr>
          <a:xfrm>
            <a:off x="7191545" y="0"/>
            <a:ext cx="5000460" cy="1425988"/>
            <a:chOff x="7191545" y="0"/>
            <a:chExt cx="5000460" cy="1425988"/>
          </a:xfrm>
        </p:grpSpPr>
        <p:pic>
          <p:nvPicPr>
            <p:cNvPr id="18041" name="Google Shape;18041;p15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42" name="Google Shape;18042;p1571"/>
            <p:cNvGrpSpPr/>
            <p:nvPr/>
          </p:nvGrpSpPr>
          <p:grpSpPr>
            <a:xfrm>
              <a:off x="7191545" y="0"/>
              <a:ext cx="5000460" cy="1425988"/>
              <a:chOff x="7191545" y="0"/>
              <a:chExt cx="5000460" cy="1425988"/>
            </a:xfrm>
          </p:grpSpPr>
          <p:sp>
            <p:nvSpPr>
              <p:cNvPr id="18043" name="Google Shape;18043;p15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44" name="Google Shape;18044;p15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045" name="Google Shape;18045;p1571"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535689667"/>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matchingName="Two Content 12">
  <p:cSld name="2_Two Content 12">
    <p:spTree>
      <p:nvGrpSpPr>
        <p:cNvPr id="1" name="Shape 18046"/>
        <p:cNvGrpSpPr/>
        <p:nvPr/>
      </p:nvGrpSpPr>
      <p:grpSpPr>
        <a:xfrm>
          <a:off x="0" y="0"/>
          <a:ext cx="0" cy="0"/>
          <a:chOff x="0" y="0"/>
          <a:chExt cx="0" cy="0"/>
        </a:xfrm>
      </p:grpSpPr>
      <p:sp>
        <p:nvSpPr>
          <p:cNvPr id="18047" name="Google Shape;18047;p157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48" name="Google Shape;18048;p1572"/>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8049" name="Google Shape;18049;p1572"/>
          <p:cNvGrpSpPr/>
          <p:nvPr/>
        </p:nvGrpSpPr>
        <p:grpSpPr>
          <a:xfrm>
            <a:off x="7191545" y="0"/>
            <a:ext cx="5000460" cy="1425988"/>
            <a:chOff x="7191545" y="0"/>
            <a:chExt cx="5000460" cy="1425988"/>
          </a:xfrm>
        </p:grpSpPr>
        <p:pic>
          <p:nvPicPr>
            <p:cNvPr id="18050" name="Google Shape;18050;p157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51" name="Google Shape;18051;p1572"/>
            <p:cNvGrpSpPr/>
            <p:nvPr/>
          </p:nvGrpSpPr>
          <p:grpSpPr>
            <a:xfrm>
              <a:off x="7191545" y="0"/>
              <a:ext cx="5000460" cy="1425988"/>
              <a:chOff x="7191545" y="0"/>
              <a:chExt cx="5000460" cy="1425988"/>
            </a:xfrm>
          </p:grpSpPr>
          <p:sp>
            <p:nvSpPr>
              <p:cNvPr id="18052" name="Google Shape;18052;p157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53" name="Google Shape;18053;p157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54" name="Google Shape;18054;p1572"/>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55" name="Google Shape;18055;p1572"/>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56" name="Google Shape;18056;p157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57" name="Google Shape;18057;p157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97746630"/>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matchingName="Comparison 11">
  <p:cSld name="2_Comparison 11">
    <p:spTree>
      <p:nvGrpSpPr>
        <p:cNvPr id="1" name="Shape 18058"/>
        <p:cNvGrpSpPr/>
        <p:nvPr/>
      </p:nvGrpSpPr>
      <p:grpSpPr>
        <a:xfrm>
          <a:off x="0" y="0"/>
          <a:ext cx="0" cy="0"/>
          <a:chOff x="0" y="0"/>
          <a:chExt cx="0" cy="0"/>
        </a:xfrm>
      </p:grpSpPr>
      <p:grpSp>
        <p:nvGrpSpPr>
          <p:cNvPr id="18059" name="Google Shape;18059;p1573"/>
          <p:cNvGrpSpPr/>
          <p:nvPr/>
        </p:nvGrpSpPr>
        <p:grpSpPr>
          <a:xfrm>
            <a:off x="7191545" y="0"/>
            <a:ext cx="5000460" cy="1425988"/>
            <a:chOff x="7191545" y="0"/>
            <a:chExt cx="5000460" cy="1425988"/>
          </a:xfrm>
        </p:grpSpPr>
        <p:pic>
          <p:nvPicPr>
            <p:cNvPr id="18060" name="Google Shape;18060;p157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061" name="Google Shape;18061;p1573"/>
            <p:cNvGrpSpPr/>
            <p:nvPr/>
          </p:nvGrpSpPr>
          <p:grpSpPr>
            <a:xfrm>
              <a:off x="7191545" y="0"/>
              <a:ext cx="5000460" cy="1425988"/>
              <a:chOff x="7191545" y="0"/>
              <a:chExt cx="5000460" cy="1425988"/>
            </a:xfrm>
          </p:grpSpPr>
          <p:sp>
            <p:nvSpPr>
              <p:cNvPr id="18062" name="Google Shape;18062;p157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63" name="Google Shape;18063;p157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064" name="Google Shape;18064;p1573"/>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65" name="Google Shape;18065;p157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66" name="Google Shape;18066;p1573"/>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67" name="Google Shape;18067;p1573"/>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68" name="Google Shape;18068;p1573"/>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69" name="Google Shape;18069;p157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070" name="Google Shape;18070;p157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071" name="Google Shape;18071;p157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673011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matchingName="End 12">
  <p:cSld name="2_End 12">
    <p:spTree>
      <p:nvGrpSpPr>
        <p:cNvPr id="1" name="Shape 18082"/>
        <p:cNvGrpSpPr/>
        <p:nvPr/>
      </p:nvGrpSpPr>
      <p:grpSpPr>
        <a:xfrm>
          <a:off x="0" y="0"/>
          <a:ext cx="0" cy="0"/>
          <a:chOff x="0" y="0"/>
          <a:chExt cx="0" cy="0"/>
        </a:xfrm>
      </p:grpSpPr>
      <p:grpSp>
        <p:nvGrpSpPr>
          <p:cNvPr id="18083" name="Google Shape;18083;p1575"/>
          <p:cNvGrpSpPr/>
          <p:nvPr/>
        </p:nvGrpSpPr>
        <p:grpSpPr>
          <a:xfrm>
            <a:off x="0" y="0"/>
            <a:ext cx="12191996" cy="2148830"/>
            <a:chOff x="0" y="0"/>
            <a:chExt cx="12191996" cy="2148830"/>
          </a:xfrm>
        </p:grpSpPr>
        <p:sp>
          <p:nvSpPr>
            <p:cNvPr id="18084" name="Google Shape;18084;p157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085" name="Google Shape;18085;p157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086" name="Google Shape;18086;p1575"/>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087" name="Google Shape;18087;p1575"/>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088" name="Google Shape;18088;p157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089" name="Google Shape;18089;p157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274984030"/>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matchingName="6_Quotation 2">
  <p:cSld name="8_Quotation 2">
    <p:spTree>
      <p:nvGrpSpPr>
        <p:cNvPr id="1" name="Shape 18099"/>
        <p:cNvGrpSpPr/>
        <p:nvPr/>
      </p:nvGrpSpPr>
      <p:grpSpPr>
        <a:xfrm>
          <a:off x="0" y="0"/>
          <a:ext cx="0" cy="0"/>
          <a:chOff x="0" y="0"/>
          <a:chExt cx="0" cy="0"/>
        </a:xfrm>
      </p:grpSpPr>
      <p:sp>
        <p:nvSpPr>
          <p:cNvPr id="18100" name="Google Shape;18100;p157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01" name="Google Shape;18101;p1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2" name="Google Shape;18102;p1577"/>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103" name="Google Shape;18103;p1577"/>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04" name="Google Shape;18104;p1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05" name="Google Shape;18105;p1577"/>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06" name="Google Shape;18106;p1577"/>
          <p:cNvGrpSpPr/>
          <p:nvPr/>
        </p:nvGrpSpPr>
        <p:grpSpPr>
          <a:xfrm>
            <a:off x="7191545" y="0"/>
            <a:ext cx="5000460" cy="1425988"/>
            <a:chOff x="7191545" y="0"/>
            <a:chExt cx="5000460" cy="1425988"/>
          </a:xfrm>
        </p:grpSpPr>
        <p:pic>
          <p:nvPicPr>
            <p:cNvPr id="18107" name="Google Shape;18107;p1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08" name="Google Shape;18108;p1577"/>
            <p:cNvGrpSpPr/>
            <p:nvPr/>
          </p:nvGrpSpPr>
          <p:grpSpPr>
            <a:xfrm>
              <a:off x="7191545" y="0"/>
              <a:ext cx="5000460" cy="1425988"/>
              <a:chOff x="7191545" y="0"/>
              <a:chExt cx="5000460" cy="1425988"/>
            </a:xfrm>
          </p:grpSpPr>
          <p:sp>
            <p:nvSpPr>
              <p:cNvPr id="18109" name="Google Shape;18109;p1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10" name="Google Shape;18110;p1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11" name="Google Shape;18111;p1577"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15282224"/>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matchingName="Photo Slide 14">
  <p:cSld name="2_Photo Slide 14">
    <p:spTree>
      <p:nvGrpSpPr>
        <p:cNvPr id="1" name="Shape 18135"/>
        <p:cNvGrpSpPr/>
        <p:nvPr/>
      </p:nvGrpSpPr>
      <p:grpSpPr>
        <a:xfrm>
          <a:off x="0" y="0"/>
          <a:ext cx="0" cy="0"/>
          <a:chOff x="0" y="0"/>
          <a:chExt cx="0" cy="0"/>
        </a:xfrm>
      </p:grpSpPr>
      <p:sp>
        <p:nvSpPr>
          <p:cNvPr id="18136" name="Google Shape;18136;p158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8137" name="Google Shape;18137;p1581"/>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138" name="Google Shape;18138;p1581"/>
          <p:cNvGrpSpPr/>
          <p:nvPr/>
        </p:nvGrpSpPr>
        <p:grpSpPr>
          <a:xfrm>
            <a:off x="4" y="5379428"/>
            <a:ext cx="2807363" cy="753895"/>
            <a:chOff x="0" y="5379424"/>
            <a:chExt cx="2807363" cy="753895"/>
          </a:xfrm>
        </p:grpSpPr>
        <p:sp>
          <p:nvSpPr>
            <p:cNvPr id="18139" name="Google Shape;18139;p158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0" name="Google Shape;18140;p158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141" name="Google Shape;18141;p1581"/>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1986903205"/>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matchingName="Quotation 19">
  <p:cSld name="2_Quotation 19">
    <p:spTree>
      <p:nvGrpSpPr>
        <p:cNvPr id="1" name="Shape 18142"/>
        <p:cNvGrpSpPr/>
        <p:nvPr/>
      </p:nvGrpSpPr>
      <p:grpSpPr>
        <a:xfrm>
          <a:off x="0" y="0"/>
          <a:ext cx="0" cy="0"/>
          <a:chOff x="0" y="0"/>
          <a:chExt cx="0" cy="0"/>
        </a:xfrm>
      </p:grpSpPr>
      <p:sp>
        <p:nvSpPr>
          <p:cNvPr id="18143" name="Google Shape;18143;p158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44" name="Google Shape;18144;p158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45" name="Google Shape;18145;p1582"/>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146" name="Google Shape;18146;p158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47" name="Google Shape;18147;p15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48" name="Google Shape;18148;p158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49" name="Google Shape;18149;p1582"/>
          <p:cNvGrpSpPr/>
          <p:nvPr/>
        </p:nvGrpSpPr>
        <p:grpSpPr>
          <a:xfrm>
            <a:off x="7191545" y="0"/>
            <a:ext cx="5000460" cy="1425988"/>
            <a:chOff x="7191545" y="0"/>
            <a:chExt cx="5000460" cy="1425988"/>
          </a:xfrm>
        </p:grpSpPr>
        <p:pic>
          <p:nvPicPr>
            <p:cNvPr id="18150" name="Google Shape;18150;p15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51" name="Google Shape;18151;p1582"/>
            <p:cNvGrpSpPr/>
            <p:nvPr/>
          </p:nvGrpSpPr>
          <p:grpSpPr>
            <a:xfrm>
              <a:off x="7191545" y="0"/>
              <a:ext cx="5000460" cy="1425988"/>
              <a:chOff x="7191545" y="0"/>
              <a:chExt cx="5000460" cy="1425988"/>
            </a:xfrm>
          </p:grpSpPr>
          <p:sp>
            <p:nvSpPr>
              <p:cNvPr id="18152" name="Google Shape;18152;p15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53" name="Google Shape;18153;p15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54" name="Google Shape;18154;p1582"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724367939"/>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matchingName="Quotation 20">
  <p:cSld name="2_Quotation 20">
    <p:spTree>
      <p:nvGrpSpPr>
        <p:cNvPr id="1" name="Shape 18155"/>
        <p:cNvGrpSpPr/>
        <p:nvPr/>
      </p:nvGrpSpPr>
      <p:grpSpPr>
        <a:xfrm>
          <a:off x="0" y="0"/>
          <a:ext cx="0" cy="0"/>
          <a:chOff x="0" y="0"/>
          <a:chExt cx="0" cy="0"/>
        </a:xfrm>
      </p:grpSpPr>
      <p:sp>
        <p:nvSpPr>
          <p:cNvPr id="18156" name="Google Shape;18156;p158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157" name="Google Shape;18157;p158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8" name="Google Shape;18158;p1583"/>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159" name="Google Shape;18159;p1583"/>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60" name="Google Shape;18160;p1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61" name="Google Shape;18161;p158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62" name="Google Shape;18162;p1583"/>
          <p:cNvGrpSpPr/>
          <p:nvPr/>
        </p:nvGrpSpPr>
        <p:grpSpPr>
          <a:xfrm>
            <a:off x="7191545" y="0"/>
            <a:ext cx="5000460" cy="1425988"/>
            <a:chOff x="7191545" y="0"/>
            <a:chExt cx="5000460" cy="1425988"/>
          </a:xfrm>
        </p:grpSpPr>
        <p:pic>
          <p:nvPicPr>
            <p:cNvPr id="18163" name="Google Shape;18163;p1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64" name="Google Shape;18164;p1583"/>
            <p:cNvGrpSpPr/>
            <p:nvPr/>
          </p:nvGrpSpPr>
          <p:grpSpPr>
            <a:xfrm>
              <a:off x="7191545" y="0"/>
              <a:ext cx="5000460" cy="1425988"/>
              <a:chOff x="7191545" y="0"/>
              <a:chExt cx="5000460" cy="1425988"/>
            </a:xfrm>
          </p:grpSpPr>
          <p:sp>
            <p:nvSpPr>
              <p:cNvPr id="18165" name="Google Shape;18165;p1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66" name="Google Shape;18166;p1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167" name="Google Shape;18167;p1583"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4236907668"/>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matchingName="Title and Content 15">
  <p:cSld name="2_Title and Content 15">
    <p:spTree>
      <p:nvGrpSpPr>
        <p:cNvPr id="1" name="Shape 18168"/>
        <p:cNvGrpSpPr/>
        <p:nvPr/>
      </p:nvGrpSpPr>
      <p:grpSpPr>
        <a:xfrm>
          <a:off x="0" y="0"/>
          <a:ext cx="0" cy="0"/>
          <a:chOff x="0" y="0"/>
          <a:chExt cx="0" cy="0"/>
        </a:xfrm>
      </p:grpSpPr>
      <p:grpSp>
        <p:nvGrpSpPr>
          <p:cNvPr id="18169" name="Google Shape;18169;p1584"/>
          <p:cNvGrpSpPr/>
          <p:nvPr/>
        </p:nvGrpSpPr>
        <p:grpSpPr>
          <a:xfrm>
            <a:off x="7191545" y="0"/>
            <a:ext cx="5000460" cy="1425988"/>
            <a:chOff x="7191545" y="0"/>
            <a:chExt cx="5000460" cy="1425988"/>
          </a:xfrm>
        </p:grpSpPr>
        <p:pic>
          <p:nvPicPr>
            <p:cNvPr id="18170" name="Google Shape;18170;p15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71" name="Google Shape;18171;p1584"/>
            <p:cNvGrpSpPr/>
            <p:nvPr/>
          </p:nvGrpSpPr>
          <p:grpSpPr>
            <a:xfrm>
              <a:off x="7191545" y="0"/>
              <a:ext cx="5000460" cy="1425988"/>
              <a:chOff x="7191545" y="0"/>
              <a:chExt cx="5000460" cy="1425988"/>
            </a:xfrm>
          </p:grpSpPr>
          <p:sp>
            <p:nvSpPr>
              <p:cNvPr id="18172" name="Google Shape;18172;p15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73" name="Google Shape;18173;p15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74" name="Google Shape;18174;p1584"/>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75" name="Google Shape;18175;p158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176" name="Google Shape;18176;p158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77" name="Google Shape;18177;p15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78" name="Google Shape;18178;p158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06195566"/>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matchingName="Two Content 13">
  <p:cSld name="2_Two Content 13">
    <p:spTree>
      <p:nvGrpSpPr>
        <p:cNvPr id="1" name="Shape 18179"/>
        <p:cNvGrpSpPr/>
        <p:nvPr/>
      </p:nvGrpSpPr>
      <p:grpSpPr>
        <a:xfrm>
          <a:off x="0" y="0"/>
          <a:ext cx="0" cy="0"/>
          <a:chOff x="0" y="0"/>
          <a:chExt cx="0" cy="0"/>
        </a:xfrm>
      </p:grpSpPr>
      <p:sp>
        <p:nvSpPr>
          <p:cNvPr id="18180" name="Google Shape;18180;p1585"/>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81" name="Google Shape;18181;p1585"/>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8182" name="Google Shape;18182;p1585"/>
          <p:cNvGrpSpPr/>
          <p:nvPr/>
        </p:nvGrpSpPr>
        <p:grpSpPr>
          <a:xfrm>
            <a:off x="7191545" y="0"/>
            <a:ext cx="5000460" cy="1425988"/>
            <a:chOff x="7191545" y="0"/>
            <a:chExt cx="5000460" cy="1425988"/>
          </a:xfrm>
        </p:grpSpPr>
        <p:pic>
          <p:nvPicPr>
            <p:cNvPr id="18183" name="Google Shape;18183;p15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84" name="Google Shape;18184;p1585"/>
            <p:cNvGrpSpPr/>
            <p:nvPr/>
          </p:nvGrpSpPr>
          <p:grpSpPr>
            <a:xfrm>
              <a:off x="7191545" y="0"/>
              <a:ext cx="5000460" cy="1425988"/>
              <a:chOff x="7191545" y="0"/>
              <a:chExt cx="5000460" cy="1425988"/>
            </a:xfrm>
          </p:grpSpPr>
          <p:sp>
            <p:nvSpPr>
              <p:cNvPr id="18185" name="Google Shape;18185;p15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86" name="Google Shape;18186;p15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87" name="Google Shape;18187;p1585"/>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188" name="Google Shape;18188;p1585"/>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189" name="Google Shape;18189;p15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190" name="Google Shape;18190;p1585"/>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62237208"/>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matchingName="Comparison 12">
  <p:cSld name="2_Comparison 12">
    <p:spTree>
      <p:nvGrpSpPr>
        <p:cNvPr id="1" name="Shape 18191"/>
        <p:cNvGrpSpPr/>
        <p:nvPr/>
      </p:nvGrpSpPr>
      <p:grpSpPr>
        <a:xfrm>
          <a:off x="0" y="0"/>
          <a:ext cx="0" cy="0"/>
          <a:chOff x="0" y="0"/>
          <a:chExt cx="0" cy="0"/>
        </a:xfrm>
      </p:grpSpPr>
      <p:grpSp>
        <p:nvGrpSpPr>
          <p:cNvPr id="18192" name="Google Shape;18192;p1586"/>
          <p:cNvGrpSpPr/>
          <p:nvPr/>
        </p:nvGrpSpPr>
        <p:grpSpPr>
          <a:xfrm>
            <a:off x="7191545" y="0"/>
            <a:ext cx="5000460" cy="1425988"/>
            <a:chOff x="7191545" y="0"/>
            <a:chExt cx="5000460" cy="1425988"/>
          </a:xfrm>
        </p:grpSpPr>
        <p:pic>
          <p:nvPicPr>
            <p:cNvPr id="18193" name="Google Shape;18193;p15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194" name="Google Shape;18194;p1586"/>
            <p:cNvGrpSpPr/>
            <p:nvPr/>
          </p:nvGrpSpPr>
          <p:grpSpPr>
            <a:xfrm>
              <a:off x="7191545" y="0"/>
              <a:ext cx="5000460" cy="1425988"/>
              <a:chOff x="7191545" y="0"/>
              <a:chExt cx="5000460" cy="1425988"/>
            </a:xfrm>
          </p:grpSpPr>
          <p:sp>
            <p:nvSpPr>
              <p:cNvPr id="18195" name="Google Shape;18195;p15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196" name="Google Shape;18196;p15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197" name="Google Shape;18197;p1586"/>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98" name="Google Shape;18198;p158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199" name="Google Shape;18199;p1586"/>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00" name="Google Shape;18200;p1586"/>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01" name="Google Shape;18201;p1586"/>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02" name="Google Shape;18202;p158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03" name="Google Shape;18203;p15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04" name="Google Shape;18204;p158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4402742"/>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matchingName="End 13">
  <p:cSld name="2_End 13">
    <p:spTree>
      <p:nvGrpSpPr>
        <p:cNvPr id="1" name="Shape 18215"/>
        <p:cNvGrpSpPr/>
        <p:nvPr/>
      </p:nvGrpSpPr>
      <p:grpSpPr>
        <a:xfrm>
          <a:off x="0" y="0"/>
          <a:ext cx="0" cy="0"/>
          <a:chOff x="0" y="0"/>
          <a:chExt cx="0" cy="0"/>
        </a:xfrm>
      </p:grpSpPr>
      <p:grpSp>
        <p:nvGrpSpPr>
          <p:cNvPr id="18216" name="Google Shape;18216;p1588"/>
          <p:cNvGrpSpPr/>
          <p:nvPr/>
        </p:nvGrpSpPr>
        <p:grpSpPr>
          <a:xfrm>
            <a:off x="0" y="0"/>
            <a:ext cx="12191996" cy="2148830"/>
            <a:chOff x="0" y="0"/>
            <a:chExt cx="12191996" cy="2148830"/>
          </a:xfrm>
        </p:grpSpPr>
        <p:sp>
          <p:nvSpPr>
            <p:cNvPr id="18217" name="Google Shape;18217;p158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18" name="Google Shape;18218;p158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19" name="Google Shape;18219;p1588"/>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20" name="Google Shape;18220;p1588"/>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21" name="Google Shape;18221;p158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22" name="Google Shape;18222;p158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374990631"/>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matchingName="1_Quotation 18">
  <p:cSld name="2_Quotation 18">
    <p:spTree>
      <p:nvGrpSpPr>
        <p:cNvPr id="1" name="Shape 18232"/>
        <p:cNvGrpSpPr/>
        <p:nvPr/>
      </p:nvGrpSpPr>
      <p:grpSpPr>
        <a:xfrm>
          <a:off x="0" y="0"/>
          <a:ext cx="0" cy="0"/>
          <a:chOff x="0" y="0"/>
          <a:chExt cx="0" cy="0"/>
        </a:xfrm>
      </p:grpSpPr>
      <p:sp>
        <p:nvSpPr>
          <p:cNvPr id="18233" name="Google Shape;18233;p159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34" name="Google Shape;18234;p159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5" name="Google Shape;18235;p1590"/>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36" name="Google Shape;18236;p159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37" name="Google Shape;18237;p1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38" name="Google Shape;18238;p159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39" name="Google Shape;18239;p1590"/>
          <p:cNvGrpSpPr/>
          <p:nvPr/>
        </p:nvGrpSpPr>
        <p:grpSpPr>
          <a:xfrm>
            <a:off x="7191545" y="0"/>
            <a:ext cx="5000460" cy="1425988"/>
            <a:chOff x="7191545" y="0"/>
            <a:chExt cx="5000460" cy="1425988"/>
          </a:xfrm>
        </p:grpSpPr>
        <p:pic>
          <p:nvPicPr>
            <p:cNvPr id="18240" name="Google Shape;18240;p1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41" name="Google Shape;18241;p1590"/>
            <p:cNvGrpSpPr/>
            <p:nvPr/>
          </p:nvGrpSpPr>
          <p:grpSpPr>
            <a:xfrm>
              <a:off x="7191545" y="0"/>
              <a:ext cx="5000460" cy="1425988"/>
              <a:chOff x="7191545" y="0"/>
              <a:chExt cx="5000460" cy="1425988"/>
            </a:xfrm>
          </p:grpSpPr>
          <p:sp>
            <p:nvSpPr>
              <p:cNvPr id="18242" name="Google Shape;18242;p1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43" name="Google Shape;18243;p1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244" name="Google Shape;18244;p1590"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998617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matchingName="1_Two Content 12">
  <p:cSld name="2_Two Content 12">
    <p:spTree>
      <p:nvGrpSpPr>
        <p:cNvPr id="1" name="Shape 18245"/>
        <p:cNvGrpSpPr/>
        <p:nvPr/>
      </p:nvGrpSpPr>
      <p:grpSpPr>
        <a:xfrm>
          <a:off x="0" y="0"/>
          <a:ext cx="0" cy="0"/>
          <a:chOff x="0" y="0"/>
          <a:chExt cx="0" cy="0"/>
        </a:xfrm>
      </p:grpSpPr>
      <p:sp>
        <p:nvSpPr>
          <p:cNvPr id="18246" name="Google Shape;18246;p1591"/>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47" name="Google Shape;18247;p1591"/>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8248" name="Google Shape;18248;p1591"/>
          <p:cNvGrpSpPr/>
          <p:nvPr/>
        </p:nvGrpSpPr>
        <p:grpSpPr>
          <a:xfrm>
            <a:off x="7191545" y="0"/>
            <a:ext cx="5000460" cy="1425988"/>
            <a:chOff x="7191545" y="0"/>
            <a:chExt cx="5000460" cy="1425988"/>
          </a:xfrm>
        </p:grpSpPr>
        <p:pic>
          <p:nvPicPr>
            <p:cNvPr id="18249" name="Google Shape;18249;p1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50" name="Google Shape;18250;p1591"/>
            <p:cNvGrpSpPr/>
            <p:nvPr/>
          </p:nvGrpSpPr>
          <p:grpSpPr>
            <a:xfrm>
              <a:off x="7191545" y="0"/>
              <a:ext cx="5000460" cy="1425988"/>
              <a:chOff x="7191545" y="0"/>
              <a:chExt cx="5000460" cy="1425988"/>
            </a:xfrm>
          </p:grpSpPr>
          <p:sp>
            <p:nvSpPr>
              <p:cNvPr id="18251" name="Google Shape;18251;p1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52" name="Google Shape;18252;p1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53" name="Google Shape;18253;p1591"/>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54" name="Google Shape;18254;p1591"/>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55" name="Google Shape;18255;p1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56" name="Google Shape;18256;p159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889966"/>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matchingName="1_Comparison 11">
  <p:cSld name="2_Comparison 11">
    <p:spTree>
      <p:nvGrpSpPr>
        <p:cNvPr id="1" name="Shape 18257"/>
        <p:cNvGrpSpPr/>
        <p:nvPr/>
      </p:nvGrpSpPr>
      <p:grpSpPr>
        <a:xfrm>
          <a:off x="0" y="0"/>
          <a:ext cx="0" cy="0"/>
          <a:chOff x="0" y="0"/>
          <a:chExt cx="0" cy="0"/>
        </a:xfrm>
      </p:grpSpPr>
      <p:grpSp>
        <p:nvGrpSpPr>
          <p:cNvPr id="18258" name="Google Shape;18258;p1592"/>
          <p:cNvGrpSpPr/>
          <p:nvPr/>
        </p:nvGrpSpPr>
        <p:grpSpPr>
          <a:xfrm>
            <a:off x="7191545" y="0"/>
            <a:ext cx="5000460" cy="1425988"/>
            <a:chOff x="7191545" y="0"/>
            <a:chExt cx="5000460" cy="1425988"/>
          </a:xfrm>
        </p:grpSpPr>
        <p:pic>
          <p:nvPicPr>
            <p:cNvPr id="18259" name="Google Shape;18259;p1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260" name="Google Shape;18260;p1592"/>
            <p:cNvGrpSpPr/>
            <p:nvPr/>
          </p:nvGrpSpPr>
          <p:grpSpPr>
            <a:xfrm>
              <a:off x="7191545" y="0"/>
              <a:ext cx="5000460" cy="1425988"/>
              <a:chOff x="7191545" y="0"/>
              <a:chExt cx="5000460" cy="1425988"/>
            </a:xfrm>
          </p:grpSpPr>
          <p:sp>
            <p:nvSpPr>
              <p:cNvPr id="18261" name="Google Shape;18261;p1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62" name="Google Shape;18262;p1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263" name="Google Shape;18263;p159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64" name="Google Shape;18264;p159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65" name="Google Shape;18265;p1592"/>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66" name="Google Shape;18266;p1592"/>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67" name="Google Shape;18267;p1592"/>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68" name="Google Shape;18268;p159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269" name="Google Shape;18269;p1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270" name="Google Shape;18270;p159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5183036"/>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matchingName="1_End 12">
  <p:cSld name="2_End 12">
    <p:spTree>
      <p:nvGrpSpPr>
        <p:cNvPr id="1" name="Shape 18281"/>
        <p:cNvGrpSpPr/>
        <p:nvPr/>
      </p:nvGrpSpPr>
      <p:grpSpPr>
        <a:xfrm>
          <a:off x="0" y="0"/>
          <a:ext cx="0" cy="0"/>
          <a:chOff x="0" y="0"/>
          <a:chExt cx="0" cy="0"/>
        </a:xfrm>
      </p:grpSpPr>
      <p:grpSp>
        <p:nvGrpSpPr>
          <p:cNvPr id="18282" name="Google Shape;18282;p1594"/>
          <p:cNvGrpSpPr/>
          <p:nvPr/>
        </p:nvGrpSpPr>
        <p:grpSpPr>
          <a:xfrm>
            <a:off x="0" y="0"/>
            <a:ext cx="12191996" cy="2148830"/>
            <a:chOff x="0" y="0"/>
            <a:chExt cx="12191996" cy="2148830"/>
          </a:xfrm>
        </p:grpSpPr>
        <p:sp>
          <p:nvSpPr>
            <p:cNvPr id="18283" name="Google Shape;18283;p159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284" name="Google Shape;18284;p159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285" name="Google Shape;18285;p1594"/>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286" name="Google Shape;18286;p1594"/>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287" name="Google Shape;18287;p159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88" name="Google Shape;18288;p159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161477343"/>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matchingName="7_Quotation 2">
  <p:cSld name="8_Quotation 2">
    <p:spTree>
      <p:nvGrpSpPr>
        <p:cNvPr id="1" name="Shape 18298"/>
        <p:cNvGrpSpPr/>
        <p:nvPr/>
      </p:nvGrpSpPr>
      <p:grpSpPr>
        <a:xfrm>
          <a:off x="0" y="0"/>
          <a:ext cx="0" cy="0"/>
          <a:chOff x="0" y="0"/>
          <a:chExt cx="0" cy="0"/>
        </a:xfrm>
      </p:grpSpPr>
      <p:sp>
        <p:nvSpPr>
          <p:cNvPr id="18299" name="Google Shape;18299;p159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00" name="Google Shape;18300;p159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01" name="Google Shape;18301;p1596"/>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02" name="Google Shape;18302;p1596"/>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03" name="Google Shape;18303;p159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04" name="Google Shape;18304;p1596"/>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05" name="Google Shape;18305;p1596"/>
          <p:cNvGrpSpPr/>
          <p:nvPr/>
        </p:nvGrpSpPr>
        <p:grpSpPr>
          <a:xfrm>
            <a:off x="7191545" y="0"/>
            <a:ext cx="5000460" cy="1425988"/>
            <a:chOff x="7191545" y="0"/>
            <a:chExt cx="5000460" cy="1425988"/>
          </a:xfrm>
        </p:grpSpPr>
        <p:pic>
          <p:nvPicPr>
            <p:cNvPr id="18306" name="Google Shape;18306;p159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07" name="Google Shape;18307;p1596"/>
            <p:cNvGrpSpPr/>
            <p:nvPr/>
          </p:nvGrpSpPr>
          <p:grpSpPr>
            <a:xfrm>
              <a:off x="7191545" y="0"/>
              <a:ext cx="5000460" cy="1425988"/>
              <a:chOff x="7191545" y="0"/>
              <a:chExt cx="5000460" cy="1425988"/>
            </a:xfrm>
          </p:grpSpPr>
          <p:sp>
            <p:nvSpPr>
              <p:cNvPr id="18308" name="Google Shape;18308;p159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09" name="Google Shape;18309;p159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10" name="Google Shape;18310;p1596"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2685006527"/>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matchingName="1_Photo Slide 14">
  <p:cSld name="2_Photo Slide 14">
    <p:spTree>
      <p:nvGrpSpPr>
        <p:cNvPr id="1" name="Shape 18327"/>
        <p:cNvGrpSpPr/>
        <p:nvPr/>
      </p:nvGrpSpPr>
      <p:grpSpPr>
        <a:xfrm>
          <a:off x="0" y="0"/>
          <a:ext cx="0" cy="0"/>
          <a:chOff x="0" y="0"/>
          <a:chExt cx="0" cy="0"/>
        </a:xfrm>
      </p:grpSpPr>
      <p:sp>
        <p:nvSpPr>
          <p:cNvPr id="18328" name="Google Shape;18328;p159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8329" name="Google Shape;18329;p1599"/>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330" name="Google Shape;18330;p1599"/>
          <p:cNvGrpSpPr/>
          <p:nvPr/>
        </p:nvGrpSpPr>
        <p:grpSpPr>
          <a:xfrm>
            <a:off x="4" y="5379428"/>
            <a:ext cx="2807363" cy="753895"/>
            <a:chOff x="0" y="5379424"/>
            <a:chExt cx="2807363" cy="753895"/>
          </a:xfrm>
        </p:grpSpPr>
        <p:sp>
          <p:nvSpPr>
            <p:cNvPr id="18331" name="Google Shape;18331;p159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2" name="Google Shape;18332;p159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18333" name="Google Shape;18333;p1599"/>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304687369"/>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matchingName="1_Quotation 19">
  <p:cSld name="2_Quotation 19">
    <p:spTree>
      <p:nvGrpSpPr>
        <p:cNvPr id="1" name="Shape 18334"/>
        <p:cNvGrpSpPr/>
        <p:nvPr/>
      </p:nvGrpSpPr>
      <p:grpSpPr>
        <a:xfrm>
          <a:off x="0" y="0"/>
          <a:ext cx="0" cy="0"/>
          <a:chOff x="0" y="0"/>
          <a:chExt cx="0" cy="0"/>
        </a:xfrm>
      </p:grpSpPr>
      <p:sp>
        <p:nvSpPr>
          <p:cNvPr id="18335" name="Google Shape;18335;p16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36" name="Google Shape;18336;p16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37" name="Google Shape;18337;p1600"/>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38" name="Google Shape;18338;p160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39" name="Google Shape;18339;p16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40" name="Google Shape;18340;p160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41" name="Google Shape;18341;p1600"/>
          <p:cNvGrpSpPr/>
          <p:nvPr/>
        </p:nvGrpSpPr>
        <p:grpSpPr>
          <a:xfrm>
            <a:off x="7191545" y="0"/>
            <a:ext cx="5000460" cy="1425988"/>
            <a:chOff x="7191545" y="0"/>
            <a:chExt cx="5000460" cy="1425988"/>
          </a:xfrm>
        </p:grpSpPr>
        <p:pic>
          <p:nvPicPr>
            <p:cNvPr id="18342" name="Google Shape;18342;p16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43" name="Google Shape;18343;p1600"/>
            <p:cNvGrpSpPr/>
            <p:nvPr/>
          </p:nvGrpSpPr>
          <p:grpSpPr>
            <a:xfrm>
              <a:off x="7191545" y="0"/>
              <a:ext cx="5000460" cy="1425988"/>
              <a:chOff x="7191545" y="0"/>
              <a:chExt cx="5000460" cy="1425988"/>
            </a:xfrm>
          </p:grpSpPr>
          <p:sp>
            <p:nvSpPr>
              <p:cNvPr id="18344" name="Google Shape;18344;p16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45" name="Google Shape;18345;p16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46" name="Google Shape;18346;p1600"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434063690"/>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matchingName="1_Quotation 20">
  <p:cSld name="2_Quotation 20">
    <p:spTree>
      <p:nvGrpSpPr>
        <p:cNvPr id="1" name="Shape 18347"/>
        <p:cNvGrpSpPr/>
        <p:nvPr/>
      </p:nvGrpSpPr>
      <p:grpSpPr>
        <a:xfrm>
          <a:off x="0" y="0"/>
          <a:ext cx="0" cy="0"/>
          <a:chOff x="0" y="0"/>
          <a:chExt cx="0" cy="0"/>
        </a:xfrm>
      </p:grpSpPr>
      <p:sp>
        <p:nvSpPr>
          <p:cNvPr id="18348" name="Google Shape;18348;p160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349" name="Google Shape;18349;p16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50" name="Google Shape;18350;p1601"/>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51" name="Google Shape;18351;p1601"/>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52" name="Google Shape;18352;p16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53" name="Google Shape;18353;p1601"/>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54" name="Google Shape;18354;p1601"/>
          <p:cNvGrpSpPr/>
          <p:nvPr/>
        </p:nvGrpSpPr>
        <p:grpSpPr>
          <a:xfrm>
            <a:off x="7191545" y="0"/>
            <a:ext cx="5000460" cy="1425988"/>
            <a:chOff x="7191545" y="0"/>
            <a:chExt cx="5000460" cy="1425988"/>
          </a:xfrm>
        </p:grpSpPr>
        <p:pic>
          <p:nvPicPr>
            <p:cNvPr id="18355" name="Google Shape;18355;p16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56" name="Google Shape;18356;p1601"/>
            <p:cNvGrpSpPr/>
            <p:nvPr/>
          </p:nvGrpSpPr>
          <p:grpSpPr>
            <a:xfrm>
              <a:off x="7191545" y="0"/>
              <a:ext cx="5000460" cy="1425988"/>
              <a:chOff x="7191545" y="0"/>
              <a:chExt cx="5000460" cy="1425988"/>
            </a:xfrm>
          </p:grpSpPr>
          <p:sp>
            <p:nvSpPr>
              <p:cNvPr id="18357" name="Google Shape;18357;p16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58" name="Google Shape;18358;p16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359" name="Google Shape;18359;p1601"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574042203"/>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matchingName="1_Title and Content 15">
  <p:cSld name="2_Title and Content 15">
    <p:spTree>
      <p:nvGrpSpPr>
        <p:cNvPr id="1" name="Shape 18360"/>
        <p:cNvGrpSpPr/>
        <p:nvPr/>
      </p:nvGrpSpPr>
      <p:grpSpPr>
        <a:xfrm>
          <a:off x="0" y="0"/>
          <a:ext cx="0" cy="0"/>
          <a:chOff x="0" y="0"/>
          <a:chExt cx="0" cy="0"/>
        </a:xfrm>
      </p:grpSpPr>
      <p:grpSp>
        <p:nvGrpSpPr>
          <p:cNvPr id="18361" name="Google Shape;18361;p1602"/>
          <p:cNvGrpSpPr/>
          <p:nvPr/>
        </p:nvGrpSpPr>
        <p:grpSpPr>
          <a:xfrm>
            <a:off x="7191545" y="0"/>
            <a:ext cx="5000460" cy="1425988"/>
            <a:chOff x="7191545" y="0"/>
            <a:chExt cx="5000460" cy="1425988"/>
          </a:xfrm>
        </p:grpSpPr>
        <p:pic>
          <p:nvPicPr>
            <p:cNvPr id="18362" name="Google Shape;18362;p16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63" name="Google Shape;18363;p1602"/>
            <p:cNvGrpSpPr/>
            <p:nvPr/>
          </p:nvGrpSpPr>
          <p:grpSpPr>
            <a:xfrm>
              <a:off x="7191545" y="0"/>
              <a:ext cx="5000460" cy="1425988"/>
              <a:chOff x="7191545" y="0"/>
              <a:chExt cx="5000460" cy="1425988"/>
            </a:xfrm>
          </p:grpSpPr>
          <p:sp>
            <p:nvSpPr>
              <p:cNvPr id="18364" name="Google Shape;18364;p16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65" name="Google Shape;18365;p16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66" name="Google Shape;18366;p160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67" name="Google Shape;18367;p160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68" name="Google Shape;18368;p160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69" name="Google Shape;18369;p16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70" name="Google Shape;18370;p160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39909502"/>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matchingName="1_Two Content 13">
  <p:cSld name="2_Two Content 13">
    <p:spTree>
      <p:nvGrpSpPr>
        <p:cNvPr id="1" name="Shape 18371"/>
        <p:cNvGrpSpPr/>
        <p:nvPr/>
      </p:nvGrpSpPr>
      <p:grpSpPr>
        <a:xfrm>
          <a:off x="0" y="0"/>
          <a:ext cx="0" cy="0"/>
          <a:chOff x="0" y="0"/>
          <a:chExt cx="0" cy="0"/>
        </a:xfrm>
      </p:grpSpPr>
      <p:sp>
        <p:nvSpPr>
          <p:cNvPr id="18372" name="Google Shape;18372;p1603"/>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73" name="Google Shape;18373;p1603"/>
          <p:cNvSpPr txBox="1">
            <a:spLocks noGrp="1"/>
          </p:cNvSpPr>
          <p:nvPr>
            <p:ph type="body" idx="1"/>
          </p:nvPr>
        </p:nvSpPr>
        <p:spPr>
          <a:xfrm>
            <a:off x="609607"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grpSp>
        <p:nvGrpSpPr>
          <p:cNvPr id="18374" name="Google Shape;18374;p1603"/>
          <p:cNvGrpSpPr/>
          <p:nvPr/>
        </p:nvGrpSpPr>
        <p:grpSpPr>
          <a:xfrm>
            <a:off x="7191545" y="0"/>
            <a:ext cx="5000460" cy="1425988"/>
            <a:chOff x="7191545" y="0"/>
            <a:chExt cx="5000460" cy="1425988"/>
          </a:xfrm>
        </p:grpSpPr>
        <p:pic>
          <p:nvPicPr>
            <p:cNvPr id="18375" name="Google Shape;18375;p16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76" name="Google Shape;18376;p1603"/>
            <p:cNvGrpSpPr/>
            <p:nvPr/>
          </p:nvGrpSpPr>
          <p:grpSpPr>
            <a:xfrm>
              <a:off x="7191545" y="0"/>
              <a:ext cx="5000460" cy="1425988"/>
              <a:chOff x="7191545" y="0"/>
              <a:chExt cx="5000460" cy="1425988"/>
            </a:xfrm>
          </p:grpSpPr>
          <p:sp>
            <p:nvSpPr>
              <p:cNvPr id="18377" name="Google Shape;18377;p16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78" name="Google Shape;18378;p16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79" name="Google Shape;18379;p1603"/>
          <p:cNvSpPr txBox="1">
            <a:spLocks noGrp="1"/>
          </p:cNvSpPr>
          <p:nvPr>
            <p:ph type="body" idx="2"/>
          </p:nvPr>
        </p:nvSpPr>
        <p:spPr>
          <a:xfrm>
            <a:off x="6172204" y="1825627"/>
            <a:ext cx="5410203"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80" name="Google Shape;18380;p1603"/>
          <p:cNvSpPr txBox="1">
            <a:spLocks noGrp="1"/>
          </p:cNvSpPr>
          <p:nvPr>
            <p:ph type="sldNum" idx="12"/>
          </p:nvPr>
        </p:nvSpPr>
        <p:spPr>
          <a:xfrm>
            <a:off x="883919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81" name="Google Shape;18381;p16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82" name="Google Shape;18382;p1603"/>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9710818"/>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matchingName="1_Comparison 12">
  <p:cSld name="2_Comparison 12">
    <p:spTree>
      <p:nvGrpSpPr>
        <p:cNvPr id="1" name="Shape 18383"/>
        <p:cNvGrpSpPr/>
        <p:nvPr/>
      </p:nvGrpSpPr>
      <p:grpSpPr>
        <a:xfrm>
          <a:off x="0" y="0"/>
          <a:ext cx="0" cy="0"/>
          <a:chOff x="0" y="0"/>
          <a:chExt cx="0" cy="0"/>
        </a:xfrm>
      </p:grpSpPr>
      <p:grpSp>
        <p:nvGrpSpPr>
          <p:cNvPr id="18384" name="Google Shape;18384;p1604"/>
          <p:cNvGrpSpPr/>
          <p:nvPr/>
        </p:nvGrpSpPr>
        <p:grpSpPr>
          <a:xfrm>
            <a:off x="7191545" y="0"/>
            <a:ext cx="5000460" cy="1425988"/>
            <a:chOff x="7191545" y="0"/>
            <a:chExt cx="5000460" cy="1425988"/>
          </a:xfrm>
        </p:grpSpPr>
        <p:pic>
          <p:nvPicPr>
            <p:cNvPr id="18385" name="Google Shape;18385;p16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386" name="Google Shape;18386;p1604"/>
            <p:cNvGrpSpPr/>
            <p:nvPr/>
          </p:nvGrpSpPr>
          <p:grpSpPr>
            <a:xfrm>
              <a:off x="7191545" y="0"/>
              <a:ext cx="5000460" cy="1425988"/>
              <a:chOff x="7191545" y="0"/>
              <a:chExt cx="5000460" cy="1425988"/>
            </a:xfrm>
          </p:grpSpPr>
          <p:sp>
            <p:nvSpPr>
              <p:cNvPr id="18387" name="Google Shape;18387;p16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388" name="Google Shape;18388;p16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389" name="Google Shape;18389;p1604"/>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90" name="Google Shape;18390;p1604"/>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91" name="Google Shape;18391;p1604"/>
          <p:cNvSpPr txBox="1">
            <a:spLocks noGrp="1"/>
          </p:cNvSpPr>
          <p:nvPr>
            <p:ph type="body" idx="2"/>
          </p:nvPr>
        </p:nvSpPr>
        <p:spPr>
          <a:xfrm>
            <a:off x="609604" y="2505075"/>
            <a:ext cx="5387973" cy="3684583"/>
          </a:xfrm>
          <a:prstGeom prst="rect">
            <a:avLst/>
          </a:prstGeom>
          <a:solidFill>
            <a:srgbClr val="F3F6FB"/>
          </a:solidFill>
          <a:ln>
            <a:noFill/>
          </a:ln>
        </p:spPr>
        <p:txBody>
          <a:bodyPr spcFirstLastPara="1" wrap="square" lIns="182850" tIns="0" rIns="182850" bIns="0" anchor="t" anchorCtr="0">
            <a:norm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92" name="Google Shape;18392;p1604"/>
          <p:cNvSpPr txBox="1">
            <a:spLocks noGrp="1"/>
          </p:cNvSpPr>
          <p:nvPr>
            <p:ph type="body" idx="3"/>
          </p:nvPr>
        </p:nvSpPr>
        <p:spPr>
          <a:xfrm>
            <a:off x="6172204"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47" lvl="0" indent="-152424" algn="l">
              <a:lnSpc>
                <a:spcPct val="100000"/>
              </a:lnSpc>
              <a:spcBef>
                <a:spcPts val="1000"/>
              </a:spcBef>
              <a:spcAft>
                <a:spcPts val="0"/>
              </a:spcAft>
              <a:buSzPts val="2400"/>
              <a:buNone/>
              <a:defRPr u="sng"/>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93" name="Google Shape;18393;p1604"/>
          <p:cNvSpPr txBox="1">
            <a:spLocks noGrp="1"/>
          </p:cNvSpPr>
          <p:nvPr>
            <p:ph type="body" idx="4"/>
          </p:nvPr>
        </p:nvSpPr>
        <p:spPr>
          <a:xfrm>
            <a:off x="6172204" y="2505075"/>
            <a:ext cx="5410203" cy="3684583"/>
          </a:xfrm>
          <a:prstGeom prst="rect">
            <a:avLst/>
          </a:prstGeom>
          <a:solidFill>
            <a:srgbClr val="F3F6FB"/>
          </a:solidFill>
          <a:ln>
            <a:noFill/>
          </a:ln>
        </p:spPr>
        <p:txBody>
          <a:bodyPr spcFirstLastPara="1" wrap="square" lIns="182850" tIns="0" rIns="182850" bIns="0" anchor="t" anchorCtr="0">
            <a:noAutofit/>
          </a:bodyPr>
          <a:lstStyle>
            <a:lvl1pPr marL="304847" lvl="0" indent="-237103" algn="l">
              <a:lnSpc>
                <a:spcPct val="100000"/>
              </a:lnSpc>
              <a:spcBef>
                <a:spcPts val="1000"/>
              </a:spcBef>
              <a:spcAft>
                <a:spcPts val="0"/>
              </a:spcAft>
              <a:buSzPts val="2000"/>
              <a:buChar char="•"/>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394" name="Google Shape;18394;p1604"/>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395" name="Google Shape;18395;p16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396" name="Google Shape;18396;p1604"/>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633699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matchingName="1_End 13">
  <p:cSld name="2_End 13">
    <p:spTree>
      <p:nvGrpSpPr>
        <p:cNvPr id="1" name="Shape 18407"/>
        <p:cNvGrpSpPr/>
        <p:nvPr/>
      </p:nvGrpSpPr>
      <p:grpSpPr>
        <a:xfrm>
          <a:off x="0" y="0"/>
          <a:ext cx="0" cy="0"/>
          <a:chOff x="0" y="0"/>
          <a:chExt cx="0" cy="0"/>
        </a:xfrm>
      </p:grpSpPr>
      <p:grpSp>
        <p:nvGrpSpPr>
          <p:cNvPr id="18408" name="Google Shape;18408;p1606"/>
          <p:cNvGrpSpPr/>
          <p:nvPr/>
        </p:nvGrpSpPr>
        <p:grpSpPr>
          <a:xfrm>
            <a:off x="0" y="0"/>
            <a:ext cx="12191996" cy="2148830"/>
            <a:chOff x="0" y="0"/>
            <a:chExt cx="12191996" cy="2148830"/>
          </a:xfrm>
        </p:grpSpPr>
        <p:sp>
          <p:nvSpPr>
            <p:cNvPr id="18409" name="Google Shape;18409;p160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10" name="Google Shape;18410;p160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18411" name="Google Shape;18411;p1606"/>
          <p:cNvSpPr/>
          <p:nvPr/>
        </p:nvSpPr>
        <p:spPr>
          <a:xfrm>
            <a:off x="902366" y="1517697"/>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12" name="Google Shape;18412;p1606"/>
          <p:cNvSpPr txBox="1">
            <a:spLocks noGrp="1"/>
          </p:cNvSpPr>
          <p:nvPr>
            <p:ph type="body" idx="1"/>
          </p:nvPr>
        </p:nvSpPr>
        <p:spPr>
          <a:xfrm>
            <a:off x="1219197" y="3429004"/>
            <a:ext cx="5582649" cy="141356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sz="2000"/>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413" name="Google Shape;18413;p160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414" name="Google Shape;18414;p160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67176482"/>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matchingName="Title Slide 2">
  <p:cSld name="4_Title Slide 2">
    <p:spTree>
      <p:nvGrpSpPr>
        <p:cNvPr id="1" name="Shape 18424"/>
        <p:cNvGrpSpPr/>
        <p:nvPr/>
      </p:nvGrpSpPr>
      <p:grpSpPr>
        <a:xfrm>
          <a:off x="0" y="0"/>
          <a:ext cx="0" cy="0"/>
          <a:chOff x="0" y="0"/>
          <a:chExt cx="0" cy="0"/>
        </a:xfrm>
      </p:grpSpPr>
      <p:sp>
        <p:nvSpPr>
          <p:cNvPr id="18425" name="Google Shape;18425;p1608"/>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26" name="Google Shape;18426;p1608"/>
          <p:cNvSpPr/>
          <p:nvPr/>
        </p:nvSpPr>
        <p:spPr>
          <a:xfrm>
            <a:off x="4" y="5100856"/>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7" name="Google Shape;18427;p1608"/>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18428" name="Google Shape;18428;p1608"/>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18429" name="Google Shape;18429;p1608"/>
          <p:cNvPicPr preferRelativeResize="0"/>
          <p:nvPr/>
        </p:nvPicPr>
        <p:blipFill rotWithShape="1">
          <a:blip r:embed="rId3">
            <a:alphaModFix/>
          </a:blip>
          <a:srcRect/>
          <a:stretch/>
        </p:blipFill>
        <p:spPr>
          <a:xfrm>
            <a:off x="313960" y="5564128"/>
            <a:ext cx="2025386" cy="911355"/>
          </a:xfrm>
          <a:prstGeom prst="rect">
            <a:avLst/>
          </a:prstGeom>
          <a:noFill/>
          <a:ln>
            <a:noFill/>
          </a:ln>
        </p:spPr>
      </p:pic>
      <p:sp>
        <p:nvSpPr>
          <p:cNvPr id="18430" name="Google Shape;18430;p1608"/>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31" name="Google Shape;18431;p1608"/>
          <p:cNvSpPr txBox="1">
            <a:spLocks noGrp="1"/>
          </p:cNvSpPr>
          <p:nvPr>
            <p:ph type="title"/>
          </p:nvPr>
        </p:nvSpPr>
        <p:spPr>
          <a:xfrm>
            <a:off x="471697" y="365448"/>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2" name="Google Shape;18432;p1608"/>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433" name="Google Shape;18433;p1608"/>
          <p:cNvSpPr txBox="1">
            <a:spLocks noGrp="1"/>
          </p:cNvSpPr>
          <p:nvPr>
            <p:ph type="ftr" idx="11"/>
          </p:nvPr>
        </p:nvSpPr>
        <p:spPr>
          <a:xfrm>
            <a:off x="609603" y="6356355"/>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4" name="Google Shape;18434;p160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8435" name="Google Shape;18435;p1608"/>
          <p:cNvSpPr txBox="1">
            <a:spLocks noGrp="1"/>
          </p:cNvSpPr>
          <p:nvPr>
            <p:ph type="sldNum" idx="12"/>
          </p:nvPr>
        </p:nvSpPr>
        <p:spPr>
          <a:xfrm>
            <a:off x="8839203" y="6356355"/>
            <a:ext cx="2743200" cy="365129"/>
          </a:xfrm>
          <a:prstGeom prst="rect">
            <a:avLst/>
          </a:prstGeom>
          <a:noFill/>
          <a:ln>
            <a:noFill/>
          </a:ln>
        </p:spPr>
        <p:txBody>
          <a:bodyPr spcFirstLastPara="1" wrap="square" lIns="0" tIns="0" rIns="0" bIns="0" anchor="ctr" anchorCtr="0">
            <a:noAutofit/>
          </a:bodyPr>
          <a:lstStyle>
            <a:lvl1pPr marL="38111"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11"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11"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11"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11"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11"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11"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11"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11"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96686661"/>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matchingName="2_Quotation 3">
  <p:cSld name="6_Quotation 3">
    <p:spTree>
      <p:nvGrpSpPr>
        <p:cNvPr id="1" name="Shape 18436"/>
        <p:cNvGrpSpPr/>
        <p:nvPr/>
      </p:nvGrpSpPr>
      <p:grpSpPr>
        <a:xfrm>
          <a:off x="0" y="0"/>
          <a:ext cx="0" cy="0"/>
          <a:chOff x="0" y="0"/>
          <a:chExt cx="0" cy="0"/>
        </a:xfrm>
      </p:grpSpPr>
      <p:sp>
        <p:nvSpPr>
          <p:cNvPr id="18437" name="Google Shape;18437;p160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38" name="Google Shape;18438;p16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9" name="Google Shape;18439;p1609"/>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440" name="Google Shape;18440;p1609"/>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41" name="Google Shape;18441;p16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42" name="Google Shape;18442;p1609"/>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43" name="Google Shape;18443;p1609"/>
          <p:cNvGrpSpPr/>
          <p:nvPr/>
        </p:nvGrpSpPr>
        <p:grpSpPr>
          <a:xfrm>
            <a:off x="7191545" y="0"/>
            <a:ext cx="5000460" cy="1425988"/>
            <a:chOff x="7191545" y="0"/>
            <a:chExt cx="5000460" cy="1425988"/>
          </a:xfrm>
        </p:grpSpPr>
        <p:pic>
          <p:nvPicPr>
            <p:cNvPr id="18444" name="Google Shape;18444;p16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45" name="Google Shape;18445;p1609"/>
            <p:cNvGrpSpPr/>
            <p:nvPr/>
          </p:nvGrpSpPr>
          <p:grpSpPr>
            <a:xfrm>
              <a:off x="7191545" y="0"/>
              <a:ext cx="5000460" cy="1425988"/>
              <a:chOff x="7191545" y="0"/>
              <a:chExt cx="5000460" cy="1425988"/>
            </a:xfrm>
          </p:grpSpPr>
          <p:sp>
            <p:nvSpPr>
              <p:cNvPr id="18446" name="Google Shape;18446;p16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47" name="Google Shape;18447;p16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48" name="Google Shape;18448;p1609"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3854812443"/>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matchingName="5_Quotation 3">
  <p:cSld name="6_Quotation 3">
    <p:spTree>
      <p:nvGrpSpPr>
        <p:cNvPr id="1" name="Shape 18449"/>
        <p:cNvGrpSpPr/>
        <p:nvPr/>
      </p:nvGrpSpPr>
      <p:grpSpPr>
        <a:xfrm>
          <a:off x="0" y="0"/>
          <a:ext cx="0" cy="0"/>
          <a:chOff x="0" y="0"/>
          <a:chExt cx="0" cy="0"/>
        </a:xfrm>
      </p:grpSpPr>
      <p:sp>
        <p:nvSpPr>
          <p:cNvPr id="18450" name="Google Shape;18450;p161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18451" name="Google Shape;18451;p16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52" name="Google Shape;18452;p1610"/>
          <p:cNvSpPr txBox="1">
            <a:spLocks noGrp="1"/>
          </p:cNvSpPr>
          <p:nvPr>
            <p:ph type="body" idx="1"/>
          </p:nvPr>
        </p:nvSpPr>
        <p:spPr>
          <a:xfrm>
            <a:off x="1427360" y="5007459"/>
            <a:ext cx="10155042" cy="825191"/>
          </a:xfrm>
          <a:prstGeom prst="rect">
            <a:avLst/>
          </a:prstGeom>
          <a:noFill/>
          <a:ln>
            <a:noFill/>
          </a:ln>
        </p:spPr>
        <p:txBody>
          <a:bodyPr spcFirstLastPara="1" wrap="square" lIns="91400" tIns="45700" rIns="91400"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453" name="Google Shape;18453;p1610"/>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54" name="Google Shape;18454;p16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55" name="Google Shape;18455;p1610"/>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456" name="Google Shape;18456;p1610"/>
          <p:cNvGrpSpPr/>
          <p:nvPr/>
        </p:nvGrpSpPr>
        <p:grpSpPr>
          <a:xfrm>
            <a:off x="7191545" y="0"/>
            <a:ext cx="5000460" cy="1425988"/>
            <a:chOff x="7191545" y="0"/>
            <a:chExt cx="5000460" cy="1425988"/>
          </a:xfrm>
        </p:grpSpPr>
        <p:pic>
          <p:nvPicPr>
            <p:cNvPr id="18457" name="Google Shape;18457;p16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58" name="Google Shape;18458;p1610"/>
            <p:cNvGrpSpPr/>
            <p:nvPr/>
          </p:nvGrpSpPr>
          <p:grpSpPr>
            <a:xfrm>
              <a:off x="7191545" y="0"/>
              <a:ext cx="5000460" cy="1425988"/>
              <a:chOff x="7191545" y="0"/>
              <a:chExt cx="5000460" cy="1425988"/>
            </a:xfrm>
          </p:grpSpPr>
          <p:sp>
            <p:nvSpPr>
              <p:cNvPr id="18459" name="Google Shape;18459;p16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60" name="Google Shape;18460;p16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18461" name="Google Shape;18461;p1610" descr="Open quotation mark with solid fill"/>
          <p:cNvPicPr preferRelativeResize="0"/>
          <p:nvPr/>
        </p:nvPicPr>
        <p:blipFill rotWithShape="1">
          <a:blip r:embed="rId3">
            <a:alphaModFix/>
          </a:blip>
          <a:srcRect/>
          <a:stretch/>
        </p:blipFill>
        <p:spPr>
          <a:xfrm>
            <a:off x="111515" y="136530"/>
            <a:ext cx="2036761" cy="2036761"/>
          </a:xfrm>
          <a:prstGeom prst="rect">
            <a:avLst/>
          </a:prstGeom>
          <a:noFill/>
          <a:ln>
            <a:noFill/>
          </a:ln>
        </p:spPr>
      </p:pic>
    </p:spTree>
    <p:extLst>
      <p:ext uri="{BB962C8B-B14F-4D97-AF65-F5344CB8AC3E}">
        <p14:creationId xmlns:p14="http://schemas.microsoft.com/office/powerpoint/2010/main" val="1324888257"/>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matchingName="2_Title and Content">
  <p:cSld name="3_Title and Content">
    <p:spTree>
      <p:nvGrpSpPr>
        <p:cNvPr id="1" name="Shape 18480"/>
        <p:cNvGrpSpPr/>
        <p:nvPr/>
      </p:nvGrpSpPr>
      <p:grpSpPr>
        <a:xfrm>
          <a:off x="0" y="0"/>
          <a:ext cx="0" cy="0"/>
          <a:chOff x="0" y="0"/>
          <a:chExt cx="0" cy="0"/>
        </a:xfrm>
      </p:grpSpPr>
      <p:grpSp>
        <p:nvGrpSpPr>
          <p:cNvPr id="18481" name="Google Shape;18481;p1612"/>
          <p:cNvGrpSpPr/>
          <p:nvPr/>
        </p:nvGrpSpPr>
        <p:grpSpPr>
          <a:xfrm>
            <a:off x="7191545" y="0"/>
            <a:ext cx="5000460" cy="1425988"/>
            <a:chOff x="7191545" y="0"/>
            <a:chExt cx="5000460" cy="1425988"/>
          </a:xfrm>
        </p:grpSpPr>
        <p:pic>
          <p:nvPicPr>
            <p:cNvPr id="18482" name="Google Shape;18482;p1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18483" name="Google Shape;18483;p1612"/>
            <p:cNvGrpSpPr/>
            <p:nvPr/>
          </p:nvGrpSpPr>
          <p:grpSpPr>
            <a:xfrm>
              <a:off x="7191545" y="0"/>
              <a:ext cx="5000460" cy="1425988"/>
              <a:chOff x="7191545" y="0"/>
              <a:chExt cx="5000460" cy="1425988"/>
            </a:xfrm>
          </p:grpSpPr>
          <p:sp>
            <p:nvSpPr>
              <p:cNvPr id="18484" name="Google Shape;18484;p1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18485" name="Google Shape;18485;p1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18486" name="Google Shape;18486;p1612"/>
          <p:cNvSpPr txBox="1">
            <a:spLocks noGrp="1"/>
          </p:cNvSpPr>
          <p:nvPr>
            <p:ph type="title"/>
          </p:nvPr>
        </p:nvSpPr>
        <p:spPr>
          <a:xfrm>
            <a:off x="609603" y="365133"/>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87" name="Google Shape;18487;p161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47" lvl="0" indent="-228635" algn="l">
              <a:lnSpc>
                <a:spcPct val="100000"/>
              </a:lnSpc>
              <a:spcBef>
                <a:spcPts val="1000"/>
              </a:spcBef>
              <a:spcAft>
                <a:spcPts val="0"/>
              </a:spcAft>
              <a:buSzPts val="1800"/>
              <a:buChar char="•"/>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sp>
        <p:nvSpPr>
          <p:cNvPr id="18488" name="Google Shape;18488;p1612"/>
          <p:cNvSpPr txBox="1">
            <a:spLocks noGrp="1"/>
          </p:cNvSpPr>
          <p:nvPr>
            <p:ph type="sldNum" idx="12"/>
          </p:nvPr>
        </p:nvSpPr>
        <p:spPr>
          <a:xfrm>
            <a:off x="8839203" y="6356355"/>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18489" name="Google Shape;18489;p1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18490" name="Google Shape;18490;p1612"/>
          <p:cNvSpPr txBox="1">
            <a:spLocks noGrp="1"/>
          </p:cNvSpPr>
          <p:nvPr>
            <p:ph type="ftr" idx="11"/>
          </p:nvPr>
        </p:nvSpPr>
        <p:spPr>
          <a:xfrm>
            <a:off x="609603" y="6356355"/>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45834206"/>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matchingName="24_Photo Slide">
  <p:cSld name="25_Photo Slide">
    <p:spTree>
      <p:nvGrpSpPr>
        <p:cNvPr id="1" name="Shape 18491"/>
        <p:cNvGrpSpPr/>
        <p:nvPr/>
      </p:nvGrpSpPr>
      <p:grpSpPr>
        <a:xfrm>
          <a:off x="0" y="0"/>
          <a:ext cx="0" cy="0"/>
          <a:chOff x="0" y="0"/>
          <a:chExt cx="0" cy="0"/>
        </a:xfrm>
      </p:grpSpPr>
      <p:sp>
        <p:nvSpPr>
          <p:cNvPr id="18492" name="Google Shape;18492;p1613"/>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304847" lvl="0" indent="-152424" algn="l">
              <a:lnSpc>
                <a:spcPct val="100000"/>
              </a:lnSpc>
              <a:spcBef>
                <a:spcPts val="1000"/>
              </a:spcBef>
              <a:spcAft>
                <a:spcPts val="0"/>
              </a:spcAft>
              <a:buSzPts val="2400"/>
              <a:buNone/>
              <a:defRPr/>
            </a:lvl1pPr>
            <a:lvl2pPr marL="609690" lvl="1" indent="-228635" algn="l">
              <a:lnSpc>
                <a:spcPct val="90000"/>
              </a:lnSpc>
              <a:spcBef>
                <a:spcPts val="500"/>
              </a:spcBef>
              <a:spcAft>
                <a:spcPts val="0"/>
              </a:spcAft>
              <a:buClr>
                <a:srgbClr val="000000"/>
              </a:buClr>
              <a:buSzPts val="1800"/>
              <a:buChar char="•"/>
              <a:defRPr/>
            </a:lvl2pPr>
            <a:lvl3pPr marL="914538" lvl="2" indent="-228635" algn="l">
              <a:lnSpc>
                <a:spcPct val="90000"/>
              </a:lnSpc>
              <a:spcBef>
                <a:spcPts val="500"/>
              </a:spcBef>
              <a:spcAft>
                <a:spcPts val="0"/>
              </a:spcAft>
              <a:buClr>
                <a:srgbClr val="000000"/>
              </a:buClr>
              <a:buSzPts val="1800"/>
              <a:buChar char="•"/>
              <a:defRPr/>
            </a:lvl3pPr>
            <a:lvl4pPr marL="1219383" lvl="3" indent="-228635" algn="l">
              <a:lnSpc>
                <a:spcPct val="90000"/>
              </a:lnSpc>
              <a:spcBef>
                <a:spcPts val="500"/>
              </a:spcBef>
              <a:spcAft>
                <a:spcPts val="0"/>
              </a:spcAft>
              <a:buClr>
                <a:srgbClr val="000000"/>
              </a:buClr>
              <a:buSzPts val="1800"/>
              <a:buChar char="•"/>
              <a:defRPr/>
            </a:lvl4pPr>
            <a:lvl5pPr marL="1524228" lvl="4" indent="-228635" algn="l">
              <a:lnSpc>
                <a:spcPct val="90000"/>
              </a:lnSpc>
              <a:spcBef>
                <a:spcPts val="500"/>
              </a:spcBef>
              <a:spcAft>
                <a:spcPts val="0"/>
              </a:spcAft>
              <a:buClr>
                <a:srgbClr val="000000"/>
              </a:buClr>
              <a:buSzPts val="1800"/>
              <a:buChar char="•"/>
              <a:defRPr/>
            </a:lvl5pPr>
            <a:lvl6pPr marL="1829075" lvl="5" indent="-228635" algn="l">
              <a:lnSpc>
                <a:spcPct val="90000"/>
              </a:lnSpc>
              <a:spcBef>
                <a:spcPts val="500"/>
              </a:spcBef>
              <a:spcAft>
                <a:spcPts val="0"/>
              </a:spcAft>
              <a:buClr>
                <a:schemeClr val="dk1"/>
              </a:buClr>
              <a:buSzPts val="1800"/>
              <a:buChar char="•"/>
              <a:defRPr/>
            </a:lvl6pPr>
            <a:lvl7pPr marL="2133921" lvl="6" indent="-228635" algn="l">
              <a:lnSpc>
                <a:spcPct val="90000"/>
              </a:lnSpc>
              <a:spcBef>
                <a:spcPts val="500"/>
              </a:spcBef>
              <a:spcAft>
                <a:spcPts val="0"/>
              </a:spcAft>
              <a:buClr>
                <a:schemeClr val="dk1"/>
              </a:buClr>
              <a:buSzPts val="1800"/>
              <a:buChar char="•"/>
              <a:defRPr/>
            </a:lvl7pPr>
            <a:lvl8pPr marL="2438766" lvl="7" indent="-228635" algn="l">
              <a:lnSpc>
                <a:spcPct val="90000"/>
              </a:lnSpc>
              <a:spcBef>
                <a:spcPts val="500"/>
              </a:spcBef>
              <a:spcAft>
                <a:spcPts val="0"/>
              </a:spcAft>
              <a:buClr>
                <a:schemeClr val="dk1"/>
              </a:buClr>
              <a:buSzPts val="1800"/>
              <a:buChar char="•"/>
              <a:defRPr/>
            </a:lvl8pPr>
            <a:lvl9pPr marL="2743613" lvl="8" indent="-228635" algn="l">
              <a:lnSpc>
                <a:spcPct val="90000"/>
              </a:lnSpc>
              <a:spcBef>
                <a:spcPts val="500"/>
              </a:spcBef>
              <a:spcAft>
                <a:spcPts val="0"/>
              </a:spcAft>
              <a:buClr>
                <a:schemeClr val="dk1"/>
              </a:buClr>
              <a:buSzPts val="1800"/>
              <a:buChar char="•"/>
              <a:defRPr/>
            </a:lvl9pPr>
          </a:lstStyle>
          <a:p>
            <a:endParaRPr/>
          </a:p>
        </p:txBody>
      </p:sp>
      <p:cxnSp>
        <p:nvCxnSpPr>
          <p:cNvPr id="18493" name="Google Shape;18493;p1613"/>
          <p:cNvCxnSpPr/>
          <p:nvPr/>
        </p:nvCxnSpPr>
        <p:spPr>
          <a:xfrm>
            <a:off x="457204"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18494" name="Google Shape;18494;p1613"/>
          <p:cNvGrpSpPr/>
          <p:nvPr/>
        </p:nvGrpSpPr>
        <p:grpSpPr>
          <a:xfrm>
            <a:off x="4" y="5379428"/>
            <a:ext cx="2807363" cy="753895"/>
            <a:chOff x="0" y="5379424"/>
            <a:chExt cx="2807363" cy="753895"/>
          </a:xfrm>
        </p:grpSpPr>
        <p:sp>
          <p:nvSpPr>
            <p:cNvPr id="18495" name="Google Shape;18495;p161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sp>
          <p:nvSpPr>
            <p:cNvPr id="18496" name="Google Shape;18496;p161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grpSp>
      <p:sp>
        <p:nvSpPr>
          <p:cNvPr id="18497" name="Google Shape;18497;p1613"/>
          <p:cNvSpPr>
            <a:spLocks noGrp="1"/>
          </p:cNvSpPr>
          <p:nvPr>
            <p:ph type="pic" idx="2"/>
          </p:nvPr>
        </p:nvSpPr>
        <p:spPr>
          <a:xfrm>
            <a:off x="2807363" y="457200"/>
            <a:ext cx="8915400" cy="5943600"/>
          </a:xfrm>
          <a:prstGeom prst="rect">
            <a:avLst/>
          </a:prstGeom>
          <a:noFill/>
          <a:ln>
            <a:noFill/>
          </a:ln>
        </p:spPr>
      </p:sp>
      <p:pic>
        <p:nvPicPr>
          <p:cNvPr id="18498" name="Google Shape;18498;p1613"/>
          <p:cNvPicPr preferRelativeResize="0"/>
          <p:nvPr/>
        </p:nvPicPr>
        <p:blipFill rotWithShape="1">
          <a:blip r:embed="rId2">
            <a:alphaModFix/>
          </a:blip>
          <a:srcRect/>
          <a:stretch/>
        </p:blipFill>
        <p:spPr>
          <a:xfrm>
            <a:off x="513348" y="4385535"/>
            <a:ext cx="2025313" cy="911940"/>
          </a:xfrm>
          <a:prstGeom prst="rect">
            <a:avLst/>
          </a:prstGeom>
          <a:noFill/>
          <a:ln>
            <a:noFill/>
          </a:ln>
        </p:spPr>
      </p:pic>
    </p:spTree>
    <p:extLst>
      <p:ext uri="{BB962C8B-B14F-4D97-AF65-F5344CB8AC3E}">
        <p14:creationId xmlns:p14="http://schemas.microsoft.com/office/powerpoint/2010/main" val="3997893837"/>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2910"/>
        <p:cNvGrpSpPr/>
        <p:nvPr/>
      </p:nvGrpSpPr>
      <p:grpSpPr>
        <a:xfrm>
          <a:off x="0" y="0"/>
          <a:ext cx="0" cy="0"/>
          <a:chOff x="0" y="0"/>
          <a:chExt cx="0" cy="0"/>
        </a:xfrm>
      </p:grpSpPr>
      <p:grpSp>
        <p:nvGrpSpPr>
          <p:cNvPr id="2911" name="Google Shape;2911;p54"/>
          <p:cNvGrpSpPr/>
          <p:nvPr/>
        </p:nvGrpSpPr>
        <p:grpSpPr>
          <a:xfrm>
            <a:off x="0" y="5020349"/>
            <a:ext cx="12191996" cy="1837651"/>
            <a:chOff x="0" y="5020348"/>
            <a:chExt cx="12191996" cy="1837651"/>
          </a:xfrm>
        </p:grpSpPr>
        <p:sp>
          <p:nvSpPr>
            <p:cNvPr id="2912" name="Google Shape;2912;p54"/>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2913" name="Google Shape;2913;p5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2914" name="Google Shape;2914;p5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2915" name="Google Shape;2915;p5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916" name="Google Shape;2916;p54"/>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17" name="Google Shape;2917;p54"/>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68745950"/>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927"/>
        <p:cNvGrpSpPr/>
        <p:nvPr/>
      </p:nvGrpSpPr>
      <p:grpSpPr>
        <a:xfrm>
          <a:off x="0" y="0"/>
          <a:ext cx="0" cy="0"/>
          <a:chOff x="0" y="0"/>
          <a:chExt cx="0" cy="0"/>
        </a:xfrm>
      </p:grpSpPr>
      <p:sp>
        <p:nvSpPr>
          <p:cNvPr id="2928" name="Google Shape;2928;p42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929" name="Google Shape;2929;p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930" name="Google Shape;2930;p42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31" name="Google Shape;2931;p426"/>
          <p:cNvGrpSpPr/>
          <p:nvPr/>
        </p:nvGrpSpPr>
        <p:grpSpPr>
          <a:xfrm>
            <a:off x="7191545" y="0"/>
            <a:ext cx="5000460" cy="1425988"/>
            <a:chOff x="7191545" y="0"/>
            <a:chExt cx="5000460" cy="1425988"/>
          </a:xfrm>
        </p:grpSpPr>
        <p:pic>
          <p:nvPicPr>
            <p:cNvPr id="2932" name="Google Shape;2932;p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933" name="Google Shape;2933;p426"/>
            <p:cNvGrpSpPr/>
            <p:nvPr/>
          </p:nvGrpSpPr>
          <p:grpSpPr>
            <a:xfrm>
              <a:off x="7191545" y="0"/>
              <a:ext cx="5000460" cy="1425988"/>
              <a:chOff x="7191545" y="0"/>
              <a:chExt cx="5000460" cy="1425988"/>
            </a:xfrm>
          </p:grpSpPr>
          <p:sp>
            <p:nvSpPr>
              <p:cNvPr id="2934" name="Google Shape;2934;p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2935" name="Google Shape;2935;p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07387361"/>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matchingName="1_Photo Slide">
  <p:cSld name="1_Photo Slide">
    <p:spTree>
      <p:nvGrpSpPr>
        <p:cNvPr id="1" name="Shape 2936"/>
        <p:cNvGrpSpPr/>
        <p:nvPr/>
      </p:nvGrpSpPr>
      <p:grpSpPr>
        <a:xfrm>
          <a:off x="0" y="0"/>
          <a:ext cx="0" cy="0"/>
          <a:chOff x="0" y="0"/>
          <a:chExt cx="0" cy="0"/>
        </a:xfrm>
      </p:grpSpPr>
      <p:sp>
        <p:nvSpPr>
          <p:cNvPr id="2937" name="Google Shape;2937;p265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b="0">
                <a:solidFill>
                  <a:schemeClr val="dk1"/>
                </a:solidFill>
              </a:defRPr>
            </a:lvl1pPr>
            <a:lvl2pPr marL="609630" lvl="1" indent="-304815" algn="l">
              <a:lnSpc>
                <a:spcPct val="90000"/>
              </a:lnSpc>
              <a:spcBef>
                <a:spcPts val="500"/>
              </a:spcBef>
              <a:spcAft>
                <a:spcPts val="0"/>
              </a:spcAft>
              <a:buSzPts val="3600"/>
              <a:buChar char="•"/>
              <a:defRPr/>
            </a:lvl2pPr>
            <a:lvl3pPr marL="914446" lvl="2" indent="-279414" algn="l">
              <a:lnSpc>
                <a:spcPct val="90000"/>
              </a:lnSpc>
              <a:spcBef>
                <a:spcPts val="500"/>
              </a:spcBef>
              <a:spcAft>
                <a:spcPts val="0"/>
              </a:spcAft>
              <a:buSzPts val="3000"/>
              <a:buChar char="•"/>
              <a:defRPr/>
            </a:lvl3pPr>
            <a:lvl4pPr marL="1219261" lvl="3" indent="-266713" algn="l">
              <a:lnSpc>
                <a:spcPct val="90000"/>
              </a:lnSpc>
              <a:spcBef>
                <a:spcPts val="500"/>
              </a:spcBef>
              <a:spcAft>
                <a:spcPts val="0"/>
              </a:spcAft>
              <a:buSzPts val="2700"/>
              <a:buChar char="•"/>
              <a:defRPr/>
            </a:lvl4pPr>
            <a:lvl5pPr marL="1524076" lvl="4" indent="-266713" algn="l">
              <a:lnSpc>
                <a:spcPct val="90000"/>
              </a:lnSpc>
              <a:spcBef>
                <a:spcPts val="500"/>
              </a:spcBef>
              <a:spcAft>
                <a:spcPts val="0"/>
              </a:spcAft>
              <a:buSzPts val="2700"/>
              <a:buChar char="•"/>
              <a:defRPr/>
            </a:lvl5pPr>
            <a:lvl6pPr marL="1828891" lvl="5" indent="-266713" algn="l">
              <a:lnSpc>
                <a:spcPct val="90000"/>
              </a:lnSpc>
              <a:spcBef>
                <a:spcPts val="500"/>
              </a:spcBef>
              <a:spcAft>
                <a:spcPts val="0"/>
              </a:spcAft>
              <a:buSzPts val="2700"/>
              <a:buChar char="•"/>
              <a:defRPr/>
            </a:lvl6pPr>
            <a:lvl7pPr marL="2133707" lvl="6" indent="-266713" algn="l">
              <a:lnSpc>
                <a:spcPct val="90000"/>
              </a:lnSpc>
              <a:spcBef>
                <a:spcPts val="500"/>
              </a:spcBef>
              <a:spcAft>
                <a:spcPts val="0"/>
              </a:spcAft>
              <a:buSzPts val="2700"/>
              <a:buChar char="•"/>
              <a:defRPr/>
            </a:lvl7pPr>
            <a:lvl8pPr marL="2438522" lvl="7" indent="-266713" algn="l">
              <a:lnSpc>
                <a:spcPct val="90000"/>
              </a:lnSpc>
              <a:spcBef>
                <a:spcPts val="500"/>
              </a:spcBef>
              <a:spcAft>
                <a:spcPts val="0"/>
              </a:spcAft>
              <a:buSzPts val="2700"/>
              <a:buChar char="•"/>
              <a:defRPr/>
            </a:lvl8pPr>
            <a:lvl9pPr marL="2743337" lvl="8" indent="-266713" algn="l">
              <a:lnSpc>
                <a:spcPct val="90000"/>
              </a:lnSpc>
              <a:spcBef>
                <a:spcPts val="500"/>
              </a:spcBef>
              <a:spcAft>
                <a:spcPts val="0"/>
              </a:spcAft>
              <a:buSzPts val="2700"/>
              <a:buChar char="•"/>
              <a:defRPr/>
            </a:lvl9pPr>
          </a:lstStyle>
          <a:p>
            <a:endParaRPr/>
          </a:p>
        </p:txBody>
      </p:sp>
      <p:cxnSp>
        <p:nvCxnSpPr>
          <p:cNvPr id="2938" name="Google Shape;2938;p2655"/>
          <p:cNvCxnSpPr/>
          <p:nvPr/>
        </p:nvCxnSpPr>
        <p:spPr>
          <a:xfrm>
            <a:off x="457200" y="947987"/>
            <a:ext cx="2350168" cy="0"/>
          </a:xfrm>
          <a:prstGeom prst="straightConnector1">
            <a:avLst/>
          </a:prstGeom>
          <a:noFill/>
          <a:ln w="31750" cap="flat" cmpd="sng">
            <a:solidFill>
              <a:schemeClr val="accent3"/>
            </a:solidFill>
            <a:prstDash val="solid"/>
            <a:round/>
            <a:headEnd type="none" w="sm" len="sm"/>
            <a:tailEnd type="none" w="sm" len="sm"/>
          </a:ln>
        </p:spPr>
      </p:cxnSp>
      <p:grpSp>
        <p:nvGrpSpPr>
          <p:cNvPr id="2939" name="Google Shape;2939;p2655"/>
          <p:cNvGrpSpPr/>
          <p:nvPr/>
        </p:nvGrpSpPr>
        <p:grpSpPr>
          <a:xfrm>
            <a:off x="0" y="5379427"/>
            <a:ext cx="2807368" cy="753891"/>
            <a:chOff x="0" y="5379426"/>
            <a:chExt cx="2807368" cy="753891"/>
          </a:xfrm>
        </p:grpSpPr>
        <p:sp>
          <p:nvSpPr>
            <p:cNvPr id="2940" name="Google Shape;2940;p26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7B7B7B"/>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941" name="Google Shape;2941;p26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2942" name="Google Shape;2942;p2655"/>
          <p:cNvSpPr>
            <a:spLocks noGrp="1"/>
          </p:cNvSpPr>
          <p:nvPr>
            <p:ph type="pic" idx="2"/>
          </p:nvPr>
        </p:nvSpPr>
        <p:spPr>
          <a:xfrm>
            <a:off x="2807368" y="457202"/>
            <a:ext cx="8915400" cy="5943598"/>
          </a:xfrm>
          <a:prstGeom prst="rect">
            <a:avLst/>
          </a:prstGeom>
          <a:noFill/>
          <a:ln>
            <a:noFill/>
          </a:ln>
        </p:spPr>
      </p:sp>
      <p:pic>
        <p:nvPicPr>
          <p:cNvPr id="2943" name="Google Shape;2943;p265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248999585"/>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matchingName="1_Title and Content 5">
  <p:cSld name="1_Title and Content 5">
    <p:spTree>
      <p:nvGrpSpPr>
        <p:cNvPr id="1" name="Shape 2944"/>
        <p:cNvGrpSpPr/>
        <p:nvPr/>
      </p:nvGrpSpPr>
      <p:grpSpPr>
        <a:xfrm>
          <a:off x="0" y="0"/>
          <a:ext cx="0" cy="0"/>
          <a:chOff x="0" y="0"/>
          <a:chExt cx="0" cy="0"/>
        </a:xfrm>
      </p:grpSpPr>
      <p:grpSp>
        <p:nvGrpSpPr>
          <p:cNvPr id="2945" name="Google Shape;2945;p63"/>
          <p:cNvGrpSpPr/>
          <p:nvPr/>
        </p:nvGrpSpPr>
        <p:grpSpPr>
          <a:xfrm>
            <a:off x="7191545" y="0"/>
            <a:ext cx="5000460" cy="1425988"/>
            <a:chOff x="7191545" y="0"/>
            <a:chExt cx="5000460" cy="1425988"/>
          </a:xfrm>
        </p:grpSpPr>
        <p:pic>
          <p:nvPicPr>
            <p:cNvPr id="2946" name="Google Shape;2946;p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947" name="Google Shape;2947;p63"/>
            <p:cNvGrpSpPr/>
            <p:nvPr/>
          </p:nvGrpSpPr>
          <p:grpSpPr>
            <a:xfrm>
              <a:off x="7191545" y="0"/>
              <a:ext cx="5000460" cy="1425988"/>
              <a:chOff x="7191545" y="0"/>
              <a:chExt cx="5000460" cy="1425988"/>
            </a:xfrm>
          </p:grpSpPr>
          <p:sp>
            <p:nvSpPr>
              <p:cNvPr id="2948" name="Google Shape;2948;p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2949" name="Google Shape;2949;p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2950" name="Google Shape;2950;p6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51" name="Google Shape;2951;p6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52" name="Google Shape;2952;p6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953" name="Google Shape;2953;p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954" name="Google Shape;2954;p6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998921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matchingName="Title and Content 2">
  <p:cSld name="Title and Content 2">
    <p:spTree>
      <p:nvGrpSpPr>
        <p:cNvPr id="1" name="Shape 2955"/>
        <p:cNvGrpSpPr/>
        <p:nvPr/>
      </p:nvGrpSpPr>
      <p:grpSpPr>
        <a:xfrm>
          <a:off x="0" y="0"/>
          <a:ext cx="0" cy="0"/>
          <a:chOff x="0" y="0"/>
          <a:chExt cx="0" cy="0"/>
        </a:xfrm>
      </p:grpSpPr>
      <p:grpSp>
        <p:nvGrpSpPr>
          <p:cNvPr id="2956" name="Google Shape;2956;p409"/>
          <p:cNvGrpSpPr/>
          <p:nvPr/>
        </p:nvGrpSpPr>
        <p:grpSpPr>
          <a:xfrm>
            <a:off x="7191545" y="0"/>
            <a:ext cx="5000460" cy="1425988"/>
            <a:chOff x="7191545" y="0"/>
            <a:chExt cx="5000460" cy="1425988"/>
          </a:xfrm>
        </p:grpSpPr>
        <p:pic>
          <p:nvPicPr>
            <p:cNvPr id="2957" name="Google Shape;2957;p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958" name="Google Shape;2958;p409"/>
            <p:cNvGrpSpPr/>
            <p:nvPr/>
          </p:nvGrpSpPr>
          <p:grpSpPr>
            <a:xfrm>
              <a:off x="7191545" y="0"/>
              <a:ext cx="5000460" cy="1425988"/>
              <a:chOff x="7191545" y="0"/>
              <a:chExt cx="5000460" cy="1425988"/>
            </a:xfrm>
          </p:grpSpPr>
          <p:sp>
            <p:nvSpPr>
              <p:cNvPr id="2959" name="Google Shape;2959;p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2960" name="Google Shape;2960;p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2961" name="Google Shape;2961;p409"/>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62" name="Google Shape;2962;p40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63" name="Google Shape;2963;p40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964" name="Google Shape;2964;p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965" name="Google Shape;2965;p40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85147774"/>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matchingName="1_OBJECT">
  <p:cSld name="1_OBJECT">
    <p:spTree>
      <p:nvGrpSpPr>
        <p:cNvPr id="1" name="Shape 2977"/>
        <p:cNvGrpSpPr/>
        <p:nvPr/>
      </p:nvGrpSpPr>
      <p:grpSpPr>
        <a:xfrm>
          <a:off x="0" y="0"/>
          <a:ext cx="0" cy="0"/>
          <a:chOff x="0" y="0"/>
          <a:chExt cx="0" cy="0"/>
        </a:xfrm>
      </p:grpSpPr>
      <p:grpSp>
        <p:nvGrpSpPr>
          <p:cNvPr id="2978" name="Google Shape;2978;p406"/>
          <p:cNvGrpSpPr/>
          <p:nvPr/>
        </p:nvGrpSpPr>
        <p:grpSpPr>
          <a:xfrm>
            <a:off x="7191545" y="0"/>
            <a:ext cx="5000460" cy="1425988"/>
            <a:chOff x="7191545" y="0"/>
            <a:chExt cx="5000460" cy="1425988"/>
          </a:xfrm>
        </p:grpSpPr>
        <p:pic>
          <p:nvPicPr>
            <p:cNvPr id="2979" name="Google Shape;2979;p40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980" name="Google Shape;2980;p406"/>
            <p:cNvGrpSpPr/>
            <p:nvPr/>
          </p:nvGrpSpPr>
          <p:grpSpPr>
            <a:xfrm>
              <a:off x="7191545" y="0"/>
              <a:ext cx="5000460" cy="1425988"/>
              <a:chOff x="7191545" y="0"/>
              <a:chExt cx="5000460" cy="1425988"/>
            </a:xfrm>
          </p:grpSpPr>
          <p:sp>
            <p:nvSpPr>
              <p:cNvPr id="2981" name="Google Shape;2981;p40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2982" name="Google Shape;2982;p40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2983" name="Google Shape;2983;p40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84" name="Google Shape;2984;p40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2985" name="Google Shape;2985;p40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986" name="Google Shape;2986;p40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987" name="Google Shape;2987;p40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83596419"/>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988"/>
        <p:cNvGrpSpPr/>
        <p:nvPr/>
      </p:nvGrpSpPr>
      <p:grpSpPr>
        <a:xfrm>
          <a:off x="0" y="0"/>
          <a:ext cx="0" cy="0"/>
          <a:chOff x="0" y="0"/>
          <a:chExt cx="0" cy="0"/>
        </a:xfrm>
      </p:grpSpPr>
      <p:sp>
        <p:nvSpPr>
          <p:cNvPr id="2989" name="Google Shape;2989;p407"/>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2990" name="Google Shape;2990;p40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1" name="Google Shape;2991;p40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992" name="Google Shape;2992;p407"/>
          <p:cNvGrpSpPr/>
          <p:nvPr/>
        </p:nvGrpSpPr>
        <p:grpSpPr>
          <a:xfrm>
            <a:off x="0" y="5020349"/>
            <a:ext cx="12191996" cy="1837651"/>
            <a:chOff x="0" y="5020348"/>
            <a:chExt cx="12191996" cy="1837651"/>
          </a:xfrm>
        </p:grpSpPr>
        <p:sp>
          <p:nvSpPr>
            <p:cNvPr id="2993" name="Google Shape;2993;p4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2994" name="Google Shape;2994;p4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2995" name="Google Shape;2995;p4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80614779"/>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matchingName="TWO_OBJECTS" type="twoObj">
  <p:cSld name="TWO_OBJECTS">
    <p:spTree>
      <p:nvGrpSpPr>
        <p:cNvPr id="1" name="Shape 2996"/>
        <p:cNvGrpSpPr/>
        <p:nvPr/>
      </p:nvGrpSpPr>
      <p:grpSpPr>
        <a:xfrm>
          <a:off x="0" y="0"/>
          <a:ext cx="0" cy="0"/>
          <a:chOff x="0" y="0"/>
          <a:chExt cx="0" cy="0"/>
        </a:xfrm>
      </p:grpSpPr>
      <p:sp>
        <p:nvSpPr>
          <p:cNvPr id="2997" name="Google Shape;2997;p408"/>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8" name="Google Shape;2998;p408"/>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2999" name="Google Shape;2999;p408"/>
          <p:cNvGrpSpPr/>
          <p:nvPr/>
        </p:nvGrpSpPr>
        <p:grpSpPr>
          <a:xfrm>
            <a:off x="7191545" y="0"/>
            <a:ext cx="5000460" cy="1425988"/>
            <a:chOff x="7191545" y="0"/>
            <a:chExt cx="5000460" cy="1425988"/>
          </a:xfrm>
        </p:grpSpPr>
        <p:pic>
          <p:nvPicPr>
            <p:cNvPr id="3000" name="Google Shape;3000;p40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001" name="Google Shape;3001;p408"/>
            <p:cNvGrpSpPr/>
            <p:nvPr/>
          </p:nvGrpSpPr>
          <p:grpSpPr>
            <a:xfrm>
              <a:off x="7191545" y="0"/>
              <a:ext cx="5000460" cy="1425988"/>
              <a:chOff x="7191545" y="0"/>
              <a:chExt cx="5000460" cy="1425988"/>
            </a:xfrm>
          </p:grpSpPr>
          <p:sp>
            <p:nvSpPr>
              <p:cNvPr id="3002" name="Google Shape;3002;p40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003" name="Google Shape;3003;p40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004" name="Google Shape;3004;p408"/>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05" name="Google Shape;3005;p408"/>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006" name="Google Shape;3006;p40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007" name="Google Shape;3007;p40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0352206"/>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008"/>
        <p:cNvGrpSpPr/>
        <p:nvPr/>
      </p:nvGrpSpPr>
      <p:grpSpPr>
        <a:xfrm>
          <a:off x="0" y="0"/>
          <a:ext cx="0" cy="0"/>
          <a:chOff x="0" y="0"/>
          <a:chExt cx="0" cy="0"/>
        </a:xfrm>
      </p:grpSpPr>
      <p:sp>
        <p:nvSpPr>
          <p:cNvPr id="3009" name="Google Shape;3009;p410"/>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10" name="Google Shape;3010;p410"/>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011" name="Google Shape;3011;p410"/>
          <p:cNvGrpSpPr/>
          <p:nvPr/>
        </p:nvGrpSpPr>
        <p:grpSpPr>
          <a:xfrm>
            <a:off x="7191545" y="0"/>
            <a:ext cx="5000460" cy="1425988"/>
            <a:chOff x="7191545" y="0"/>
            <a:chExt cx="5000460" cy="1425988"/>
          </a:xfrm>
        </p:grpSpPr>
        <p:pic>
          <p:nvPicPr>
            <p:cNvPr id="3012" name="Google Shape;3012;p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013" name="Google Shape;3013;p410"/>
            <p:cNvGrpSpPr/>
            <p:nvPr/>
          </p:nvGrpSpPr>
          <p:grpSpPr>
            <a:xfrm>
              <a:off x="7191545" y="0"/>
              <a:ext cx="5000460" cy="1425988"/>
              <a:chOff x="7191545" y="0"/>
              <a:chExt cx="5000460" cy="1425988"/>
            </a:xfrm>
          </p:grpSpPr>
          <p:sp>
            <p:nvSpPr>
              <p:cNvPr id="3014" name="Google Shape;3014;p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015" name="Google Shape;3015;p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016" name="Google Shape;3016;p410"/>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17" name="Google Shape;3017;p410"/>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018" name="Google Shape;3018;p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019" name="Google Shape;3019;p41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54867672"/>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matchingName="Title and Content 3">
  <p:cSld name="Title and Content 3">
    <p:spTree>
      <p:nvGrpSpPr>
        <p:cNvPr id="1" name="Shape 3020"/>
        <p:cNvGrpSpPr/>
        <p:nvPr/>
      </p:nvGrpSpPr>
      <p:grpSpPr>
        <a:xfrm>
          <a:off x="0" y="0"/>
          <a:ext cx="0" cy="0"/>
          <a:chOff x="0" y="0"/>
          <a:chExt cx="0" cy="0"/>
        </a:xfrm>
      </p:grpSpPr>
      <p:grpSp>
        <p:nvGrpSpPr>
          <p:cNvPr id="3021" name="Google Shape;3021;p411"/>
          <p:cNvGrpSpPr/>
          <p:nvPr/>
        </p:nvGrpSpPr>
        <p:grpSpPr>
          <a:xfrm>
            <a:off x="7191545" y="0"/>
            <a:ext cx="5000460" cy="1425988"/>
            <a:chOff x="7191545" y="0"/>
            <a:chExt cx="5000460" cy="1425988"/>
          </a:xfrm>
        </p:grpSpPr>
        <p:pic>
          <p:nvPicPr>
            <p:cNvPr id="3022" name="Google Shape;3022;p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023" name="Google Shape;3023;p411"/>
            <p:cNvGrpSpPr/>
            <p:nvPr/>
          </p:nvGrpSpPr>
          <p:grpSpPr>
            <a:xfrm>
              <a:off x="7191545" y="0"/>
              <a:ext cx="5000460" cy="1425988"/>
              <a:chOff x="7191545" y="0"/>
              <a:chExt cx="5000460" cy="1425988"/>
            </a:xfrm>
          </p:grpSpPr>
          <p:sp>
            <p:nvSpPr>
              <p:cNvPr id="3024" name="Google Shape;3024;p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025" name="Google Shape;3025;p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026" name="Google Shape;3026;p41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27" name="Google Shape;3027;p41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28" name="Google Shape;3028;p41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029" name="Google Shape;3029;p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030" name="Google Shape;3030;p41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76013499"/>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3031"/>
        <p:cNvGrpSpPr/>
        <p:nvPr/>
      </p:nvGrpSpPr>
      <p:grpSpPr>
        <a:xfrm>
          <a:off x="0" y="0"/>
          <a:ext cx="0" cy="0"/>
          <a:chOff x="0" y="0"/>
          <a:chExt cx="0" cy="0"/>
        </a:xfrm>
      </p:grpSpPr>
      <p:sp>
        <p:nvSpPr>
          <p:cNvPr id="3032" name="Google Shape;3032;p413"/>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033" name="Google Shape;3033;p413"/>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034" name="Google Shape;3034;p413"/>
          <p:cNvGrpSpPr/>
          <p:nvPr/>
        </p:nvGrpSpPr>
        <p:grpSpPr>
          <a:xfrm>
            <a:off x="1" y="5379425"/>
            <a:ext cx="2807363" cy="753895"/>
            <a:chOff x="0" y="5379424"/>
            <a:chExt cx="2807363" cy="753895"/>
          </a:xfrm>
        </p:grpSpPr>
        <p:sp>
          <p:nvSpPr>
            <p:cNvPr id="3035" name="Google Shape;3035;p41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36" name="Google Shape;3036;p41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037" name="Google Shape;3037;p413"/>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3609005488"/>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matchingName="Title and Content 5">
  <p:cSld name="Title and Content 5">
    <p:spTree>
      <p:nvGrpSpPr>
        <p:cNvPr id="1" name="Shape 3038"/>
        <p:cNvGrpSpPr/>
        <p:nvPr/>
      </p:nvGrpSpPr>
      <p:grpSpPr>
        <a:xfrm>
          <a:off x="0" y="0"/>
          <a:ext cx="0" cy="0"/>
          <a:chOff x="0" y="0"/>
          <a:chExt cx="0" cy="0"/>
        </a:xfrm>
      </p:grpSpPr>
      <p:grpSp>
        <p:nvGrpSpPr>
          <p:cNvPr id="3039" name="Google Shape;3039;p414"/>
          <p:cNvGrpSpPr/>
          <p:nvPr/>
        </p:nvGrpSpPr>
        <p:grpSpPr>
          <a:xfrm>
            <a:off x="7191545" y="0"/>
            <a:ext cx="5000460" cy="1425988"/>
            <a:chOff x="7191545" y="0"/>
            <a:chExt cx="5000460" cy="1425988"/>
          </a:xfrm>
        </p:grpSpPr>
        <p:pic>
          <p:nvPicPr>
            <p:cNvPr id="3040" name="Google Shape;3040;p41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041" name="Google Shape;3041;p414"/>
            <p:cNvGrpSpPr/>
            <p:nvPr/>
          </p:nvGrpSpPr>
          <p:grpSpPr>
            <a:xfrm>
              <a:off x="7191545" y="0"/>
              <a:ext cx="5000460" cy="1425988"/>
              <a:chOff x="7191545" y="0"/>
              <a:chExt cx="5000460" cy="1425988"/>
            </a:xfrm>
          </p:grpSpPr>
          <p:sp>
            <p:nvSpPr>
              <p:cNvPr id="3042" name="Google Shape;3042;p41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043" name="Google Shape;3043;p41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044" name="Google Shape;3044;p41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5" name="Google Shape;3045;p41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46" name="Google Shape;3046;p41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047" name="Google Shape;3047;p41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048" name="Google Shape;3048;p41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50419411"/>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matchingName="Divider 2">
  <p:cSld name="Divider 2">
    <p:spTree>
      <p:nvGrpSpPr>
        <p:cNvPr id="1" name="Shape 3049"/>
        <p:cNvGrpSpPr/>
        <p:nvPr/>
      </p:nvGrpSpPr>
      <p:grpSpPr>
        <a:xfrm>
          <a:off x="0" y="0"/>
          <a:ext cx="0" cy="0"/>
          <a:chOff x="0" y="0"/>
          <a:chExt cx="0" cy="0"/>
        </a:xfrm>
      </p:grpSpPr>
      <p:grpSp>
        <p:nvGrpSpPr>
          <p:cNvPr id="3050" name="Google Shape;3050;p415"/>
          <p:cNvGrpSpPr/>
          <p:nvPr/>
        </p:nvGrpSpPr>
        <p:grpSpPr>
          <a:xfrm>
            <a:off x="0" y="5020349"/>
            <a:ext cx="12191996" cy="1837651"/>
            <a:chOff x="0" y="5020348"/>
            <a:chExt cx="12191996" cy="1837651"/>
          </a:xfrm>
        </p:grpSpPr>
        <p:sp>
          <p:nvSpPr>
            <p:cNvPr id="3051" name="Google Shape;3051;p41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52" name="Google Shape;3052;p41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53" name="Google Shape;3053;p41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054" name="Google Shape;3054;p41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055" name="Google Shape;3055;p415"/>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56" name="Google Shape;3056;p41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05936587"/>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matchingName="Title and Content 7">
  <p:cSld name="Title and Content 7">
    <p:spTree>
      <p:nvGrpSpPr>
        <p:cNvPr id="1" name="Shape 3057"/>
        <p:cNvGrpSpPr/>
        <p:nvPr/>
      </p:nvGrpSpPr>
      <p:grpSpPr>
        <a:xfrm>
          <a:off x="0" y="0"/>
          <a:ext cx="0" cy="0"/>
          <a:chOff x="0" y="0"/>
          <a:chExt cx="0" cy="0"/>
        </a:xfrm>
      </p:grpSpPr>
      <p:grpSp>
        <p:nvGrpSpPr>
          <p:cNvPr id="3058" name="Google Shape;3058;p416"/>
          <p:cNvGrpSpPr/>
          <p:nvPr/>
        </p:nvGrpSpPr>
        <p:grpSpPr>
          <a:xfrm>
            <a:off x="7191545" y="0"/>
            <a:ext cx="5000460" cy="1425988"/>
            <a:chOff x="7191545" y="0"/>
            <a:chExt cx="5000460" cy="1425988"/>
          </a:xfrm>
        </p:grpSpPr>
        <p:pic>
          <p:nvPicPr>
            <p:cNvPr id="3059" name="Google Shape;3059;p4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060" name="Google Shape;3060;p416"/>
            <p:cNvGrpSpPr/>
            <p:nvPr/>
          </p:nvGrpSpPr>
          <p:grpSpPr>
            <a:xfrm>
              <a:off x="7191545" y="0"/>
              <a:ext cx="5000460" cy="1425988"/>
              <a:chOff x="7191545" y="0"/>
              <a:chExt cx="5000460" cy="1425988"/>
            </a:xfrm>
          </p:grpSpPr>
          <p:sp>
            <p:nvSpPr>
              <p:cNvPr id="3061" name="Google Shape;3061;p4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062" name="Google Shape;3062;p4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063" name="Google Shape;3063;p41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4" name="Google Shape;3064;p41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65" name="Google Shape;3065;p41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066" name="Google Shape;3066;p4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067" name="Google Shape;3067;p41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0789371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matchingName="Cover 2">
  <p:cSld name="Cover 2">
    <p:spTree>
      <p:nvGrpSpPr>
        <p:cNvPr id="1" name="Shape 3068"/>
        <p:cNvGrpSpPr/>
        <p:nvPr/>
      </p:nvGrpSpPr>
      <p:grpSpPr>
        <a:xfrm>
          <a:off x="0" y="0"/>
          <a:ext cx="0" cy="0"/>
          <a:chOff x="0" y="0"/>
          <a:chExt cx="0" cy="0"/>
        </a:xfrm>
      </p:grpSpPr>
      <p:sp>
        <p:nvSpPr>
          <p:cNvPr id="3069" name="Google Shape;3069;p417"/>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70" name="Google Shape;3070;p4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1" name="Google Shape;3071;p4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072" name="Google Shape;3072;p417"/>
          <p:cNvGrpSpPr/>
          <p:nvPr/>
        </p:nvGrpSpPr>
        <p:grpSpPr>
          <a:xfrm>
            <a:off x="0" y="5020349"/>
            <a:ext cx="12191996" cy="1837651"/>
            <a:chOff x="0" y="5020348"/>
            <a:chExt cx="12191996" cy="1837651"/>
          </a:xfrm>
        </p:grpSpPr>
        <p:sp>
          <p:nvSpPr>
            <p:cNvPr id="3073" name="Google Shape;3073;p4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74" name="Google Shape;3074;p4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075" name="Google Shape;3075;p4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445955322"/>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matchingName="Divider 3">
  <p:cSld name="Divider 3">
    <p:spTree>
      <p:nvGrpSpPr>
        <p:cNvPr id="1" name="Shape 3076"/>
        <p:cNvGrpSpPr/>
        <p:nvPr/>
      </p:nvGrpSpPr>
      <p:grpSpPr>
        <a:xfrm>
          <a:off x="0" y="0"/>
          <a:ext cx="0" cy="0"/>
          <a:chOff x="0" y="0"/>
          <a:chExt cx="0" cy="0"/>
        </a:xfrm>
      </p:grpSpPr>
      <p:grpSp>
        <p:nvGrpSpPr>
          <p:cNvPr id="3077" name="Google Shape;3077;p418"/>
          <p:cNvGrpSpPr/>
          <p:nvPr/>
        </p:nvGrpSpPr>
        <p:grpSpPr>
          <a:xfrm>
            <a:off x="0" y="5020349"/>
            <a:ext cx="12191996" cy="1837651"/>
            <a:chOff x="0" y="5020348"/>
            <a:chExt cx="12191996" cy="1837651"/>
          </a:xfrm>
        </p:grpSpPr>
        <p:sp>
          <p:nvSpPr>
            <p:cNvPr id="3078" name="Google Shape;3078;p4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79" name="Google Shape;3079;p4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80" name="Google Shape;3080;p4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081" name="Google Shape;3081;p4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082" name="Google Shape;3082;p418"/>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3" name="Google Shape;3083;p4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85680375"/>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matchingName="Photo Slide 2">
  <p:cSld name="Photo Slide 2">
    <p:spTree>
      <p:nvGrpSpPr>
        <p:cNvPr id="1" name="Shape 3084"/>
        <p:cNvGrpSpPr/>
        <p:nvPr/>
      </p:nvGrpSpPr>
      <p:grpSpPr>
        <a:xfrm>
          <a:off x="0" y="0"/>
          <a:ext cx="0" cy="0"/>
          <a:chOff x="0" y="0"/>
          <a:chExt cx="0" cy="0"/>
        </a:xfrm>
      </p:grpSpPr>
      <p:sp>
        <p:nvSpPr>
          <p:cNvPr id="3085" name="Google Shape;3085;p4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086" name="Google Shape;3086;p419"/>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087" name="Google Shape;3087;p419"/>
          <p:cNvGrpSpPr/>
          <p:nvPr/>
        </p:nvGrpSpPr>
        <p:grpSpPr>
          <a:xfrm>
            <a:off x="1" y="5379425"/>
            <a:ext cx="2807363" cy="753895"/>
            <a:chOff x="0" y="5379424"/>
            <a:chExt cx="2807363" cy="753895"/>
          </a:xfrm>
        </p:grpSpPr>
        <p:sp>
          <p:nvSpPr>
            <p:cNvPr id="3088" name="Google Shape;3088;p4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89" name="Google Shape;3089;p4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090" name="Google Shape;3090;p419"/>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3313128555"/>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3091"/>
        <p:cNvGrpSpPr/>
        <p:nvPr/>
      </p:nvGrpSpPr>
      <p:grpSpPr>
        <a:xfrm>
          <a:off x="0" y="0"/>
          <a:ext cx="0" cy="0"/>
          <a:chOff x="0" y="0"/>
          <a:chExt cx="0" cy="0"/>
        </a:xfrm>
      </p:grpSpPr>
      <p:sp>
        <p:nvSpPr>
          <p:cNvPr id="3092" name="Google Shape;3092;p42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093" name="Google Shape;3093;p4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4" name="Google Shape;3094;p42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095" name="Google Shape;3095;p42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096" name="Google Shape;3096;p4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097" name="Google Shape;3097;p42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98" name="Google Shape;3098;p420"/>
          <p:cNvGrpSpPr/>
          <p:nvPr/>
        </p:nvGrpSpPr>
        <p:grpSpPr>
          <a:xfrm>
            <a:off x="7191545" y="0"/>
            <a:ext cx="5000460" cy="1425988"/>
            <a:chOff x="7191545" y="0"/>
            <a:chExt cx="5000460" cy="1425988"/>
          </a:xfrm>
        </p:grpSpPr>
        <p:pic>
          <p:nvPicPr>
            <p:cNvPr id="3099" name="Google Shape;3099;p4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100" name="Google Shape;3100;p420"/>
            <p:cNvGrpSpPr/>
            <p:nvPr/>
          </p:nvGrpSpPr>
          <p:grpSpPr>
            <a:xfrm>
              <a:off x="7191545" y="0"/>
              <a:ext cx="5000460" cy="1425988"/>
              <a:chOff x="7191545" y="0"/>
              <a:chExt cx="5000460" cy="1425988"/>
            </a:xfrm>
          </p:grpSpPr>
          <p:sp>
            <p:nvSpPr>
              <p:cNvPr id="3101" name="Google Shape;3101;p4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02" name="Google Shape;3102;p4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103" name="Google Shape;3103;p42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101811701"/>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matchingName="Title and Content 8">
  <p:cSld name="Title and Content 8">
    <p:spTree>
      <p:nvGrpSpPr>
        <p:cNvPr id="1" name="Shape 3104"/>
        <p:cNvGrpSpPr/>
        <p:nvPr/>
      </p:nvGrpSpPr>
      <p:grpSpPr>
        <a:xfrm>
          <a:off x="0" y="0"/>
          <a:ext cx="0" cy="0"/>
          <a:chOff x="0" y="0"/>
          <a:chExt cx="0" cy="0"/>
        </a:xfrm>
      </p:grpSpPr>
      <p:grpSp>
        <p:nvGrpSpPr>
          <p:cNvPr id="3105" name="Google Shape;3105;p421"/>
          <p:cNvGrpSpPr/>
          <p:nvPr/>
        </p:nvGrpSpPr>
        <p:grpSpPr>
          <a:xfrm>
            <a:off x="7191545" y="0"/>
            <a:ext cx="5000460" cy="1425988"/>
            <a:chOff x="7191545" y="0"/>
            <a:chExt cx="5000460" cy="1425988"/>
          </a:xfrm>
        </p:grpSpPr>
        <p:pic>
          <p:nvPicPr>
            <p:cNvPr id="3106" name="Google Shape;3106;p4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107" name="Google Shape;3107;p421"/>
            <p:cNvGrpSpPr/>
            <p:nvPr/>
          </p:nvGrpSpPr>
          <p:grpSpPr>
            <a:xfrm>
              <a:off x="7191545" y="0"/>
              <a:ext cx="5000460" cy="1425988"/>
              <a:chOff x="7191545" y="0"/>
              <a:chExt cx="5000460" cy="1425988"/>
            </a:xfrm>
          </p:grpSpPr>
          <p:sp>
            <p:nvSpPr>
              <p:cNvPr id="3108" name="Google Shape;3108;p4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09" name="Google Shape;3109;p4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110" name="Google Shape;3110;p42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11" name="Google Shape;3111;p42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12" name="Google Shape;3112;p42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113" name="Google Shape;3113;p4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114" name="Google Shape;3114;p42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79436025"/>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matchingName="Two Content 2">
  <p:cSld name="Two Content 2">
    <p:spTree>
      <p:nvGrpSpPr>
        <p:cNvPr id="1" name="Shape 3115"/>
        <p:cNvGrpSpPr/>
        <p:nvPr/>
      </p:nvGrpSpPr>
      <p:grpSpPr>
        <a:xfrm>
          <a:off x="0" y="0"/>
          <a:ext cx="0" cy="0"/>
          <a:chOff x="0" y="0"/>
          <a:chExt cx="0" cy="0"/>
        </a:xfrm>
      </p:grpSpPr>
      <p:sp>
        <p:nvSpPr>
          <p:cNvPr id="3116" name="Google Shape;3116;p42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17" name="Google Shape;3117;p422"/>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118" name="Google Shape;3118;p422"/>
          <p:cNvGrpSpPr/>
          <p:nvPr/>
        </p:nvGrpSpPr>
        <p:grpSpPr>
          <a:xfrm>
            <a:off x="7191545" y="0"/>
            <a:ext cx="5000460" cy="1425988"/>
            <a:chOff x="7191545" y="0"/>
            <a:chExt cx="5000460" cy="1425988"/>
          </a:xfrm>
        </p:grpSpPr>
        <p:pic>
          <p:nvPicPr>
            <p:cNvPr id="3119" name="Google Shape;3119;p4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120" name="Google Shape;3120;p422"/>
            <p:cNvGrpSpPr/>
            <p:nvPr/>
          </p:nvGrpSpPr>
          <p:grpSpPr>
            <a:xfrm>
              <a:off x="7191545" y="0"/>
              <a:ext cx="5000460" cy="1425988"/>
              <a:chOff x="7191545" y="0"/>
              <a:chExt cx="5000460" cy="1425988"/>
            </a:xfrm>
          </p:grpSpPr>
          <p:sp>
            <p:nvSpPr>
              <p:cNvPr id="3121" name="Google Shape;3121;p4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22" name="Google Shape;3122;p4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123" name="Google Shape;3123;p422"/>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24" name="Google Shape;3124;p422"/>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125" name="Google Shape;3125;p4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126" name="Google Shape;3126;p42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24656544"/>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matchingName="TWO_OBJECTS_WITH_TEXT" type="twoTxTwoObj">
  <p:cSld name="TWO_OBJECTS_WITH_TEXT">
    <p:spTree>
      <p:nvGrpSpPr>
        <p:cNvPr id="1" name="Shape 3127"/>
        <p:cNvGrpSpPr/>
        <p:nvPr/>
      </p:nvGrpSpPr>
      <p:grpSpPr>
        <a:xfrm>
          <a:off x="0" y="0"/>
          <a:ext cx="0" cy="0"/>
          <a:chOff x="0" y="0"/>
          <a:chExt cx="0" cy="0"/>
        </a:xfrm>
      </p:grpSpPr>
      <p:grpSp>
        <p:nvGrpSpPr>
          <p:cNvPr id="3128" name="Google Shape;3128;p423"/>
          <p:cNvGrpSpPr/>
          <p:nvPr/>
        </p:nvGrpSpPr>
        <p:grpSpPr>
          <a:xfrm>
            <a:off x="7191545" y="0"/>
            <a:ext cx="5000460" cy="1425988"/>
            <a:chOff x="7191545" y="0"/>
            <a:chExt cx="5000460" cy="1425988"/>
          </a:xfrm>
        </p:grpSpPr>
        <p:pic>
          <p:nvPicPr>
            <p:cNvPr id="3129" name="Google Shape;3129;p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130" name="Google Shape;3130;p423"/>
            <p:cNvGrpSpPr/>
            <p:nvPr/>
          </p:nvGrpSpPr>
          <p:grpSpPr>
            <a:xfrm>
              <a:off x="7191545" y="0"/>
              <a:ext cx="5000460" cy="1425988"/>
              <a:chOff x="7191545" y="0"/>
              <a:chExt cx="5000460" cy="1425988"/>
            </a:xfrm>
          </p:grpSpPr>
          <p:sp>
            <p:nvSpPr>
              <p:cNvPr id="3131" name="Google Shape;3131;p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32" name="Google Shape;3132;p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133" name="Google Shape;3133;p42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34" name="Google Shape;3134;p42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35" name="Google Shape;3135;p423"/>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36" name="Google Shape;3136;p423"/>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37" name="Google Shape;3137;p423"/>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38" name="Google Shape;3138;p42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139" name="Google Shape;3139;p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140" name="Google Shape;3140;p42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69056952"/>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matchingName="TITLE_ONLY" type="titleOnly">
  <p:cSld name="TITLE_ONLY">
    <p:spTree>
      <p:nvGrpSpPr>
        <p:cNvPr id="1" name="Shape 3141"/>
        <p:cNvGrpSpPr/>
        <p:nvPr/>
      </p:nvGrpSpPr>
      <p:grpSpPr>
        <a:xfrm>
          <a:off x="0" y="0"/>
          <a:ext cx="0" cy="0"/>
          <a:chOff x="0" y="0"/>
          <a:chExt cx="0" cy="0"/>
        </a:xfrm>
      </p:grpSpPr>
      <p:grpSp>
        <p:nvGrpSpPr>
          <p:cNvPr id="3142" name="Google Shape;3142;p424"/>
          <p:cNvGrpSpPr/>
          <p:nvPr/>
        </p:nvGrpSpPr>
        <p:grpSpPr>
          <a:xfrm>
            <a:off x="7191545" y="0"/>
            <a:ext cx="5000460" cy="1425988"/>
            <a:chOff x="7191545" y="0"/>
            <a:chExt cx="5000460" cy="1425988"/>
          </a:xfrm>
        </p:grpSpPr>
        <p:pic>
          <p:nvPicPr>
            <p:cNvPr id="3143" name="Google Shape;3143;p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144" name="Google Shape;3144;p424"/>
            <p:cNvGrpSpPr/>
            <p:nvPr/>
          </p:nvGrpSpPr>
          <p:grpSpPr>
            <a:xfrm>
              <a:off x="7191545" y="0"/>
              <a:ext cx="5000460" cy="1425988"/>
              <a:chOff x="7191545" y="0"/>
              <a:chExt cx="5000460" cy="1425988"/>
            </a:xfrm>
          </p:grpSpPr>
          <p:sp>
            <p:nvSpPr>
              <p:cNvPr id="3145" name="Google Shape;3145;p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46" name="Google Shape;3146;p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147" name="Google Shape;3147;p42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48" name="Google Shape;3148;p42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149" name="Google Shape;3149;p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150" name="Google Shape;3150;p42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0849677"/>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3151"/>
        <p:cNvGrpSpPr/>
        <p:nvPr/>
      </p:nvGrpSpPr>
      <p:grpSpPr>
        <a:xfrm>
          <a:off x="0" y="0"/>
          <a:ext cx="0" cy="0"/>
          <a:chOff x="0" y="0"/>
          <a:chExt cx="0" cy="0"/>
        </a:xfrm>
      </p:grpSpPr>
      <p:grpSp>
        <p:nvGrpSpPr>
          <p:cNvPr id="3152" name="Google Shape;3152;p425"/>
          <p:cNvGrpSpPr/>
          <p:nvPr/>
        </p:nvGrpSpPr>
        <p:grpSpPr>
          <a:xfrm>
            <a:off x="0" y="0"/>
            <a:ext cx="12191996" cy="2148830"/>
            <a:chOff x="0" y="0"/>
            <a:chExt cx="12191996" cy="2148830"/>
          </a:xfrm>
        </p:grpSpPr>
        <p:sp>
          <p:nvSpPr>
            <p:cNvPr id="3153" name="Google Shape;3153;p4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54" name="Google Shape;3154;p4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155" name="Google Shape;3155;p425"/>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56" name="Google Shape;3156;p425"/>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57" name="Google Shape;3157;p42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158" name="Google Shape;3158;p4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774689279"/>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matchingName="Quotation 2">
  <p:cSld name="Quotation 2">
    <p:spTree>
      <p:nvGrpSpPr>
        <p:cNvPr id="1" name="Shape 3159"/>
        <p:cNvGrpSpPr/>
        <p:nvPr/>
      </p:nvGrpSpPr>
      <p:grpSpPr>
        <a:xfrm>
          <a:off x="0" y="0"/>
          <a:ext cx="0" cy="0"/>
          <a:chOff x="0" y="0"/>
          <a:chExt cx="0" cy="0"/>
        </a:xfrm>
      </p:grpSpPr>
      <p:sp>
        <p:nvSpPr>
          <p:cNvPr id="3160" name="Google Shape;3160;p42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61" name="Google Shape;3161;p4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2" name="Google Shape;3162;p427"/>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63" name="Google Shape;3163;p42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164" name="Google Shape;3164;p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165" name="Google Shape;3165;p42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66" name="Google Shape;3166;p427"/>
          <p:cNvGrpSpPr/>
          <p:nvPr/>
        </p:nvGrpSpPr>
        <p:grpSpPr>
          <a:xfrm>
            <a:off x="7191545" y="0"/>
            <a:ext cx="5000460" cy="1425988"/>
            <a:chOff x="7191545" y="0"/>
            <a:chExt cx="5000460" cy="1425988"/>
          </a:xfrm>
        </p:grpSpPr>
        <p:pic>
          <p:nvPicPr>
            <p:cNvPr id="3167" name="Google Shape;3167;p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168" name="Google Shape;3168;p427"/>
            <p:cNvGrpSpPr/>
            <p:nvPr/>
          </p:nvGrpSpPr>
          <p:grpSpPr>
            <a:xfrm>
              <a:off x="7191545" y="0"/>
              <a:ext cx="5000460" cy="1425988"/>
              <a:chOff x="7191545" y="0"/>
              <a:chExt cx="5000460" cy="1425988"/>
            </a:xfrm>
          </p:grpSpPr>
          <p:sp>
            <p:nvSpPr>
              <p:cNvPr id="3169" name="Google Shape;3169;p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170" name="Google Shape;3170;p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171" name="Google Shape;3171;p427"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3415821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matchingName="1_Cover 2">
  <p:cSld name="1_Cover 2">
    <p:spTree>
      <p:nvGrpSpPr>
        <p:cNvPr id="1" name="Shape 3172"/>
        <p:cNvGrpSpPr/>
        <p:nvPr/>
      </p:nvGrpSpPr>
      <p:grpSpPr>
        <a:xfrm>
          <a:off x="0" y="0"/>
          <a:ext cx="0" cy="0"/>
          <a:chOff x="0" y="0"/>
          <a:chExt cx="0" cy="0"/>
        </a:xfrm>
      </p:grpSpPr>
      <p:sp>
        <p:nvSpPr>
          <p:cNvPr id="3173" name="Google Shape;3173;p428"/>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74" name="Google Shape;3174;p42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75" name="Google Shape;3175;p42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176" name="Google Shape;3176;p428"/>
          <p:cNvGrpSpPr/>
          <p:nvPr/>
        </p:nvGrpSpPr>
        <p:grpSpPr>
          <a:xfrm>
            <a:off x="0" y="5020349"/>
            <a:ext cx="12191996" cy="1837651"/>
            <a:chOff x="0" y="5020348"/>
            <a:chExt cx="12191996" cy="1837651"/>
          </a:xfrm>
        </p:grpSpPr>
        <p:sp>
          <p:nvSpPr>
            <p:cNvPr id="3177" name="Google Shape;3177;p42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78" name="Google Shape;3178;p42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179" name="Google Shape;3179;p42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250031597"/>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matchingName="1_Divider 3">
  <p:cSld name="1_Divider 3">
    <p:spTree>
      <p:nvGrpSpPr>
        <p:cNvPr id="1" name="Shape 3180"/>
        <p:cNvGrpSpPr/>
        <p:nvPr/>
      </p:nvGrpSpPr>
      <p:grpSpPr>
        <a:xfrm>
          <a:off x="0" y="0"/>
          <a:ext cx="0" cy="0"/>
          <a:chOff x="0" y="0"/>
          <a:chExt cx="0" cy="0"/>
        </a:xfrm>
      </p:grpSpPr>
      <p:grpSp>
        <p:nvGrpSpPr>
          <p:cNvPr id="3181" name="Google Shape;3181;p429"/>
          <p:cNvGrpSpPr/>
          <p:nvPr/>
        </p:nvGrpSpPr>
        <p:grpSpPr>
          <a:xfrm>
            <a:off x="0" y="5020349"/>
            <a:ext cx="12191996" cy="1837651"/>
            <a:chOff x="0" y="5020348"/>
            <a:chExt cx="12191996" cy="1837651"/>
          </a:xfrm>
        </p:grpSpPr>
        <p:sp>
          <p:nvSpPr>
            <p:cNvPr id="3182" name="Google Shape;3182;p42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83" name="Google Shape;3183;p42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84" name="Google Shape;3184;p42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185" name="Google Shape;3185;p42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186" name="Google Shape;3186;p429"/>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7" name="Google Shape;3187;p42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50884546"/>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matchingName="1_Photo Slide 2">
  <p:cSld name="1_Photo Slide 2">
    <p:spTree>
      <p:nvGrpSpPr>
        <p:cNvPr id="1" name="Shape 3188"/>
        <p:cNvGrpSpPr/>
        <p:nvPr/>
      </p:nvGrpSpPr>
      <p:grpSpPr>
        <a:xfrm>
          <a:off x="0" y="0"/>
          <a:ext cx="0" cy="0"/>
          <a:chOff x="0" y="0"/>
          <a:chExt cx="0" cy="0"/>
        </a:xfrm>
      </p:grpSpPr>
      <p:sp>
        <p:nvSpPr>
          <p:cNvPr id="3189" name="Google Shape;3189;p43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190" name="Google Shape;3190;p430"/>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191" name="Google Shape;3191;p430"/>
          <p:cNvGrpSpPr/>
          <p:nvPr/>
        </p:nvGrpSpPr>
        <p:grpSpPr>
          <a:xfrm>
            <a:off x="1" y="5379425"/>
            <a:ext cx="2807363" cy="753895"/>
            <a:chOff x="0" y="5379424"/>
            <a:chExt cx="2807363" cy="753895"/>
          </a:xfrm>
        </p:grpSpPr>
        <p:sp>
          <p:nvSpPr>
            <p:cNvPr id="3192" name="Google Shape;3192;p43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93" name="Google Shape;3193;p43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194" name="Google Shape;3194;p430"/>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682086529"/>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3195"/>
        <p:cNvGrpSpPr/>
        <p:nvPr/>
      </p:nvGrpSpPr>
      <p:grpSpPr>
        <a:xfrm>
          <a:off x="0" y="0"/>
          <a:ext cx="0" cy="0"/>
          <a:chOff x="0" y="0"/>
          <a:chExt cx="0" cy="0"/>
        </a:xfrm>
      </p:grpSpPr>
      <p:sp>
        <p:nvSpPr>
          <p:cNvPr id="3196" name="Google Shape;3196;p43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197" name="Google Shape;3197;p43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98" name="Google Shape;3198;p431"/>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199" name="Google Shape;3199;p43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00" name="Google Shape;3200;p4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01" name="Google Shape;3201;p43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02" name="Google Shape;3202;p431"/>
          <p:cNvGrpSpPr/>
          <p:nvPr/>
        </p:nvGrpSpPr>
        <p:grpSpPr>
          <a:xfrm>
            <a:off x="7191545" y="0"/>
            <a:ext cx="5000460" cy="1425988"/>
            <a:chOff x="7191545" y="0"/>
            <a:chExt cx="5000460" cy="1425988"/>
          </a:xfrm>
        </p:grpSpPr>
        <p:pic>
          <p:nvPicPr>
            <p:cNvPr id="3203" name="Google Shape;3203;p4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04" name="Google Shape;3204;p431"/>
            <p:cNvGrpSpPr/>
            <p:nvPr/>
          </p:nvGrpSpPr>
          <p:grpSpPr>
            <a:xfrm>
              <a:off x="7191545" y="0"/>
              <a:ext cx="5000460" cy="1425988"/>
              <a:chOff x="7191545" y="0"/>
              <a:chExt cx="5000460" cy="1425988"/>
            </a:xfrm>
          </p:grpSpPr>
          <p:sp>
            <p:nvSpPr>
              <p:cNvPr id="3205" name="Google Shape;3205;p4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06" name="Google Shape;3206;p4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207" name="Google Shape;3207;p431"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830032522"/>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matchingName="1_Title and Content 8">
  <p:cSld name="1_Title and Content 8">
    <p:spTree>
      <p:nvGrpSpPr>
        <p:cNvPr id="1" name="Shape 3208"/>
        <p:cNvGrpSpPr/>
        <p:nvPr/>
      </p:nvGrpSpPr>
      <p:grpSpPr>
        <a:xfrm>
          <a:off x="0" y="0"/>
          <a:ext cx="0" cy="0"/>
          <a:chOff x="0" y="0"/>
          <a:chExt cx="0" cy="0"/>
        </a:xfrm>
      </p:grpSpPr>
      <p:grpSp>
        <p:nvGrpSpPr>
          <p:cNvPr id="3209" name="Google Shape;3209;p432"/>
          <p:cNvGrpSpPr/>
          <p:nvPr/>
        </p:nvGrpSpPr>
        <p:grpSpPr>
          <a:xfrm>
            <a:off x="7191545" y="0"/>
            <a:ext cx="5000460" cy="1425988"/>
            <a:chOff x="7191545" y="0"/>
            <a:chExt cx="5000460" cy="1425988"/>
          </a:xfrm>
        </p:grpSpPr>
        <p:pic>
          <p:nvPicPr>
            <p:cNvPr id="3210" name="Google Shape;3210;p4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11" name="Google Shape;3211;p432"/>
            <p:cNvGrpSpPr/>
            <p:nvPr/>
          </p:nvGrpSpPr>
          <p:grpSpPr>
            <a:xfrm>
              <a:off x="7191545" y="0"/>
              <a:ext cx="5000460" cy="1425988"/>
              <a:chOff x="7191545" y="0"/>
              <a:chExt cx="5000460" cy="1425988"/>
            </a:xfrm>
          </p:grpSpPr>
          <p:sp>
            <p:nvSpPr>
              <p:cNvPr id="3212" name="Google Shape;3212;p4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13" name="Google Shape;3213;p4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214" name="Google Shape;3214;p43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5" name="Google Shape;3215;p43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16" name="Google Shape;3216;p43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17" name="Google Shape;3217;p4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18" name="Google Shape;3218;p43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89255119"/>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matchingName="1_Two Content 2">
  <p:cSld name="1_Two Content 2">
    <p:spTree>
      <p:nvGrpSpPr>
        <p:cNvPr id="1" name="Shape 3219"/>
        <p:cNvGrpSpPr/>
        <p:nvPr/>
      </p:nvGrpSpPr>
      <p:grpSpPr>
        <a:xfrm>
          <a:off x="0" y="0"/>
          <a:ext cx="0" cy="0"/>
          <a:chOff x="0" y="0"/>
          <a:chExt cx="0" cy="0"/>
        </a:xfrm>
      </p:grpSpPr>
      <p:sp>
        <p:nvSpPr>
          <p:cNvPr id="3220" name="Google Shape;3220;p43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21" name="Google Shape;3221;p433"/>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222" name="Google Shape;3222;p433"/>
          <p:cNvGrpSpPr/>
          <p:nvPr/>
        </p:nvGrpSpPr>
        <p:grpSpPr>
          <a:xfrm>
            <a:off x="7191545" y="0"/>
            <a:ext cx="5000460" cy="1425988"/>
            <a:chOff x="7191545" y="0"/>
            <a:chExt cx="5000460" cy="1425988"/>
          </a:xfrm>
        </p:grpSpPr>
        <p:pic>
          <p:nvPicPr>
            <p:cNvPr id="3223" name="Google Shape;3223;p4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24" name="Google Shape;3224;p433"/>
            <p:cNvGrpSpPr/>
            <p:nvPr/>
          </p:nvGrpSpPr>
          <p:grpSpPr>
            <a:xfrm>
              <a:off x="7191545" y="0"/>
              <a:ext cx="5000460" cy="1425988"/>
              <a:chOff x="7191545" y="0"/>
              <a:chExt cx="5000460" cy="1425988"/>
            </a:xfrm>
          </p:grpSpPr>
          <p:sp>
            <p:nvSpPr>
              <p:cNvPr id="3225" name="Google Shape;3225;p4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26" name="Google Shape;3226;p4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227" name="Google Shape;3227;p433"/>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28" name="Google Shape;3228;p433"/>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29" name="Google Shape;3229;p4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30" name="Google Shape;3230;p43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03281268"/>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matchingName="1_TWO_OBJECTS_WITH_TEXT">
  <p:cSld name="1_TWO_OBJECTS_WITH_TEXT">
    <p:spTree>
      <p:nvGrpSpPr>
        <p:cNvPr id="1" name="Shape 3231"/>
        <p:cNvGrpSpPr/>
        <p:nvPr/>
      </p:nvGrpSpPr>
      <p:grpSpPr>
        <a:xfrm>
          <a:off x="0" y="0"/>
          <a:ext cx="0" cy="0"/>
          <a:chOff x="0" y="0"/>
          <a:chExt cx="0" cy="0"/>
        </a:xfrm>
      </p:grpSpPr>
      <p:grpSp>
        <p:nvGrpSpPr>
          <p:cNvPr id="3232" name="Google Shape;3232;p434"/>
          <p:cNvGrpSpPr/>
          <p:nvPr/>
        </p:nvGrpSpPr>
        <p:grpSpPr>
          <a:xfrm>
            <a:off x="7191545" y="0"/>
            <a:ext cx="5000460" cy="1425988"/>
            <a:chOff x="7191545" y="0"/>
            <a:chExt cx="5000460" cy="1425988"/>
          </a:xfrm>
        </p:grpSpPr>
        <p:pic>
          <p:nvPicPr>
            <p:cNvPr id="3233" name="Google Shape;3233;p4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34" name="Google Shape;3234;p434"/>
            <p:cNvGrpSpPr/>
            <p:nvPr/>
          </p:nvGrpSpPr>
          <p:grpSpPr>
            <a:xfrm>
              <a:off x="7191545" y="0"/>
              <a:ext cx="5000460" cy="1425988"/>
              <a:chOff x="7191545" y="0"/>
              <a:chExt cx="5000460" cy="1425988"/>
            </a:xfrm>
          </p:grpSpPr>
          <p:sp>
            <p:nvSpPr>
              <p:cNvPr id="3235" name="Google Shape;3235;p4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36" name="Google Shape;3236;p4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237" name="Google Shape;3237;p43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8" name="Google Shape;3238;p434"/>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39" name="Google Shape;3239;p434"/>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40" name="Google Shape;3240;p434"/>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41" name="Google Shape;3241;p434"/>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42" name="Google Shape;3242;p43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43" name="Google Shape;3243;p4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44" name="Google Shape;3244;p43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74225649"/>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matchingName="1_TITLE_ONLY">
  <p:cSld name="1_TITLE_ONLY">
    <p:spTree>
      <p:nvGrpSpPr>
        <p:cNvPr id="1" name="Shape 3245"/>
        <p:cNvGrpSpPr/>
        <p:nvPr/>
      </p:nvGrpSpPr>
      <p:grpSpPr>
        <a:xfrm>
          <a:off x="0" y="0"/>
          <a:ext cx="0" cy="0"/>
          <a:chOff x="0" y="0"/>
          <a:chExt cx="0" cy="0"/>
        </a:xfrm>
      </p:grpSpPr>
      <p:grpSp>
        <p:nvGrpSpPr>
          <p:cNvPr id="3246" name="Google Shape;3246;p435"/>
          <p:cNvGrpSpPr/>
          <p:nvPr/>
        </p:nvGrpSpPr>
        <p:grpSpPr>
          <a:xfrm>
            <a:off x="7191545" y="0"/>
            <a:ext cx="5000460" cy="1425988"/>
            <a:chOff x="7191545" y="0"/>
            <a:chExt cx="5000460" cy="1425988"/>
          </a:xfrm>
        </p:grpSpPr>
        <p:pic>
          <p:nvPicPr>
            <p:cNvPr id="3247" name="Google Shape;3247;p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48" name="Google Shape;3248;p435"/>
            <p:cNvGrpSpPr/>
            <p:nvPr/>
          </p:nvGrpSpPr>
          <p:grpSpPr>
            <a:xfrm>
              <a:off x="7191545" y="0"/>
              <a:ext cx="5000460" cy="1425988"/>
              <a:chOff x="7191545" y="0"/>
              <a:chExt cx="5000460" cy="1425988"/>
            </a:xfrm>
          </p:grpSpPr>
          <p:sp>
            <p:nvSpPr>
              <p:cNvPr id="3249" name="Google Shape;3249;p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50" name="Google Shape;3250;p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251" name="Google Shape;3251;p43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52" name="Google Shape;3252;p43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53" name="Google Shape;3253;p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54" name="Google Shape;3254;p43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50628117"/>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3255"/>
        <p:cNvGrpSpPr/>
        <p:nvPr/>
      </p:nvGrpSpPr>
      <p:grpSpPr>
        <a:xfrm>
          <a:off x="0" y="0"/>
          <a:ext cx="0" cy="0"/>
          <a:chOff x="0" y="0"/>
          <a:chExt cx="0" cy="0"/>
        </a:xfrm>
      </p:grpSpPr>
      <p:grpSp>
        <p:nvGrpSpPr>
          <p:cNvPr id="3256" name="Google Shape;3256;p436"/>
          <p:cNvGrpSpPr/>
          <p:nvPr/>
        </p:nvGrpSpPr>
        <p:grpSpPr>
          <a:xfrm>
            <a:off x="0" y="0"/>
            <a:ext cx="12191996" cy="2148830"/>
            <a:chOff x="0" y="0"/>
            <a:chExt cx="12191996" cy="2148830"/>
          </a:xfrm>
        </p:grpSpPr>
        <p:sp>
          <p:nvSpPr>
            <p:cNvPr id="3257" name="Google Shape;3257;p43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58" name="Google Shape;3258;p43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259" name="Google Shape;3259;p436"/>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260" name="Google Shape;3260;p436"/>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61" name="Google Shape;3261;p436"/>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62" name="Google Shape;3262;p43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19328629"/>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3263"/>
        <p:cNvGrpSpPr/>
        <p:nvPr/>
      </p:nvGrpSpPr>
      <p:grpSpPr>
        <a:xfrm>
          <a:off x="0" y="0"/>
          <a:ext cx="0" cy="0"/>
          <a:chOff x="0" y="0"/>
          <a:chExt cx="0" cy="0"/>
        </a:xfrm>
      </p:grpSpPr>
      <p:sp>
        <p:nvSpPr>
          <p:cNvPr id="3264" name="Google Shape;3264;p43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65" name="Google Shape;3265;p4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66" name="Google Shape;3266;p43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67" name="Google Shape;3267;p437"/>
          <p:cNvGrpSpPr/>
          <p:nvPr/>
        </p:nvGrpSpPr>
        <p:grpSpPr>
          <a:xfrm>
            <a:off x="7191545" y="0"/>
            <a:ext cx="5000460" cy="1425988"/>
            <a:chOff x="7191545" y="0"/>
            <a:chExt cx="5000460" cy="1425988"/>
          </a:xfrm>
        </p:grpSpPr>
        <p:pic>
          <p:nvPicPr>
            <p:cNvPr id="3268" name="Google Shape;3268;p4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69" name="Google Shape;3269;p437"/>
            <p:cNvGrpSpPr/>
            <p:nvPr/>
          </p:nvGrpSpPr>
          <p:grpSpPr>
            <a:xfrm>
              <a:off x="7191545" y="0"/>
              <a:ext cx="5000460" cy="1425988"/>
              <a:chOff x="7191545" y="0"/>
              <a:chExt cx="5000460" cy="1425988"/>
            </a:xfrm>
          </p:grpSpPr>
          <p:sp>
            <p:nvSpPr>
              <p:cNvPr id="3270" name="Google Shape;3270;p4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71" name="Google Shape;3271;p4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3209368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87"/>
        <p:cNvGrpSpPr/>
        <p:nvPr/>
      </p:nvGrpSpPr>
      <p:grpSpPr>
        <a:xfrm>
          <a:off x="0" y="0"/>
          <a:ext cx="0" cy="0"/>
          <a:chOff x="0" y="0"/>
          <a:chExt cx="0" cy="0"/>
        </a:xfrm>
      </p:grpSpPr>
      <p:sp>
        <p:nvSpPr>
          <p:cNvPr id="88" name="Google Shape;88;p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89;p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9"/>
          <p:cNvSpPr>
            <a:spLocks noGrp="1"/>
          </p:cNvSpPr>
          <p:nvPr>
            <p:ph type="pic" idx="2"/>
          </p:nvPr>
        </p:nvSpPr>
        <p:spPr>
          <a:xfrm>
            <a:off x="7118684" y="233915"/>
            <a:ext cx="5073316" cy="5943600"/>
          </a:xfrm>
          <a:prstGeom prst="rect">
            <a:avLst/>
          </a:prstGeom>
          <a:noFill/>
          <a:ln>
            <a:noFill/>
          </a:ln>
        </p:spPr>
      </p:sp>
      <p:grpSp>
        <p:nvGrpSpPr>
          <p:cNvPr id="92" name="Google Shape;92;p9"/>
          <p:cNvGrpSpPr/>
          <p:nvPr/>
        </p:nvGrpSpPr>
        <p:grpSpPr>
          <a:xfrm>
            <a:off x="0" y="5020348"/>
            <a:ext cx="12192000" cy="1837653"/>
            <a:chOff x="0" y="5020348"/>
            <a:chExt cx="12192000" cy="1837653"/>
          </a:xfrm>
        </p:grpSpPr>
        <p:sp>
          <p:nvSpPr>
            <p:cNvPr id="93" name="Google Shape;93;p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 name="Google Shape;94;p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5" name="Google Shape;95;p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matchingName="1_Quotation 2">
  <p:cSld name="1_Quotation 2">
    <p:spTree>
      <p:nvGrpSpPr>
        <p:cNvPr id="1" name="Shape 3272"/>
        <p:cNvGrpSpPr/>
        <p:nvPr/>
      </p:nvGrpSpPr>
      <p:grpSpPr>
        <a:xfrm>
          <a:off x="0" y="0"/>
          <a:ext cx="0" cy="0"/>
          <a:chOff x="0" y="0"/>
          <a:chExt cx="0" cy="0"/>
        </a:xfrm>
      </p:grpSpPr>
      <p:sp>
        <p:nvSpPr>
          <p:cNvPr id="3273" name="Google Shape;3273;p43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274" name="Google Shape;3274;p43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5" name="Google Shape;3275;p438"/>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76" name="Google Shape;3276;p43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277" name="Google Shape;3277;p4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278" name="Google Shape;3278;p43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9" name="Google Shape;3279;p438"/>
          <p:cNvGrpSpPr/>
          <p:nvPr/>
        </p:nvGrpSpPr>
        <p:grpSpPr>
          <a:xfrm>
            <a:off x="7191545" y="0"/>
            <a:ext cx="5000460" cy="1425988"/>
            <a:chOff x="7191545" y="0"/>
            <a:chExt cx="5000460" cy="1425988"/>
          </a:xfrm>
        </p:grpSpPr>
        <p:pic>
          <p:nvPicPr>
            <p:cNvPr id="3280" name="Google Shape;3280;p4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281" name="Google Shape;3281;p438"/>
            <p:cNvGrpSpPr/>
            <p:nvPr/>
          </p:nvGrpSpPr>
          <p:grpSpPr>
            <a:xfrm>
              <a:off x="7191545" y="0"/>
              <a:ext cx="5000460" cy="1425988"/>
              <a:chOff x="7191545" y="0"/>
              <a:chExt cx="5000460" cy="1425988"/>
            </a:xfrm>
          </p:grpSpPr>
          <p:sp>
            <p:nvSpPr>
              <p:cNvPr id="3282" name="Google Shape;3282;p4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283" name="Google Shape;3283;p4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284" name="Google Shape;3284;p438"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033989688"/>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matchingName="Cover 3">
  <p:cSld name="Cover 3">
    <p:spTree>
      <p:nvGrpSpPr>
        <p:cNvPr id="1" name="Shape 3285"/>
        <p:cNvGrpSpPr/>
        <p:nvPr/>
      </p:nvGrpSpPr>
      <p:grpSpPr>
        <a:xfrm>
          <a:off x="0" y="0"/>
          <a:ext cx="0" cy="0"/>
          <a:chOff x="0" y="0"/>
          <a:chExt cx="0" cy="0"/>
        </a:xfrm>
      </p:grpSpPr>
      <p:sp>
        <p:nvSpPr>
          <p:cNvPr id="3286" name="Google Shape;3286;p439"/>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287" name="Google Shape;3287;p43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88" name="Google Shape;3288;p43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289" name="Google Shape;3289;p439"/>
          <p:cNvGrpSpPr/>
          <p:nvPr/>
        </p:nvGrpSpPr>
        <p:grpSpPr>
          <a:xfrm>
            <a:off x="0" y="5020349"/>
            <a:ext cx="12191996" cy="1837651"/>
            <a:chOff x="0" y="5020348"/>
            <a:chExt cx="12191996" cy="1837651"/>
          </a:xfrm>
        </p:grpSpPr>
        <p:sp>
          <p:nvSpPr>
            <p:cNvPr id="3290" name="Google Shape;3290;p43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291" name="Google Shape;3291;p43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292" name="Google Shape;3292;p43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547578609"/>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matchingName="Divider 4">
  <p:cSld name="Divider 4">
    <p:spTree>
      <p:nvGrpSpPr>
        <p:cNvPr id="1" name="Shape 3293"/>
        <p:cNvGrpSpPr/>
        <p:nvPr/>
      </p:nvGrpSpPr>
      <p:grpSpPr>
        <a:xfrm>
          <a:off x="0" y="0"/>
          <a:ext cx="0" cy="0"/>
          <a:chOff x="0" y="0"/>
          <a:chExt cx="0" cy="0"/>
        </a:xfrm>
      </p:grpSpPr>
      <p:grpSp>
        <p:nvGrpSpPr>
          <p:cNvPr id="3294" name="Google Shape;3294;p440"/>
          <p:cNvGrpSpPr/>
          <p:nvPr/>
        </p:nvGrpSpPr>
        <p:grpSpPr>
          <a:xfrm>
            <a:off x="0" y="5020349"/>
            <a:ext cx="12191996" cy="1837651"/>
            <a:chOff x="0" y="5020348"/>
            <a:chExt cx="12191996" cy="1837651"/>
          </a:xfrm>
        </p:grpSpPr>
        <p:sp>
          <p:nvSpPr>
            <p:cNvPr id="3295" name="Google Shape;3295;p44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296" name="Google Shape;3296;p44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297" name="Google Shape;3297;p44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298" name="Google Shape;3298;p44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299" name="Google Shape;3299;p440"/>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00" name="Google Shape;3300;p44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42137435"/>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matchingName="Photo Slide 3">
  <p:cSld name="Photo Slide 3">
    <p:spTree>
      <p:nvGrpSpPr>
        <p:cNvPr id="1" name="Shape 3301"/>
        <p:cNvGrpSpPr/>
        <p:nvPr/>
      </p:nvGrpSpPr>
      <p:grpSpPr>
        <a:xfrm>
          <a:off x="0" y="0"/>
          <a:ext cx="0" cy="0"/>
          <a:chOff x="0" y="0"/>
          <a:chExt cx="0" cy="0"/>
        </a:xfrm>
      </p:grpSpPr>
      <p:sp>
        <p:nvSpPr>
          <p:cNvPr id="3302" name="Google Shape;3302;p44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303" name="Google Shape;3303;p441"/>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304" name="Google Shape;3304;p441"/>
          <p:cNvGrpSpPr/>
          <p:nvPr/>
        </p:nvGrpSpPr>
        <p:grpSpPr>
          <a:xfrm>
            <a:off x="1" y="5379425"/>
            <a:ext cx="2807363" cy="753895"/>
            <a:chOff x="0" y="5379424"/>
            <a:chExt cx="2807363" cy="753895"/>
          </a:xfrm>
        </p:grpSpPr>
        <p:sp>
          <p:nvSpPr>
            <p:cNvPr id="3305" name="Google Shape;3305;p44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306" name="Google Shape;3306;p44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307" name="Google Shape;3307;p441"/>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631124996"/>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matchingName="Quotation 3">
  <p:cSld name="Quotation 3">
    <p:spTree>
      <p:nvGrpSpPr>
        <p:cNvPr id="1" name="Shape 3308"/>
        <p:cNvGrpSpPr/>
        <p:nvPr/>
      </p:nvGrpSpPr>
      <p:grpSpPr>
        <a:xfrm>
          <a:off x="0" y="0"/>
          <a:ext cx="0" cy="0"/>
          <a:chOff x="0" y="0"/>
          <a:chExt cx="0" cy="0"/>
        </a:xfrm>
      </p:grpSpPr>
      <p:sp>
        <p:nvSpPr>
          <p:cNvPr id="3309" name="Google Shape;3309;p44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310" name="Google Shape;3310;p44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1" name="Google Shape;3311;p442"/>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12" name="Google Shape;3312;p44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13" name="Google Shape;3313;p4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14" name="Google Shape;3314;p44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15" name="Google Shape;3315;p442"/>
          <p:cNvGrpSpPr/>
          <p:nvPr/>
        </p:nvGrpSpPr>
        <p:grpSpPr>
          <a:xfrm>
            <a:off x="7191545" y="0"/>
            <a:ext cx="5000460" cy="1425988"/>
            <a:chOff x="7191545" y="0"/>
            <a:chExt cx="5000460" cy="1425988"/>
          </a:xfrm>
        </p:grpSpPr>
        <p:pic>
          <p:nvPicPr>
            <p:cNvPr id="3316" name="Google Shape;3316;p4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317" name="Google Shape;3317;p442"/>
            <p:cNvGrpSpPr/>
            <p:nvPr/>
          </p:nvGrpSpPr>
          <p:grpSpPr>
            <a:xfrm>
              <a:off x="7191545" y="0"/>
              <a:ext cx="5000460" cy="1425988"/>
              <a:chOff x="7191545" y="0"/>
              <a:chExt cx="5000460" cy="1425988"/>
            </a:xfrm>
          </p:grpSpPr>
          <p:sp>
            <p:nvSpPr>
              <p:cNvPr id="3318" name="Google Shape;3318;p4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19" name="Google Shape;3319;p4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320" name="Google Shape;3320;p442"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517774736"/>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matchingName="1_Quotation 3">
  <p:cSld name="1_Quotation 3">
    <p:spTree>
      <p:nvGrpSpPr>
        <p:cNvPr id="1" name="Shape 3321"/>
        <p:cNvGrpSpPr/>
        <p:nvPr/>
      </p:nvGrpSpPr>
      <p:grpSpPr>
        <a:xfrm>
          <a:off x="0" y="0"/>
          <a:ext cx="0" cy="0"/>
          <a:chOff x="0" y="0"/>
          <a:chExt cx="0" cy="0"/>
        </a:xfrm>
      </p:grpSpPr>
      <p:sp>
        <p:nvSpPr>
          <p:cNvPr id="3322" name="Google Shape;3322;p44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323" name="Google Shape;3323;p44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24" name="Google Shape;3324;p44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25" name="Google Shape;3325;p44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26" name="Google Shape;3326;p4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27" name="Google Shape;3327;p44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28" name="Google Shape;3328;p443"/>
          <p:cNvGrpSpPr/>
          <p:nvPr/>
        </p:nvGrpSpPr>
        <p:grpSpPr>
          <a:xfrm>
            <a:off x="7191545" y="0"/>
            <a:ext cx="5000460" cy="1425988"/>
            <a:chOff x="7191545" y="0"/>
            <a:chExt cx="5000460" cy="1425988"/>
          </a:xfrm>
        </p:grpSpPr>
        <p:pic>
          <p:nvPicPr>
            <p:cNvPr id="3329" name="Google Shape;3329;p4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330" name="Google Shape;3330;p443"/>
            <p:cNvGrpSpPr/>
            <p:nvPr/>
          </p:nvGrpSpPr>
          <p:grpSpPr>
            <a:xfrm>
              <a:off x="7191545" y="0"/>
              <a:ext cx="5000460" cy="1425988"/>
              <a:chOff x="7191545" y="0"/>
              <a:chExt cx="5000460" cy="1425988"/>
            </a:xfrm>
          </p:grpSpPr>
          <p:sp>
            <p:nvSpPr>
              <p:cNvPr id="3331" name="Google Shape;3331;p4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32" name="Google Shape;3332;p4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333" name="Google Shape;3333;p44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757340147"/>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matchingName="Two Content 3">
  <p:cSld name="Two Content 3">
    <p:spTree>
      <p:nvGrpSpPr>
        <p:cNvPr id="1" name="Shape 3334"/>
        <p:cNvGrpSpPr/>
        <p:nvPr/>
      </p:nvGrpSpPr>
      <p:grpSpPr>
        <a:xfrm>
          <a:off x="0" y="0"/>
          <a:ext cx="0" cy="0"/>
          <a:chOff x="0" y="0"/>
          <a:chExt cx="0" cy="0"/>
        </a:xfrm>
      </p:grpSpPr>
      <p:sp>
        <p:nvSpPr>
          <p:cNvPr id="3335" name="Google Shape;3335;p44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6" name="Google Shape;3336;p444"/>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337" name="Google Shape;3337;p444"/>
          <p:cNvGrpSpPr/>
          <p:nvPr/>
        </p:nvGrpSpPr>
        <p:grpSpPr>
          <a:xfrm>
            <a:off x="7191545" y="0"/>
            <a:ext cx="5000460" cy="1425988"/>
            <a:chOff x="7191545" y="0"/>
            <a:chExt cx="5000460" cy="1425988"/>
          </a:xfrm>
        </p:grpSpPr>
        <p:pic>
          <p:nvPicPr>
            <p:cNvPr id="3338" name="Google Shape;3338;p4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339" name="Google Shape;3339;p444"/>
            <p:cNvGrpSpPr/>
            <p:nvPr/>
          </p:nvGrpSpPr>
          <p:grpSpPr>
            <a:xfrm>
              <a:off x="7191545" y="0"/>
              <a:ext cx="5000460" cy="1425988"/>
              <a:chOff x="7191545" y="0"/>
              <a:chExt cx="5000460" cy="1425988"/>
            </a:xfrm>
          </p:grpSpPr>
          <p:sp>
            <p:nvSpPr>
              <p:cNvPr id="3340" name="Google Shape;3340;p4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41" name="Google Shape;3341;p4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342" name="Google Shape;3342;p444"/>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43" name="Google Shape;3343;p444"/>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44" name="Google Shape;3344;p4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45" name="Google Shape;3345;p44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03356794"/>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346"/>
        <p:cNvGrpSpPr/>
        <p:nvPr/>
      </p:nvGrpSpPr>
      <p:grpSpPr>
        <a:xfrm>
          <a:off x="0" y="0"/>
          <a:ext cx="0" cy="0"/>
          <a:chOff x="0" y="0"/>
          <a:chExt cx="0" cy="0"/>
        </a:xfrm>
      </p:grpSpPr>
      <p:grpSp>
        <p:nvGrpSpPr>
          <p:cNvPr id="3347" name="Google Shape;3347;p445"/>
          <p:cNvGrpSpPr/>
          <p:nvPr/>
        </p:nvGrpSpPr>
        <p:grpSpPr>
          <a:xfrm>
            <a:off x="7191545" y="0"/>
            <a:ext cx="5000460" cy="1425988"/>
            <a:chOff x="7191545" y="0"/>
            <a:chExt cx="5000460" cy="1425988"/>
          </a:xfrm>
        </p:grpSpPr>
        <p:pic>
          <p:nvPicPr>
            <p:cNvPr id="3348" name="Google Shape;3348;p4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349" name="Google Shape;3349;p445"/>
            <p:cNvGrpSpPr/>
            <p:nvPr/>
          </p:nvGrpSpPr>
          <p:grpSpPr>
            <a:xfrm>
              <a:off x="7191545" y="0"/>
              <a:ext cx="5000460" cy="1425988"/>
              <a:chOff x="7191545" y="0"/>
              <a:chExt cx="5000460" cy="1425988"/>
            </a:xfrm>
          </p:grpSpPr>
          <p:sp>
            <p:nvSpPr>
              <p:cNvPr id="3350" name="Google Shape;3350;p4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51" name="Google Shape;3351;p4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352" name="Google Shape;3352;p44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53" name="Google Shape;3353;p445"/>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54" name="Google Shape;3354;p445"/>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55" name="Google Shape;3355;p445"/>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56" name="Google Shape;3356;p445"/>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57" name="Google Shape;3357;p44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58" name="Google Shape;3358;p4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59" name="Google Shape;3359;p44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02518606"/>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60"/>
        <p:cNvGrpSpPr/>
        <p:nvPr/>
      </p:nvGrpSpPr>
      <p:grpSpPr>
        <a:xfrm>
          <a:off x="0" y="0"/>
          <a:ext cx="0" cy="0"/>
          <a:chOff x="0" y="0"/>
          <a:chExt cx="0" cy="0"/>
        </a:xfrm>
      </p:grpSpPr>
      <p:grpSp>
        <p:nvGrpSpPr>
          <p:cNvPr id="3361" name="Google Shape;3361;p446"/>
          <p:cNvGrpSpPr/>
          <p:nvPr/>
        </p:nvGrpSpPr>
        <p:grpSpPr>
          <a:xfrm>
            <a:off x="7191545" y="0"/>
            <a:ext cx="5000460" cy="1425988"/>
            <a:chOff x="7191545" y="0"/>
            <a:chExt cx="5000460" cy="1425988"/>
          </a:xfrm>
        </p:grpSpPr>
        <p:pic>
          <p:nvPicPr>
            <p:cNvPr id="3362" name="Google Shape;3362;p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363" name="Google Shape;3363;p446"/>
            <p:cNvGrpSpPr/>
            <p:nvPr/>
          </p:nvGrpSpPr>
          <p:grpSpPr>
            <a:xfrm>
              <a:off x="7191545" y="0"/>
              <a:ext cx="5000460" cy="1425988"/>
              <a:chOff x="7191545" y="0"/>
              <a:chExt cx="5000460" cy="1425988"/>
            </a:xfrm>
          </p:grpSpPr>
          <p:sp>
            <p:nvSpPr>
              <p:cNvPr id="3364" name="Google Shape;3364;p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65" name="Google Shape;3365;p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366" name="Google Shape;3366;p44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67" name="Google Shape;3367;p44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68" name="Google Shape;3368;p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69" name="Google Shape;3369;p44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21727417"/>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matchingName="End 2">
  <p:cSld name="End 2">
    <p:spTree>
      <p:nvGrpSpPr>
        <p:cNvPr id="1" name="Shape 3370"/>
        <p:cNvGrpSpPr/>
        <p:nvPr/>
      </p:nvGrpSpPr>
      <p:grpSpPr>
        <a:xfrm>
          <a:off x="0" y="0"/>
          <a:ext cx="0" cy="0"/>
          <a:chOff x="0" y="0"/>
          <a:chExt cx="0" cy="0"/>
        </a:xfrm>
      </p:grpSpPr>
      <p:grpSp>
        <p:nvGrpSpPr>
          <p:cNvPr id="3371" name="Google Shape;3371;p447"/>
          <p:cNvGrpSpPr/>
          <p:nvPr/>
        </p:nvGrpSpPr>
        <p:grpSpPr>
          <a:xfrm>
            <a:off x="0" y="0"/>
            <a:ext cx="12191996" cy="2148830"/>
            <a:chOff x="0" y="0"/>
            <a:chExt cx="12191996" cy="2148830"/>
          </a:xfrm>
        </p:grpSpPr>
        <p:sp>
          <p:nvSpPr>
            <p:cNvPr id="3372" name="Google Shape;3372;p44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73" name="Google Shape;3373;p44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374" name="Google Shape;3374;p447"/>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375" name="Google Shape;3375;p447"/>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76" name="Google Shape;3376;p447"/>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377" name="Google Shape;3377;p44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21419329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378"/>
        <p:cNvGrpSpPr/>
        <p:nvPr/>
      </p:nvGrpSpPr>
      <p:grpSpPr>
        <a:xfrm>
          <a:off x="0" y="0"/>
          <a:ext cx="0" cy="0"/>
          <a:chOff x="0" y="0"/>
          <a:chExt cx="0" cy="0"/>
        </a:xfrm>
      </p:grpSpPr>
      <p:sp>
        <p:nvSpPr>
          <p:cNvPr id="3379" name="Google Shape;3379;p44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380" name="Google Shape;3380;p4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81" name="Google Shape;3381;p448"/>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82" name="Google Shape;3382;p44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83" name="Google Shape;3383;p4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84" name="Google Shape;3384;p44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85" name="Google Shape;3385;p448"/>
          <p:cNvGrpSpPr/>
          <p:nvPr/>
        </p:nvGrpSpPr>
        <p:grpSpPr>
          <a:xfrm>
            <a:off x="7191545" y="0"/>
            <a:ext cx="5000460" cy="1425988"/>
            <a:chOff x="7191545" y="0"/>
            <a:chExt cx="5000460" cy="1425988"/>
          </a:xfrm>
        </p:grpSpPr>
        <p:pic>
          <p:nvPicPr>
            <p:cNvPr id="3386" name="Google Shape;3386;p4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387" name="Google Shape;3387;p448"/>
            <p:cNvGrpSpPr/>
            <p:nvPr/>
          </p:nvGrpSpPr>
          <p:grpSpPr>
            <a:xfrm>
              <a:off x="7191545" y="0"/>
              <a:ext cx="5000460" cy="1425988"/>
              <a:chOff x="7191545" y="0"/>
              <a:chExt cx="5000460" cy="1425988"/>
            </a:xfrm>
          </p:grpSpPr>
          <p:sp>
            <p:nvSpPr>
              <p:cNvPr id="3388" name="Google Shape;3388;p4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389" name="Google Shape;3389;p4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390" name="Google Shape;3390;p448"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605726226"/>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391"/>
        <p:cNvGrpSpPr/>
        <p:nvPr/>
      </p:nvGrpSpPr>
      <p:grpSpPr>
        <a:xfrm>
          <a:off x="0" y="0"/>
          <a:ext cx="0" cy="0"/>
          <a:chOff x="0" y="0"/>
          <a:chExt cx="0" cy="0"/>
        </a:xfrm>
      </p:grpSpPr>
      <p:sp>
        <p:nvSpPr>
          <p:cNvPr id="3392" name="Google Shape;3392;p44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393" name="Google Shape;3393;p44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4" name="Google Shape;3394;p44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395" name="Google Shape;3395;p44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396" name="Google Shape;3396;p4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397" name="Google Shape;3397;p44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98" name="Google Shape;3398;p449"/>
          <p:cNvGrpSpPr/>
          <p:nvPr/>
        </p:nvGrpSpPr>
        <p:grpSpPr>
          <a:xfrm>
            <a:off x="7191545" y="0"/>
            <a:ext cx="5000460" cy="1425988"/>
            <a:chOff x="7191545" y="0"/>
            <a:chExt cx="5000460" cy="1425988"/>
          </a:xfrm>
        </p:grpSpPr>
        <p:pic>
          <p:nvPicPr>
            <p:cNvPr id="3399" name="Google Shape;3399;p4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00" name="Google Shape;3400;p449"/>
            <p:cNvGrpSpPr/>
            <p:nvPr/>
          </p:nvGrpSpPr>
          <p:grpSpPr>
            <a:xfrm>
              <a:off x="7191545" y="0"/>
              <a:ext cx="5000460" cy="1425988"/>
              <a:chOff x="7191545" y="0"/>
              <a:chExt cx="5000460" cy="1425988"/>
            </a:xfrm>
          </p:grpSpPr>
          <p:sp>
            <p:nvSpPr>
              <p:cNvPr id="3401" name="Google Shape;3401;p4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02" name="Google Shape;3402;p4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403" name="Google Shape;3403;p44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286139078"/>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3404"/>
        <p:cNvGrpSpPr/>
        <p:nvPr/>
      </p:nvGrpSpPr>
      <p:grpSpPr>
        <a:xfrm>
          <a:off x="0" y="0"/>
          <a:ext cx="0" cy="0"/>
          <a:chOff x="0" y="0"/>
          <a:chExt cx="0" cy="0"/>
        </a:xfrm>
      </p:grpSpPr>
      <p:sp>
        <p:nvSpPr>
          <p:cNvPr id="3405" name="Google Shape;3405;p45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06" name="Google Shape;3406;p45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07" name="Google Shape;3407;p45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08" name="Google Shape;3408;p45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409" name="Google Shape;3409;p4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410" name="Google Shape;3410;p45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11" name="Google Shape;3411;p450"/>
          <p:cNvGrpSpPr/>
          <p:nvPr/>
        </p:nvGrpSpPr>
        <p:grpSpPr>
          <a:xfrm>
            <a:off x="7191545" y="0"/>
            <a:ext cx="5000460" cy="1425988"/>
            <a:chOff x="7191545" y="0"/>
            <a:chExt cx="5000460" cy="1425988"/>
          </a:xfrm>
        </p:grpSpPr>
        <p:pic>
          <p:nvPicPr>
            <p:cNvPr id="3412" name="Google Shape;3412;p4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13" name="Google Shape;3413;p450"/>
            <p:cNvGrpSpPr/>
            <p:nvPr/>
          </p:nvGrpSpPr>
          <p:grpSpPr>
            <a:xfrm>
              <a:off x="7191545" y="0"/>
              <a:ext cx="5000460" cy="1425988"/>
              <a:chOff x="7191545" y="0"/>
              <a:chExt cx="5000460" cy="1425988"/>
            </a:xfrm>
          </p:grpSpPr>
          <p:sp>
            <p:nvSpPr>
              <p:cNvPr id="3414" name="Google Shape;3414;p4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15" name="Google Shape;3415;p4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416" name="Google Shape;3416;p45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165922081"/>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3417"/>
        <p:cNvGrpSpPr/>
        <p:nvPr/>
      </p:nvGrpSpPr>
      <p:grpSpPr>
        <a:xfrm>
          <a:off x="0" y="0"/>
          <a:ext cx="0" cy="0"/>
          <a:chOff x="0" y="0"/>
          <a:chExt cx="0" cy="0"/>
        </a:xfrm>
      </p:grpSpPr>
      <p:sp>
        <p:nvSpPr>
          <p:cNvPr id="3418" name="Google Shape;3418;p45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19" name="Google Shape;3419;p45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20" name="Google Shape;3420;p451"/>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21" name="Google Shape;3421;p45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422" name="Google Shape;3422;p4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423" name="Google Shape;3423;p45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24" name="Google Shape;3424;p451"/>
          <p:cNvGrpSpPr/>
          <p:nvPr/>
        </p:nvGrpSpPr>
        <p:grpSpPr>
          <a:xfrm>
            <a:off x="7191545" y="0"/>
            <a:ext cx="5000460" cy="1425988"/>
            <a:chOff x="7191545" y="0"/>
            <a:chExt cx="5000460" cy="1425988"/>
          </a:xfrm>
        </p:grpSpPr>
        <p:pic>
          <p:nvPicPr>
            <p:cNvPr id="3425" name="Google Shape;3425;p4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26" name="Google Shape;3426;p451"/>
            <p:cNvGrpSpPr/>
            <p:nvPr/>
          </p:nvGrpSpPr>
          <p:grpSpPr>
            <a:xfrm>
              <a:off x="7191545" y="0"/>
              <a:ext cx="5000460" cy="1425988"/>
              <a:chOff x="7191545" y="0"/>
              <a:chExt cx="5000460" cy="1425988"/>
            </a:xfrm>
          </p:grpSpPr>
          <p:sp>
            <p:nvSpPr>
              <p:cNvPr id="3427" name="Google Shape;3427;p4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28" name="Google Shape;3428;p4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429" name="Google Shape;3429;p451"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086123806"/>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matchingName="Cover 4">
  <p:cSld name="Cover 4">
    <p:spTree>
      <p:nvGrpSpPr>
        <p:cNvPr id="1" name="Shape 3430"/>
        <p:cNvGrpSpPr/>
        <p:nvPr/>
      </p:nvGrpSpPr>
      <p:grpSpPr>
        <a:xfrm>
          <a:off x="0" y="0"/>
          <a:ext cx="0" cy="0"/>
          <a:chOff x="0" y="0"/>
          <a:chExt cx="0" cy="0"/>
        </a:xfrm>
      </p:grpSpPr>
      <p:sp>
        <p:nvSpPr>
          <p:cNvPr id="3431" name="Google Shape;3431;p452"/>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32" name="Google Shape;3432;p45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33" name="Google Shape;3433;p45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434" name="Google Shape;3434;p452"/>
          <p:cNvGrpSpPr/>
          <p:nvPr/>
        </p:nvGrpSpPr>
        <p:grpSpPr>
          <a:xfrm>
            <a:off x="0" y="5020349"/>
            <a:ext cx="12191996" cy="1837651"/>
            <a:chOff x="0" y="5020348"/>
            <a:chExt cx="12191996" cy="1837651"/>
          </a:xfrm>
        </p:grpSpPr>
        <p:sp>
          <p:nvSpPr>
            <p:cNvPr id="3435" name="Google Shape;3435;p45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36" name="Google Shape;3436;p45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437" name="Google Shape;3437;p45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08554283"/>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matchingName="Divider 5">
  <p:cSld name="Divider 5">
    <p:spTree>
      <p:nvGrpSpPr>
        <p:cNvPr id="1" name="Shape 3438"/>
        <p:cNvGrpSpPr/>
        <p:nvPr/>
      </p:nvGrpSpPr>
      <p:grpSpPr>
        <a:xfrm>
          <a:off x="0" y="0"/>
          <a:ext cx="0" cy="0"/>
          <a:chOff x="0" y="0"/>
          <a:chExt cx="0" cy="0"/>
        </a:xfrm>
      </p:grpSpPr>
      <p:grpSp>
        <p:nvGrpSpPr>
          <p:cNvPr id="3439" name="Google Shape;3439;p453"/>
          <p:cNvGrpSpPr/>
          <p:nvPr/>
        </p:nvGrpSpPr>
        <p:grpSpPr>
          <a:xfrm>
            <a:off x="0" y="5020349"/>
            <a:ext cx="12191996" cy="1837651"/>
            <a:chOff x="0" y="5020348"/>
            <a:chExt cx="12191996" cy="1837651"/>
          </a:xfrm>
        </p:grpSpPr>
        <p:sp>
          <p:nvSpPr>
            <p:cNvPr id="3440" name="Google Shape;3440;p45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41" name="Google Shape;3441;p45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42" name="Google Shape;3442;p45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443" name="Google Shape;3443;p45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444" name="Google Shape;3444;p453"/>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45" name="Google Shape;3445;p45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45982927"/>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matchingName="Photo Slide 4">
  <p:cSld name="Photo Slide 4">
    <p:spTree>
      <p:nvGrpSpPr>
        <p:cNvPr id="1" name="Shape 3446"/>
        <p:cNvGrpSpPr/>
        <p:nvPr/>
      </p:nvGrpSpPr>
      <p:grpSpPr>
        <a:xfrm>
          <a:off x="0" y="0"/>
          <a:ext cx="0" cy="0"/>
          <a:chOff x="0" y="0"/>
          <a:chExt cx="0" cy="0"/>
        </a:xfrm>
      </p:grpSpPr>
      <p:sp>
        <p:nvSpPr>
          <p:cNvPr id="3447" name="Google Shape;3447;p45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448" name="Google Shape;3448;p454"/>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449" name="Google Shape;3449;p454"/>
          <p:cNvGrpSpPr/>
          <p:nvPr/>
        </p:nvGrpSpPr>
        <p:grpSpPr>
          <a:xfrm>
            <a:off x="1" y="5379425"/>
            <a:ext cx="2807363" cy="753895"/>
            <a:chOff x="0" y="5379424"/>
            <a:chExt cx="2807363" cy="753895"/>
          </a:xfrm>
        </p:grpSpPr>
        <p:sp>
          <p:nvSpPr>
            <p:cNvPr id="3450" name="Google Shape;3450;p45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51" name="Google Shape;3451;p45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452" name="Google Shape;3452;p454"/>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160725056"/>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matchingName="Quotation 4">
  <p:cSld name="Quotation 4">
    <p:spTree>
      <p:nvGrpSpPr>
        <p:cNvPr id="1" name="Shape 3453"/>
        <p:cNvGrpSpPr/>
        <p:nvPr/>
      </p:nvGrpSpPr>
      <p:grpSpPr>
        <a:xfrm>
          <a:off x="0" y="0"/>
          <a:ext cx="0" cy="0"/>
          <a:chOff x="0" y="0"/>
          <a:chExt cx="0" cy="0"/>
        </a:xfrm>
      </p:grpSpPr>
      <p:sp>
        <p:nvSpPr>
          <p:cNvPr id="3454" name="Google Shape;3454;p45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55" name="Google Shape;3455;p45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6" name="Google Shape;3456;p455"/>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57" name="Google Shape;3457;p45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458" name="Google Shape;3458;p4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459" name="Google Shape;3459;p45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60" name="Google Shape;3460;p455"/>
          <p:cNvGrpSpPr/>
          <p:nvPr/>
        </p:nvGrpSpPr>
        <p:grpSpPr>
          <a:xfrm>
            <a:off x="7191545" y="0"/>
            <a:ext cx="5000460" cy="1425988"/>
            <a:chOff x="7191545" y="0"/>
            <a:chExt cx="5000460" cy="1425988"/>
          </a:xfrm>
        </p:grpSpPr>
        <p:pic>
          <p:nvPicPr>
            <p:cNvPr id="3461" name="Google Shape;3461;p4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62" name="Google Shape;3462;p455"/>
            <p:cNvGrpSpPr/>
            <p:nvPr/>
          </p:nvGrpSpPr>
          <p:grpSpPr>
            <a:xfrm>
              <a:off x="7191545" y="0"/>
              <a:ext cx="5000460" cy="1425988"/>
              <a:chOff x="7191545" y="0"/>
              <a:chExt cx="5000460" cy="1425988"/>
            </a:xfrm>
          </p:grpSpPr>
          <p:sp>
            <p:nvSpPr>
              <p:cNvPr id="3463" name="Google Shape;3463;p4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64" name="Google Shape;3464;p4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465" name="Google Shape;3465;p455"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002541734"/>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matchingName="1_Quotation 4">
  <p:cSld name="1_Quotation 4">
    <p:spTree>
      <p:nvGrpSpPr>
        <p:cNvPr id="1" name="Shape 3466"/>
        <p:cNvGrpSpPr/>
        <p:nvPr/>
      </p:nvGrpSpPr>
      <p:grpSpPr>
        <a:xfrm>
          <a:off x="0" y="0"/>
          <a:ext cx="0" cy="0"/>
          <a:chOff x="0" y="0"/>
          <a:chExt cx="0" cy="0"/>
        </a:xfrm>
      </p:grpSpPr>
      <p:sp>
        <p:nvSpPr>
          <p:cNvPr id="3467" name="Google Shape;3467;p45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468" name="Google Shape;3468;p45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69" name="Google Shape;3469;p456"/>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70" name="Google Shape;3470;p45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471" name="Google Shape;3471;p45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472" name="Google Shape;3472;p45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73" name="Google Shape;3473;p456"/>
          <p:cNvGrpSpPr/>
          <p:nvPr/>
        </p:nvGrpSpPr>
        <p:grpSpPr>
          <a:xfrm>
            <a:off x="7191545" y="0"/>
            <a:ext cx="5000460" cy="1425988"/>
            <a:chOff x="7191545" y="0"/>
            <a:chExt cx="5000460" cy="1425988"/>
          </a:xfrm>
        </p:grpSpPr>
        <p:pic>
          <p:nvPicPr>
            <p:cNvPr id="3474" name="Google Shape;3474;p45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75" name="Google Shape;3475;p456"/>
            <p:cNvGrpSpPr/>
            <p:nvPr/>
          </p:nvGrpSpPr>
          <p:grpSpPr>
            <a:xfrm>
              <a:off x="7191545" y="0"/>
              <a:ext cx="5000460" cy="1425988"/>
              <a:chOff x="7191545" y="0"/>
              <a:chExt cx="5000460" cy="1425988"/>
            </a:xfrm>
          </p:grpSpPr>
          <p:sp>
            <p:nvSpPr>
              <p:cNvPr id="3476" name="Google Shape;3476;p45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77" name="Google Shape;3477;p45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478" name="Google Shape;3478;p456"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976895868"/>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matchingName="Comparison 2">
  <p:cSld name="Comparison 2">
    <p:spTree>
      <p:nvGrpSpPr>
        <p:cNvPr id="1" name="Shape 3479"/>
        <p:cNvGrpSpPr/>
        <p:nvPr/>
      </p:nvGrpSpPr>
      <p:grpSpPr>
        <a:xfrm>
          <a:off x="0" y="0"/>
          <a:ext cx="0" cy="0"/>
          <a:chOff x="0" y="0"/>
          <a:chExt cx="0" cy="0"/>
        </a:xfrm>
      </p:grpSpPr>
      <p:grpSp>
        <p:nvGrpSpPr>
          <p:cNvPr id="3480" name="Google Shape;3480;p457"/>
          <p:cNvGrpSpPr/>
          <p:nvPr/>
        </p:nvGrpSpPr>
        <p:grpSpPr>
          <a:xfrm>
            <a:off x="7191545" y="0"/>
            <a:ext cx="5000460" cy="1425988"/>
            <a:chOff x="7191545" y="0"/>
            <a:chExt cx="5000460" cy="1425988"/>
          </a:xfrm>
        </p:grpSpPr>
        <p:pic>
          <p:nvPicPr>
            <p:cNvPr id="3481" name="Google Shape;3481;p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82" name="Google Shape;3482;p457"/>
            <p:cNvGrpSpPr/>
            <p:nvPr/>
          </p:nvGrpSpPr>
          <p:grpSpPr>
            <a:xfrm>
              <a:off x="7191545" y="0"/>
              <a:ext cx="5000460" cy="1425988"/>
              <a:chOff x="7191545" y="0"/>
              <a:chExt cx="5000460" cy="1425988"/>
            </a:xfrm>
          </p:grpSpPr>
          <p:sp>
            <p:nvSpPr>
              <p:cNvPr id="3483" name="Google Shape;3483;p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84" name="Google Shape;3484;p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485" name="Google Shape;3485;p45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86" name="Google Shape;3486;p457"/>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87" name="Google Shape;3487;p457"/>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88" name="Google Shape;3488;p457"/>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89" name="Google Shape;3489;p457"/>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490" name="Google Shape;3490;p45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491" name="Google Shape;3491;p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492" name="Google Shape;3492;p45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353671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3493"/>
        <p:cNvGrpSpPr/>
        <p:nvPr/>
      </p:nvGrpSpPr>
      <p:grpSpPr>
        <a:xfrm>
          <a:off x="0" y="0"/>
          <a:ext cx="0" cy="0"/>
          <a:chOff x="0" y="0"/>
          <a:chExt cx="0" cy="0"/>
        </a:xfrm>
      </p:grpSpPr>
      <p:grpSp>
        <p:nvGrpSpPr>
          <p:cNvPr id="3494" name="Google Shape;3494;p458"/>
          <p:cNvGrpSpPr/>
          <p:nvPr/>
        </p:nvGrpSpPr>
        <p:grpSpPr>
          <a:xfrm>
            <a:off x="7191545" y="0"/>
            <a:ext cx="5000460" cy="1425988"/>
            <a:chOff x="7191545" y="0"/>
            <a:chExt cx="5000460" cy="1425988"/>
          </a:xfrm>
        </p:grpSpPr>
        <p:pic>
          <p:nvPicPr>
            <p:cNvPr id="3495" name="Google Shape;3495;p4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496" name="Google Shape;3496;p458"/>
            <p:cNvGrpSpPr/>
            <p:nvPr/>
          </p:nvGrpSpPr>
          <p:grpSpPr>
            <a:xfrm>
              <a:off x="7191545" y="0"/>
              <a:ext cx="5000460" cy="1425988"/>
              <a:chOff x="7191545" y="0"/>
              <a:chExt cx="5000460" cy="1425988"/>
            </a:xfrm>
          </p:grpSpPr>
          <p:sp>
            <p:nvSpPr>
              <p:cNvPr id="3497" name="Google Shape;3497;p4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498" name="Google Shape;3498;p4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499" name="Google Shape;3499;p458"/>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00" name="Google Shape;3500;p45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01" name="Google Shape;3501;p4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02" name="Google Shape;3502;p45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5034828"/>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matchingName="Cover 5">
  <p:cSld name="Cover 5">
    <p:spTree>
      <p:nvGrpSpPr>
        <p:cNvPr id="1" name="Shape 3503"/>
        <p:cNvGrpSpPr/>
        <p:nvPr/>
      </p:nvGrpSpPr>
      <p:grpSpPr>
        <a:xfrm>
          <a:off x="0" y="0"/>
          <a:ext cx="0" cy="0"/>
          <a:chOff x="0" y="0"/>
          <a:chExt cx="0" cy="0"/>
        </a:xfrm>
      </p:grpSpPr>
      <p:sp>
        <p:nvSpPr>
          <p:cNvPr id="3504" name="Google Shape;3504;p459"/>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05" name="Google Shape;3505;p45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06" name="Google Shape;3506;p45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507" name="Google Shape;3507;p459"/>
          <p:cNvGrpSpPr/>
          <p:nvPr/>
        </p:nvGrpSpPr>
        <p:grpSpPr>
          <a:xfrm>
            <a:off x="0" y="5020349"/>
            <a:ext cx="12191996" cy="1837651"/>
            <a:chOff x="0" y="5020348"/>
            <a:chExt cx="12191996" cy="1837651"/>
          </a:xfrm>
        </p:grpSpPr>
        <p:sp>
          <p:nvSpPr>
            <p:cNvPr id="3508" name="Google Shape;3508;p45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09" name="Google Shape;3509;p45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510" name="Google Shape;3510;p45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283916331"/>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matchingName="Divider 6">
  <p:cSld name="Divider 6">
    <p:spTree>
      <p:nvGrpSpPr>
        <p:cNvPr id="1" name="Shape 3511"/>
        <p:cNvGrpSpPr/>
        <p:nvPr/>
      </p:nvGrpSpPr>
      <p:grpSpPr>
        <a:xfrm>
          <a:off x="0" y="0"/>
          <a:ext cx="0" cy="0"/>
          <a:chOff x="0" y="0"/>
          <a:chExt cx="0" cy="0"/>
        </a:xfrm>
      </p:grpSpPr>
      <p:grpSp>
        <p:nvGrpSpPr>
          <p:cNvPr id="3512" name="Google Shape;3512;p460"/>
          <p:cNvGrpSpPr/>
          <p:nvPr/>
        </p:nvGrpSpPr>
        <p:grpSpPr>
          <a:xfrm>
            <a:off x="0" y="5020349"/>
            <a:ext cx="12191996" cy="1837651"/>
            <a:chOff x="0" y="5020348"/>
            <a:chExt cx="12191996" cy="1837651"/>
          </a:xfrm>
        </p:grpSpPr>
        <p:sp>
          <p:nvSpPr>
            <p:cNvPr id="3513" name="Google Shape;3513;p46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14" name="Google Shape;3514;p46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15" name="Google Shape;3515;p46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516" name="Google Shape;3516;p46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517" name="Google Shape;3517;p460"/>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18" name="Google Shape;3518;p46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75224536"/>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matchingName="Photo Slide 5">
  <p:cSld name="Photo Slide 5">
    <p:spTree>
      <p:nvGrpSpPr>
        <p:cNvPr id="1" name="Shape 3519"/>
        <p:cNvGrpSpPr/>
        <p:nvPr/>
      </p:nvGrpSpPr>
      <p:grpSpPr>
        <a:xfrm>
          <a:off x="0" y="0"/>
          <a:ext cx="0" cy="0"/>
          <a:chOff x="0" y="0"/>
          <a:chExt cx="0" cy="0"/>
        </a:xfrm>
      </p:grpSpPr>
      <p:sp>
        <p:nvSpPr>
          <p:cNvPr id="3520" name="Google Shape;3520;p46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521" name="Google Shape;3521;p461"/>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522" name="Google Shape;3522;p461"/>
          <p:cNvGrpSpPr/>
          <p:nvPr/>
        </p:nvGrpSpPr>
        <p:grpSpPr>
          <a:xfrm>
            <a:off x="1" y="5379425"/>
            <a:ext cx="2807363" cy="753895"/>
            <a:chOff x="0" y="5379424"/>
            <a:chExt cx="2807363" cy="753895"/>
          </a:xfrm>
        </p:grpSpPr>
        <p:sp>
          <p:nvSpPr>
            <p:cNvPr id="3523" name="Google Shape;3523;p46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24" name="Google Shape;3524;p46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525" name="Google Shape;3525;p461"/>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901866141"/>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matchingName="Quotation 5">
  <p:cSld name="Quotation 5">
    <p:spTree>
      <p:nvGrpSpPr>
        <p:cNvPr id="1" name="Shape 3526"/>
        <p:cNvGrpSpPr/>
        <p:nvPr/>
      </p:nvGrpSpPr>
      <p:grpSpPr>
        <a:xfrm>
          <a:off x="0" y="0"/>
          <a:ext cx="0" cy="0"/>
          <a:chOff x="0" y="0"/>
          <a:chExt cx="0" cy="0"/>
        </a:xfrm>
      </p:grpSpPr>
      <p:sp>
        <p:nvSpPr>
          <p:cNvPr id="3527" name="Google Shape;3527;p46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28" name="Google Shape;3528;p46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29" name="Google Shape;3529;p462"/>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30" name="Google Shape;3530;p46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31" name="Google Shape;3531;p4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32" name="Google Shape;3532;p46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33" name="Google Shape;3533;p462"/>
          <p:cNvGrpSpPr/>
          <p:nvPr/>
        </p:nvGrpSpPr>
        <p:grpSpPr>
          <a:xfrm>
            <a:off x="7191545" y="0"/>
            <a:ext cx="5000460" cy="1425988"/>
            <a:chOff x="7191545" y="0"/>
            <a:chExt cx="5000460" cy="1425988"/>
          </a:xfrm>
        </p:grpSpPr>
        <p:pic>
          <p:nvPicPr>
            <p:cNvPr id="3534" name="Google Shape;3534;p4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535" name="Google Shape;3535;p462"/>
            <p:cNvGrpSpPr/>
            <p:nvPr/>
          </p:nvGrpSpPr>
          <p:grpSpPr>
            <a:xfrm>
              <a:off x="7191545" y="0"/>
              <a:ext cx="5000460" cy="1425988"/>
              <a:chOff x="7191545" y="0"/>
              <a:chExt cx="5000460" cy="1425988"/>
            </a:xfrm>
          </p:grpSpPr>
          <p:sp>
            <p:nvSpPr>
              <p:cNvPr id="3536" name="Google Shape;3536;p4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537" name="Google Shape;3537;p4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538" name="Google Shape;3538;p462"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4066924688"/>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matchingName="Quotation 6">
  <p:cSld name="Quotation 6">
    <p:spTree>
      <p:nvGrpSpPr>
        <p:cNvPr id="1" name="Shape 3539"/>
        <p:cNvGrpSpPr/>
        <p:nvPr/>
      </p:nvGrpSpPr>
      <p:grpSpPr>
        <a:xfrm>
          <a:off x="0" y="0"/>
          <a:ext cx="0" cy="0"/>
          <a:chOff x="0" y="0"/>
          <a:chExt cx="0" cy="0"/>
        </a:xfrm>
      </p:grpSpPr>
      <p:sp>
        <p:nvSpPr>
          <p:cNvPr id="3540" name="Google Shape;3540;p46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41" name="Google Shape;3541;p46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42" name="Google Shape;3542;p46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43" name="Google Shape;3543;p46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44" name="Google Shape;3544;p4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45" name="Google Shape;3545;p46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46" name="Google Shape;3546;p463"/>
          <p:cNvGrpSpPr/>
          <p:nvPr/>
        </p:nvGrpSpPr>
        <p:grpSpPr>
          <a:xfrm>
            <a:off x="7191545" y="0"/>
            <a:ext cx="5000460" cy="1425988"/>
            <a:chOff x="7191545" y="0"/>
            <a:chExt cx="5000460" cy="1425988"/>
          </a:xfrm>
        </p:grpSpPr>
        <p:pic>
          <p:nvPicPr>
            <p:cNvPr id="3547" name="Google Shape;3547;p4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548" name="Google Shape;3548;p463"/>
            <p:cNvGrpSpPr/>
            <p:nvPr/>
          </p:nvGrpSpPr>
          <p:grpSpPr>
            <a:xfrm>
              <a:off x="7191545" y="0"/>
              <a:ext cx="5000460" cy="1425988"/>
              <a:chOff x="7191545" y="0"/>
              <a:chExt cx="5000460" cy="1425988"/>
            </a:xfrm>
          </p:grpSpPr>
          <p:sp>
            <p:nvSpPr>
              <p:cNvPr id="3549" name="Google Shape;3549;p4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550" name="Google Shape;3550;p4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551" name="Google Shape;3551;p46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32873789"/>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matchingName="Two Content 4">
  <p:cSld name="Two Content 4">
    <p:spTree>
      <p:nvGrpSpPr>
        <p:cNvPr id="1" name="Shape 3552"/>
        <p:cNvGrpSpPr/>
        <p:nvPr/>
      </p:nvGrpSpPr>
      <p:grpSpPr>
        <a:xfrm>
          <a:off x="0" y="0"/>
          <a:ext cx="0" cy="0"/>
          <a:chOff x="0" y="0"/>
          <a:chExt cx="0" cy="0"/>
        </a:xfrm>
      </p:grpSpPr>
      <p:sp>
        <p:nvSpPr>
          <p:cNvPr id="3553" name="Google Shape;3553;p46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54" name="Google Shape;3554;p464"/>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555" name="Google Shape;3555;p464"/>
          <p:cNvGrpSpPr/>
          <p:nvPr/>
        </p:nvGrpSpPr>
        <p:grpSpPr>
          <a:xfrm>
            <a:off x="7191545" y="0"/>
            <a:ext cx="5000460" cy="1425988"/>
            <a:chOff x="7191545" y="0"/>
            <a:chExt cx="5000460" cy="1425988"/>
          </a:xfrm>
        </p:grpSpPr>
        <p:pic>
          <p:nvPicPr>
            <p:cNvPr id="3556" name="Google Shape;3556;p4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557" name="Google Shape;3557;p464"/>
            <p:cNvGrpSpPr/>
            <p:nvPr/>
          </p:nvGrpSpPr>
          <p:grpSpPr>
            <a:xfrm>
              <a:off x="7191545" y="0"/>
              <a:ext cx="5000460" cy="1425988"/>
              <a:chOff x="7191545" y="0"/>
              <a:chExt cx="5000460" cy="1425988"/>
            </a:xfrm>
          </p:grpSpPr>
          <p:sp>
            <p:nvSpPr>
              <p:cNvPr id="3558" name="Google Shape;3558;p4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559" name="Google Shape;3559;p4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560" name="Google Shape;3560;p464"/>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61" name="Google Shape;3561;p464"/>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62" name="Google Shape;3562;p4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63" name="Google Shape;3563;p46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78284620"/>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matchingName="Comparison 3">
  <p:cSld name="Comparison 3">
    <p:spTree>
      <p:nvGrpSpPr>
        <p:cNvPr id="1" name="Shape 3564"/>
        <p:cNvGrpSpPr/>
        <p:nvPr/>
      </p:nvGrpSpPr>
      <p:grpSpPr>
        <a:xfrm>
          <a:off x="0" y="0"/>
          <a:ext cx="0" cy="0"/>
          <a:chOff x="0" y="0"/>
          <a:chExt cx="0" cy="0"/>
        </a:xfrm>
      </p:grpSpPr>
      <p:grpSp>
        <p:nvGrpSpPr>
          <p:cNvPr id="3565" name="Google Shape;3565;p465"/>
          <p:cNvGrpSpPr/>
          <p:nvPr/>
        </p:nvGrpSpPr>
        <p:grpSpPr>
          <a:xfrm>
            <a:off x="7191545" y="0"/>
            <a:ext cx="5000460" cy="1425988"/>
            <a:chOff x="7191545" y="0"/>
            <a:chExt cx="5000460" cy="1425988"/>
          </a:xfrm>
        </p:grpSpPr>
        <p:pic>
          <p:nvPicPr>
            <p:cNvPr id="3566" name="Google Shape;3566;p4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567" name="Google Shape;3567;p465"/>
            <p:cNvGrpSpPr/>
            <p:nvPr/>
          </p:nvGrpSpPr>
          <p:grpSpPr>
            <a:xfrm>
              <a:off x="7191545" y="0"/>
              <a:ext cx="5000460" cy="1425988"/>
              <a:chOff x="7191545" y="0"/>
              <a:chExt cx="5000460" cy="1425988"/>
            </a:xfrm>
          </p:grpSpPr>
          <p:sp>
            <p:nvSpPr>
              <p:cNvPr id="3568" name="Google Shape;3568;p4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569" name="Google Shape;3569;p4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570" name="Google Shape;3570;p46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71" name="Google Shape;3571;p465"/>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72" name="Google Shape;3572;p465"/>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73" name="Google Shape;3573;p465"/>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74" name="Google Shape;3574;p465"/>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75" name="Google Shape;3575;p46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76" name="Google Shape;3576;p4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77" name="Google Shape;3577;p46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79264704"/>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3578"/>
        <p:cNvGrpSpPr/>
        <p:nvPr/>
      </p:nvGrpSpPr>
      <p:grpSpPr>
        <a:xfrm>
          <a:off x="0" y="0"/>
          <a:ext cx="0" cy="0"/>
          <a:chOff x="0" y="0"/>
          <a:chExt cx="0" cy="0"/>
        </a:xfrm>
      </p:grpSpPr>
      <p:grpSp>
        <p:nvGrpSpPr>
          <p:cNvPr id="3579" name="Google Shape;3579;p466"/>
          <p:cNvGrpSpPr/>
          <p:nvPr/>
        </p:nvGrpSpPr>
        <p:grpSpPr>
          <a:xfrm>
            <a:off x="7191545" y="0"/>
            <a:ext cx="5000460" cy="1425988"/>
            <a:chOff x="7191545" y="0"/>
            <a:chExt cx="5000460" cy="1425988"/>
          </a:xfrm>
        </p:grpSpPr>
        <p:pic>
          <p:nvPicPr>
            <p:cNvPr id="3580" name="Google Shape;3580;p46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581" name="Google Shape;3581;p466"/>
            <p:cNvGrpSpPr/>
            <p:nvPr/>
          </p:nvGrpSpPr>
          <p:grpSpPr>
            <a:xfrm>
              <a:off x="7191545" y="0"/>
              <a:ext cx="5000460" cy="1425988"/>
              <a:chOff x="7191545" y="0"/>
              <a:chExt cx="5000460" cy="1425988"/>
            </a:xfrm>
          </p:grpSpPr>
          <p:sp>
            <p:nvSpPr>
              <p:cNvPr id="3582" name="Google Shape;3582;p46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583" name="Google Shape;3583;p46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584" name="Google Shape;3584;p46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5" name="Google Shape;3585;p46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86" name="Google Shape;3586;p46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87" name="Google Shape;3587;p46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79162217"/>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matchingName="End 3">
  <p:cSld name="End 3">
    <p:spTree>
      <p:nvGrpSpPr>
        <p:cNvPr id="1" name="Shape 3588"/>
        <p:cNvGrpSpPr/>
        <p:nvPr/>
      </p:nvGrpSpPr>
      <p:grpSpPr>
        <a:xfrm>
          <a:off x="0" y="0"/>
          <a:ext cx="0" cy="0"/>
          <a:chOff x="0" y="0"/>
          <a:chExt cx="0" cy="0"/>
        </a:xfrm>
      </p:grpSpPr>
      <p:grpSp>
        <p:nvGrpSpPr>
          <p:cNvPr id="3589" name="Google Shape;3589;p467"/>
          <p:cNvGrpSpPr/>
          <p:nvPr/>
        </p:nvGrpSpPr>
        <p:grpSpPr>
          <a:xfrm>
            <a:off x="0" y="0"/>
            <a:ext cx="12191996" cy="2148830"/>
            <a:chOff x="0" y="0"/>
            <a:chExt cx="12191996" cy="2148830"/>
          </a:xfrm>
        </p:grpSpPr>
        <p:sp>
          <p:nvSpPr>
            <p:cNvPr id="3590" name="Google Shape;3590;p46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591" name="Google Shape;3591;p46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592" name="Google Shape;3592;p467"/>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593" name="Google Shape;3593;p467"/>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594" name="Google Shape;3594;p467"/>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595" name="Google Shape;3595;p46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3417877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matchingName="Blank 2">
  <p:cSld name="Blank 2">
    <p:spTree>
      <p:nvGrpSpPr>
        <p:cNvPr id="1" name="Shape 3596"/>
        <p:cNvGrpSpPr/>
        <p:nvPr/>
      </p:nvGrpSpPr>
      <p:grpSpPr>
        <a:xfrm>
          <a:off x="0" y="0"/>
          <a:ext cx="0" cy="0"/>
          <a:chOff x="0" y="0"/>
          <a:chExt cx="0" cy="0"/>
        </a:xfrm>
      </p:grpSpPr>
      <p:sp>
        <p:nvSpPr>
          <p:cNvPr id="3597" name="Google Shape;3597;p46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598" name="Google Shape;3598;p46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599" name="Google Shape;3599;p46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00" name="Google Shape;3600;p468"/>
          <p:cNvGrpSpPr/>
          <p:nvPr/>
        </p:nvGrpSpPr>
        <p:grpSpPr>
          <a:xfrm>
            <a:off x="7191545" y="0"/>
            <a:ext cx="5000460" cy="1425988"/>
            <a:chOff x="7191545" y="0"/>
            <a:chExt cx="5000460" cy="1425988"/>
          </a:xfrm>
        </p:grpSpPr>
        <p:pic>
          <p:nvPicPr>
            <p:cNvPr id="3601" name="Google Shape;3601;p46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602" name="Google Shape;3602;p468"/>
            <p:cNvGrpSpPr/>
            <p:nvPr/>
          </p:nvGrpSpPr>
          <p:grpSpPr>
            <a:xfrm>
              <a:off x="7191545" y="0"/>
              <a:ext cx="5000460" cy="1425988"/>
              <a:chOff x="7191545" y="0"/>
              <a:chExt cx="5000460" cy="1425988"/>
            </a:xfrm>
          </p:grpSpPr>
          <p:sp>
            <p:nvSpPr>
              <p:cNvPr id="3603" name="Google Shape;3603;p46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04" name="Google Shape;3604;p46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311783944"/>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3605"/>
        <p:cNvGrpSpPr/>
        <p:nvPr/>
      </p:nvGrpSpPr>
      <p:grpSpPr>
        <a:xfrm>
          <a:off x="0" y="0"/>
          <a:ext cx="0" cy="0"/>
          <a:chOff x="0" y="0"/>
          <a:chExt cx="0" cy="0"/>
        </a:xfrm>
      </p:grpSpPr>
      <p:sp>
        <p:nvSpPr>
          <p:cNvPr id="3606" name="Google Shape;3606;p469"/>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07" name="Google Shape;3607;p469"/>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608" name="Google Shape;3608;p469"/>
          <p:cNvGrpSpPr/>
          <p:nvPr/>
        </p:nvGrpSpPr>
        <p:grpSpPr>
          <a:xfrm>
            <a:off x="0" y="0"/>
            <a:ext cx="6418722" cy="1509820"/>
            <a:chOff x="0" y="0"/>
            <a:chExt cx="6418722" cy="1509820"/>
          </a:xfrm>
        </p:grpSpPr>
        <p:sp>
          <p:nvSpPr>
            <p:cNvPr id="3609" name="Google Shape;3609;p469"/>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10" name="Google Shape;3610;p469"/>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3611" name="Google Shape;3611;p469"/>
          <p:cNvPicPr preferRelativeResize="0"/>
          <p:nvPr/>
        </p:nvPicPr>
        <p:blipFill rotWithShape="1">
          <a:blip r:embed="rId2">
            <a:alphaModFix/>
          </a:blip>
          <a:srcRect/>
          <a:stretch/>
        </p:blipFill>
        <p:spPr>
          <a:xfrm>
            <a:off x="513345" y="136529"/>
            <a:ext cx="1945203" cy="879972"/>
          </a:xfrm>
          <a:prstGeom prst="rect">
            <a:avLst/>
          </a:prstGeom>
          <a:noFill/>
          <a:ln>
            <a:noFill/>
          </a:ln>
        </p:spPr>
      </p:pic>
    </p:spTree>
    <p:extLst>
      <p:ext uri="{BB962C8B-B14F-4D97-AF65-F5344CB8AC3E}">
        <p14:creationId xmlns:p14="http://schemas.microsoft.com/office/powerpoint/2010/main" val="3821565980"/>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matchingName="1_Cover 5">
  <p:cSld name="1_Cover 5">
    <p:spTree>
      <p:nvGrpSpPr>
        <p:cNvPr id="1" name="Shape 3612"/>
        <p:cNvGrpSpPr/>
        <p:nvPr/>
      </p:nvGrpSpPr>
      <p:grpSpPr>
        <a:xfrm>
          <a:off x="0" y="0"/>
          <a:ext cx="0" cy="0"/>
          <a:chOff x="0" y="0"/>
          <a:chExt cx="0" cy="0"/>
        </a:xfrm>
      </p:grpSpPr>
      <p:sp>
        <p:nvSpPr>
          <p:cNvPr id="3613" name="Google Shape;3613;p470"/>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14" name="Google Shape;3614;p47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15" name="Google Shape;3615;p47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616" name="Google Shape;3616;p470"/>
          <p:cNvGrpSpPr/>
          <p:nvPr/>
        </p:nvGrpSpPr>
        <p:grpSpPr>
          <a:xfrm>
            <a:off x="0" y="5020349"/>
            <a:ext cx="12191996" cy="1837651"/>
            <a:chOff x="0" y="5020348"/>
            <a:chExt cx="12191996" cy="1837651"/>
          </a:xfrm>
        </p:grpSpPr>
        <p:sp>
          <p:nvSpPr>
            <p:cNvPr id="3617" name="Google Shape;3617;p47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18" name="Google Shape;3618;p47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619" name="Google Shape;3619;p47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882154034"/>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matchingName="1_Divider 6">
  <p:cSld name="1_Divider 6">
    <p:spTree>
      <p:nvGrpSpPr>
        <p:cNvPr id="1" name="Shape 3620"/>
        <p:cNvGrpSpPr/>
        <p:nvPr/>
      </p:nvGrpSpPr>
      <p:grpSpPr>
        <a:xfrm>
          <a:off x="0" y="0"/>
          <a:ext cx="0" cy="0"/>
          <a:chOff x="0" y="0"/>
          <a:chExt cx="0" cy="0"/>
        </a:xfrm>
      </p:grpSpPr>
      <p:grpSp>
        <p:nvGrpSpPr>
          <p:cNvPr id="3621" name="Google Shape;3621;p471"/>
          <p:cNvGrpSpPr/>
          <p:nvPr/>
        </p:nvGrpSpPr>
        <p:grpSpPr>
          <a:xfrm>
            <a:off x="0" y="5020349"/>
            <a:ext cx="12191996" cy="1837651"/>
            <a:chOff x="0" y="5020348"/>
            <a:chExt cx="12191996" cy="1837651"/>
          </a:xfrm>
        </p:grpSpPr>
        <p:sp>
          <p:nvSpPr>
            <p:cNvPr id="3622" name="Google Shape;3622;p47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23" name="Google Shape;3623;p47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24" name="Google Shape;3624;p47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625" name="Google Shape;3625;p47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626" name="Google Shape;3626;p471"/>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7" name="Google Shape;3627;p47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3657438"/>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matchingName="1_Photo Slide 5">
  <p:cSld name="1_Photo Slide 5">
    <p:spTree>
      <p:nvGrpSpPr>
        <p:cNvPr id="1" name="Shape 3628"/>
        <p:cNvGrpSpPr/>
        <p:nvPr/>
      </p:nvGrpSpPr>
      <p:grpSpPr>
        <a:xfrm>
          <a:off x="0" y="0"/>
          <a:ext cx="0" cy="0"/>
          <a:chOff x="0" y="0"/>
          <a:chExt cx="0" cy="0"/>
        </a:xfrm>
      </p:grpSpPr>
      <p:sp>
        <p:nvSpPr>
          <p:cNvPr id="3629" name="Google Shape;3629;p47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630" name="Google Shape;3630;p472"/>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631" name="Google Shape;3631;p472"/>
          <p:cNvGrpSpPr/>
          <p:nvPr/>
        </p:nvGrpSpPr>
        <p:grpSpPr>
          <a:xfrm>
            <a:off x="1" y="5379425"/>
            <a:ext cx="2807363" cy="753895"/>
            <a:chOff x="0" y="5379424"/>
            <a:chExt cx="2807363" cy="753895"/>
          </a:xfrm>
        </p:grpSpPr>
        <p:sp>
          <p:nvSpPr>
            <p:cNvPr id="3632" name="Google Shape;3632;p47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33" name="Google Shape;3633;p47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634" name="Google Shape;3634;p472"/>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22930832"/>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matchingName="1_Quotation 5">
  <p:cSld name="1_Quotation 5">
    <p:spTree>
      <p:nvGrpSpPr>
        <p:cNvPr id="1" name="Shape 3635"/>
        <p:cNvGrpSpPr/>
        <p:nvPr/>
      </p:nvGrpSpPr>
      <p:grpSpPr>
        <a:xfrm>
          <a:off x="0" y="0"/>
          <a:ext cx="0" cy="0"/>
          <a:chOff x="0" y="0"/>
          <a:chExt cx="0" cy="0"/>
        </a:xfrm>
      </p:grpSpPr>
      <p:sp>
        <p:nvSpPr>
          <p:cNvPr id="3636" name="Google Shape;3636;p47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37" name="Google Shape;3637;p47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38" name="Google Shape;3638;p47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39" name="Google Shape;3639;p47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640" name="Google Shape;3640;p47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641" name="Google Shape;3641;p47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42" name="Google Shape;3642;p473"/>
          <p:cNvGrpSpPr/>
          <p:nvPr/>
        </p:nvGrpSpPr>
        <p:grpSpPr>
          <a:xfrm>
            <a:off x="7191545" y="0"/>
            <a:ext cx="5000460" cy="1425988"/>
            <a:chOff x="7191545" y="0"/>
            <a:chExt cx="5000460" cy="1425988"/>
          </a:xfrm>
        </p:grpSpPr>
        <p:pic>
          <p:nvPicPr>
            <p:cNvPr id="3643" name="Google Shape;3643;p47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644" name="Google Shape;3644;p473"/>
            <p:cNvGrpSpPr/>
            <p:nvPr/>
          </p:nvGrpSpPr>
          <p:grpSpPr>
            <a:xfrm>
              <a:off x="7191545" y="0"/>
              <a:ext cx="5000460" cy="1425988"/>
              <a:chOff x="7191545" y="0"/>
              <a:chExt cx="5000460" cy="1425988"/>
            </a:xfrm>
          </p:grpSpPr>
          <p:sp>
            <p:nvSpPr>
              <p:cNvPr id="3645" name="Google Shape;3645;p47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46" name="Google Shape;3646;p47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647" name="Google Shape;3647;p47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911240099"/>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matchingName="1_Quotation 6">
  <p:cSld name="1_Quotation 6">
    <p:spTree>
      <p:nvGrpSpPr>
        <p:cNvPr id="1" name="Shape 3648"/>
        <p:cNvGrpSpPr/>
        <p:nvPr/>
      </p:nvGrpSpPr>
      <p:grpSpPr>
        <a:xfrm>
          <a:off x="0" y="0"/>
          <a:ext cx="0" cy="0"/>
          <a:chOff x="0" y="0"/>
          <a:chExt cx="0" cy="0"/>
        </a:xfrm>
      </p:grpSpPr>
      <p:sp>
        <p:nvSpPr>
          <p:cNvPr id="3649" name="Google Shape;3649;p47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650" name="Google Shape;3650;p47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51" name="Google Shape;3651;p474"/>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52" name="Google Shape;3652;p47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653" name="Google Shape;3653;p4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654" name="Google Shape;3654;p47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55" name="Google Shape;3655;p474"/>
          <p:cNvGrpSpPr/>
          <p:nvPr/>
        </p:nvGrpSpPr>
        <p:grpSpPr>
          <a:xfrm>
            <a:off x="7191545" y="0"/>
            <a:ext cx="5000460" cy="1425988"/>
            <a:chOff x="7191545" y="0"/>
            <a:chExt cx="5000460" cy="1425988"/>
          </a:xfrm>
        </p:grpSpPr>
        <p:pic>
          <p:nvPicPr>
            <p:cNvPr id="3656" name="Google Shape;3656;p4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657" name="Google Shape;3657;p474"/>
            <p:cNvGrpSpPr/>
            <p:nvPr/>
          </p:nvGrpSpPr>
          <p:grpSpPr>
            <a:xfrm>
              <a:off x="7191545" y="0"/>
              <a:ext cx="5000460" cy="1425988"/>
              <a:chOff x="7191545" y="0"/>
              <a:chExt cx="5000460" cy="1425988"/>
            </a:xfrm>
          </p:grpSpPr>
          <p:sp>
            <p:nvSpPr>
              <p:cNvPr id="3658" name="Google Shape;3658;p4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59" name="Google Shape;3659;p4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660" name="Google Shape;3660;p474"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411598492"/>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matchingName="1_Two Content 4">
  <p:cSld name="1_Two Content 4">
    <p:spTree>
      <p:nvGrpSpPr>
        <p:cNvPr id="1" name="Shape 3661"/>
        <p:cNvGrpSpPr/>
        <p:nvPr/>
      </p:nvGrpSpPr>
      <p:grpSpPr>
        <a:xfrm>
          <a:off x="0" y="0"/>
          <a:ext cx="0" cy="0"/>
          <a:chOff x="0" y="0"/>
          <a:chExt cx="0" cy="0"/>
        </a:xfrm>
      </p:grpSpPr>
      <p:sp>
        <p:nvSpPr>
          <p:cNvPr id="3662" name="Google Shape;3662;p47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63" name="Google Shape;3663;p475"/>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664" name="Google Shape;3664;p475"/>
          <p:cNvGrpSpPr/>
          <p:nvPr/>
        </p:nvGrpSpPr>
        <p:grpSpPr>
          <a:xfrm>
            <a:off x="7191545" y="0"/>
            <a:ext cx="5000460" cy="1425988"/>
            <a:chOff x="7191545" y="0"/>
            <a:chExt cx="5000460" cy="1425988"/>
          </a:xfrm>
        </p:grpSpPr>
        <p:pic>
          <p:nvPicPr>
            <p:cNvPr id="3665" name="Google Shape;3665;p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666" name="Google Shape;3666;p475"/>
            <p:cNvGrpSpPr/>
            <p:nvPr/>
          </p:nvGrpSpPr>
          <p:grpSpPr>
            <a:xfrm>
              <a:off x="7191545" y="0"/>
              <a:ext cx="5000460" cy="1425988"/>
              <a:chOff x="7191545" y="0"/>
              <a:chExt cx="5000460" cy="1425988"/>
            </a:xfrm>
          </p:grpSpPr>
          <p:sp>
            <p:nvSpPr>
              <p:cNvPr id="3667" name="Google Shape;3667;p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68" name="Google Shape;3668;p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669" name="Google Shape;3669;p475"/>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70" name="Google Shape;3670;p475"/>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671" name="Google Shape;3671;p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672" name="Google Shape;3672;p47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53238533"/>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matchingName="1_Comparison 3">
  <p:cSld name="1_Comparison 3">
    <p:spTree>
      <p:nvGrpSpPr>
        <p:cNvPr id="1" name="Shape 3673"/>
        <p:cNvGrpSpPr/>
        <p:nvPr/>
      </p:nvGrpSpPr>
      <p:grpSpPr>
        <a:xfrm>
          <a:off x="0" y="0"/>
          <a:ext cx="0" cy="0"/>
          <a:chOff x="0" y="0"/>
          <a:chExt cx="0" cy="0"/>
        </a:xfrm>
      </p:grpSpPr>
      <p:grpSp>
        <p:nvGrpSpPr>
          <p:cNvPr id="3674" name="Google Shape;3674;p476"/>
          <p:cNvGrpSpPr/>
          <p:nvPr/>
        </p:nvGrpSpPr>
        <p:grpSpPr>
          <a:xfrm>
            <a:off x="7191545" y="0"/>
            <a:ext cx="5000460" cy="1425988"/>
            <a:chOff x="7191545" y="0"/>
            <a:chExt cx="5000460" cy="1425988"/>
          </a:xfrm>
        </p:grpSpPr>
        <p:pic>
          <p:nvPicPr>
            <p:cNvPr id="3675" name="Google Shape;3675;p4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676" name="Google Shape;3676;p476"/>
            <p:cNvGrpSpPr/>
            <p:nvPr/>
          </p:nvGrpSpPr>
          <p:grpSpPr>
            <a:xfrm>
              <a:off x="7191545" y="0"/>
              <a:ext cx="5000460" cy="1425988"/>
              <a:chOff x="7191545" y="0"/>
              <a:chExt cx="5000460" cy="1425988"/>
            </a:xfrm>
          </p:grpSpPr>
          <p:sp>
            <p:nvSpPr>
              <p:cNvPr id="3677" name="Google Shape;3677;p4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78" name="Google Shape;3678;p4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679" name="Google Shape;3679;p47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80" name="Google Shape;3680;p47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81" name="Google Shape;3681;p476"/>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82" name="Google Shape;3682;p476"/>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83" name="Google Shape;3683;p476"/>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684" name="Google Shape;3684;p47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685" name="Google Shape;3685;p4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686" name="Google Shape;3686;p47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64739217"/>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matchingName="1_Title Only 3">
  <p:cSld name="1_Title Only 3">
    <p:spTree>
      <p:nvGrpSpPr>
        <p:cNvPr id="1" name="Shape 3687"/>
        <p:cNvGrpSpPr/>
        <p:nvPr/>
      </p:nvGrpSpPr>
      <p:grpSpPr>
        <a:xfrm>
          <a:off x="0" y="0"/>
          <a:ext cx="0" cy="0"/>
          <a:chOff x="0" y="0"/>
          <a:chExt cx="0" cy="0"/>
        </a:xfrm>
      </p:grpSpPr>
      <p:grpSp>
        <p:nvGrpSpPr>
          <p:cNvPr id="3688" name="Google Shape;3688;p477"/>
          <p:cNvGrpSpPr/>
          <p:nvPr/>
        </p:nvGrpSpPr>
        <p:grpSpPr>
          <a:xfrm>
            <a:off x="7191545" y="0"/>
            <a:ext cx="5000460" cy="1425988"/>
            <a:chOff x="7191545" y="0"/>
            <a:chExt cx="5000460" cy="1425988"/>
          </a:xfrm>
        </p:grpSpPr>
        <p:pic>
          <p:nvPicPr>
            <p:cNvPr id="3689" name="Google Shape;3689;p4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690" name="Google Shape;3690;p477"/>
            <p:cNvGrpSpPr/>
            <p:nvPr/>
          </p:nvGrpSpPr>
          <p:grpSpPr>
            <a:xfrm>
              <a:off x="7191545" y="0"/>
              <a:ext cx="5000460" cy="1425988"/>
              <a:chOff x="7191545" y="0"/>
              <a:chExt cx="5000460" cy="1425988"/>
            </a:xfrm>
          </p:grpSpPr>
          <p:sp>
            <p:nvSpPr>
              <p:cNvPr id="3691" name="Google Shape;3691;p4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692" name="Google Shape;3692;p4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693" name="Google Shape;3693;p47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94" name="Google Shape;3694;p47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695" name="Google Shape;3695;p4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696" name="Google Shape;3696;p47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7862185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matchingName="1_End 3">
  <p:cSld name="1_End 3">
    <p:spTree>
      <p:nvGrpSpPr>
        <p:cNvPr id="1" name="Shape 3697"/>
        <p:cNvGrpSpPr/>
        <p:nvPr/>
      </p:nvGrpSpPr>
      <p:grpSpPr>
        <a:xfrm>
          <a:off x="0" y="0"/>
          <a:ext cx="0" cy="0"/>
          <a:chOff x="0" y="0"/>
          <a:chExt cx="0" cy="0"/>
        </a:xfrm>
      </p:grpSpPr>
      <p:grpSp>
        <p:nvGrpSpPr>
          <p:cNvPr id="3698" name="Google Shape;3698;p478"/>
          <p:cNvGrpSpPr/>
          <p:nvPr/>
        </p:nvGrpSpPr>
        <p:grpSpPr>
          <a:xfrm>
            <a:off x="0" y="0"/>
            <a:ext cx="12191996" cy="2148830"/>
            <a:chOff x="0" y="0"/>
            <a:chExt cx="12191996" cy="2148830"/>
          </a:xfrm>
        </p:grpSpPr>
        <p:sp>
          <p:nvSpPr>
            <p:cNvPr id="3699" name="Google Shape;3699;p47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00" name="Google Shape;3700;p47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701" name="Google Shape;3701;p478"/>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02" name="Google Shape;3702;p478"/>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03" name="Google Shape;3703;p47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704" name="Google Shape;3704;p47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04878818"/>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matchingName="1_Blank 2">
  <p:cSld name="1_Blank 2">
    <p:spTree>
      <p:nvGrpSpPr>
        <p:cNvPr id="1" name="Shape 3705"/>
        <p:cNvGrpSpPr/>
        <p:nvPr/>
      </p:nvGrpSpPr>
      <p:grpSpPr>
        <a:xfrm>
          <a:off x="0" y="0"/>
          <a:ext cx="0" cy="0"/>
          <a:chOff x="0" y="0"/>
          <a:chExt cx="0" cy="0"/>
        </a:xfrm>
      </p:grpSpPr>
      <p:sp>
        <p:nvSpPr>
          <p:cNvPr id="3706" name="Google Shape;3706;p47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707" name="Google Shape;3707;p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708" name="Google Shape;3708;p47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09" name="Google Shape;3709;p479"/>
          <p:cNvGrpSpPr/>
          <p:nvPr/>
        </p:nvGrpSpPr>
        <p:grpSpPr>
          <a:xfrm>
            <a:off x="7191545" y="0"/>
            <a:ext cx="5000460" cy="1425988"/>
            <a:chOff x="7191545" y="0"/>
            <a:chExt cx="5000460" cy="1425988"/>
          </a:xfrm>
        </p:grpSpPr>
        <p:pic>
          <p:nvPicPr>
            <p:cNvPr id="3710" name="Google Shape;3710;p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711" name="Google Shape;3711;p479"/>
            <p:cNvGrpSpPr/>
            <p:nvPr/>
          </p:nvGrpSpPr>
          <p:grpSpPr>
            <a:xfrm>
              <a:off x="7191545" y="0"/>
              <a:ext cx="5000460" cy="1425988"/>
              <a:chOff x="7191545" y="0"/>
              <a:chExt cx="5000460" cy="1425988"/>
            </a:xfrm>
          </p:grpSpPr>
          <p:sp>
            <p:nvSpPr>
              <p:cNvPr id="3712" name="Google Shape;3712;p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13" name="Google Shape;3713;p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079729770"/>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matchingName="Divider 7">
  <p:cSld name="Divider 7">
    <p:spTree>
      <p:nvGrpSpPr>
        <p:cNvPr id="1" name="Shape 3714"/>
        <p:cNvGrpSpPr/>
        <p:nvPr/>
      </p:nvGrpSpPr>
      <p:grpSpPr>
        <a:xfrm>
          <a:off x="0" y="0"/>
          <a:ext cx="0" cy="0"/>
          <a:chOff x="0" y="0"/>
          <a:chExt cx="0" cy="0"/>
        </a:xfrm>
      </p:grpSpPr>
      <p:grpSp>
        <p:nvGrpSpPr>
          <p:cNvPr id="3715" name="Google Shape;3715;p480"/>
          <p:cNvGrpSpPr/>
          <p:nvPr/>
        </p:nvGrpSpPr>
        <p:grpSpPr>
          <a:xfrm>
            <a:off x="0" y="5020349"/>
            <a:ext cx="12191996" cy="1837651"/>
            <a:chOff x="0" y="5020348"/>
            <a:chExt cx="12191996" cy="1837651"/>
          </a:xfrm>
        </p:grpSpPr>
        <p:sp>
          <p:nvSpPr>
            <p:cNvPr id="3716" name="Google Shape;3716;p48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17" name="Google Shape;3717;p48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18" name="Google Shape;3718;p48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719" name="Google Shape;3719;p48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720" name="Google Shape;3720;p480"/>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21" name="Google Shape;3721;p48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7028353"/>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matchingName="Photo Slide 6">
  <p:cSld name="Photo Slide 6">
    <p:spTree>
      <p:nvGrpSpPr>
        <p:cNvPr id="1" name="Shape 3722"/>
        <p:cNvGrpSpPr/>
        <p:nvPr/>
      </p:nvGrpSpPr>
      <p:grpSpPr>
        <a:xfrm>
          <a:off x="0" y="0"/>
          <a:ext cx="0" cy="0"/>
          <a:chOff x="0" y="0"/>
          <a:chExt cx="0" cy="0"/>
        </a:xfrm>
      </p:grpSpPr>
      <p:sp>
        <p:nvSpPr>
          <p:cNvPr id="3723" name="Google Shape;3723;p48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724" name="Google Shape;3724;p481"/>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725" name="Google Shape;3725;p481"/>
          <p:cNvGrpSpPr/>
          <p:nvPr/>
        </p:nvGrpSpPr>
        <p:grpSpPr>
          <a:xfrm>
            <a:off x="1" y="5379425"/>
            <a:ext cx="2807363" cy="753895"/>
            <a:chOff x="0" y="5379424"/>
            <a:chExt cx="2807363" cy="753895"/>
          </a:xfrm>
        </p:grpSpPr>
        <p:sp>
          <p:nvSpPr>
            <p:cNvPr id="3726" name="Google Shape;3726;p48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27" name="Google Shape;3727;p48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728" name="Google Shape;3728;p481"/>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1949018712"/>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matchingName="Cover 6">
  <p:cSld name="Cover 6">
    <p:spTree>
      <p:nvGrpSpPr>
        <p:cNvPr id="1" name="Shape 3729"/>
        <p:cNvGrpSpPr/>
        <p:nvPr/>
      </p:nvGrpSpPr>
      <p:grpSpPr>
        <a:xfrm>
          <a:off x="0" y="0"/>
          <a:ext cx="0" cy="0"/>
          <a:chOff x="0" y="0"/>
          <a:chExt cx="0" cy="0"/>
        </a:xfrm>
      </p:grpSpPr>
      <p:sp>
        <p:nvSpPr>
          <p:cNvPr id="3730" name="Google Shape;3730;p482"/>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31" name="Google Shape;3731;p48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2" name="Google Shape;3732;p48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733" name="Google Shape;3733;p482"/>
          <p:cNvGrpSpPr/>
          <p:nvPr/>
        </p:nvGrpSpPr>
        <p:grpSpPr>
          <a:xfrm>
            <a:off x="0" y="5020349"/>
            <a:ext cx="12191996" cy="1837651"/>
            <a:chOff x="0" y="5020348"/>
            <a:chExt cx="12191996" cy="1837651"/>
          </a:xfrm>
        </p:grpSpPr>
        <p:sp>
          <p:nvSpPr>
            <p:cNvPr id="3734" name="Google Shape;3734;p48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35" name="Google Shape;3735;p48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736" name="Google Shape;3736;p48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148374541"/>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matchingName="Title and Content 9">
  <p:cSld name="Title and Content 9">
    <p:spTree>
      <p:nvGrpSpPr>
        <p:cNvPr id="1" name="Shape 3737"/>
        <p:cNvGrpSpPr/>
        <p:nvPr/>
      </p:nvGrpSpPr>
      <p:grpSpPr>
        <a:xfrm>
          <a:off x="0" y="0"/>
          <a:ext cx="0" cy="0"/>
          <a:chOff x="0" y="0"/>
          <a:chExt cx="0" cy="0"/>
        </a:xfrm>
      </p:grpSpPr>
      <p:grpSp>
        <p:nvGrpSpPr>
          <p:cNvPr id="3738" name="Google Shape;3738;p483"/>
          <p:cNvGrpSpPr/>
          <p:nvPr/>
        </p:nvGrpSpPr>
        <p:grpSpPr>
          <a:xfrm>
            <a:off x="7191545" y="0"/>
            <a:ext cx="5000460" cy="1425988"/>
            <a:chOff x="7191545" y="0"/>
            <a:chExt cx="5000460" cy="1425988"/>
          </a:xfrm>
        </p:grpSpPr>
        <p:pic>
          <p:nvPicPr>
            <p:cNvPr id="3739" name="Google Shape;3739;p4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740" name="Google Shape;3740;p483"/>
            <p:cNvGrpSpPr/>
            <p:nvPr/>
          </p:nvGrpSpPr>
          <p:grpSpPr>
            <a:xfrm>
              <a:off x="7191545" y="0"/>
              <a:ext cx="5000460" cy="1425988"/>
              <a:chOff x="7191545" y="0"/>
              <a:chExt cx="5000460" cy="1425988"/>
            </a:xfrm>
          </p:grpSpPr>
          <p:sp>
            <p:nvSpPr>
              <p:cNvPr id="3741" name="Google Shape;3741;p4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42" name="Google Shape;3742;p4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743" name="Google Shape;3743;p48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4" name="Google Shape;3744;p48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45" name="Google Shape;3745;p48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746" name="Google Shape;3746;p4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747" name="Google Shape;3747;p48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81476460"/>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matchingName="Two Content 5">
  <p:cSld name="Two Content 5">
    <p:spTree>
      <p:nvGrpSpPr>
        <p:cNvPr id="1" name="Shape 3748"/>
        <p:cNvGrpSpPr/>
        <p:nvPr/>
      </p:nvGrpSpPr>
      <p:grpSpPr>
        <a:xfrm>
          <a:off x="0" y="0"/>
          <a:ext cx="0" cy="0"/>
          <a:chOff x="0" y="0"/>
          <a:chExt cx="0" cy="0"/>
        </a:xfrm>
      </p:grpSpPr>
      <p:sp>
        <p:nvSpPr>
          <p:cNvPr id="3749" name="Google Shape;3749;p48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0" name="Google Shape;3750;p484"/>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751" name="Google Shape;3751;p484"/>
          <p:cNvGrpSpPr/>
          <p:nvPr/>
        </p:nvGrpSpPr>
        <p:grpSpPr>
          <a:xfrm>
            <a:off x="7191545" y="0"/>
            <a:ext cx="5000460" cy="1425988"/>
            <a:chOff x="7191545" y="0"/>
            <a:chExt cx="5000460" cy="1425988"/>
          </a:xfrm>
        </p:grpSpPr>
        <p:pic>
          <p:nvPicPr>
            <p:cNvPr id="3752" name="Google Shape;3752;p4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753" name="Google Shape;3753;p484"/>
            <p:cNvGrpSpPr/>
            <p:nvPr/>
          </p:nvGrpSpPr>
          <p:grpSpPr>
            <a:xfrm>
              <a:off x="7191545" y="0"/>
              <a:ext cx="5000460" cy="1425988"/>
              <a:chOff x="7191545" y="0"/>
              <a:chExt cx="5000460" cy="1425988"/>
            </a:xfrm>
          </p:grpSpPr>
          <p:sp>
            <p:nvSpPr>
              <p:cNvPr id="3754" name="Google Shape;3754;p4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55" name="Google Shape;3755;p4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756" name="Google Shape;3756;p484"/>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57" name="Google Shape;3757;p484"/>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758" name="Google Shape;3758;p4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759" name="Google Shape;3759;p48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0739091"/>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matchingName="Comparison 4">
  <p:cSld name="Comparison 4">
    <p:spTree>
      <p:nvGrpSpPr>
        <p:cNvPr id="1" name="Shape 3760"/>
        <p:cNvGrpSpPr/>
        <p:nvPr/>
      </p:nvGrpSpPr>
      <p:grpSpPr>
        <a:xfrm>
          <a:off x="0" y="0"/>
          <a:ext cx="0" cy="0"/>
          <a:chOff x="0" y="0"/>
          <a:chExt cx="0" cy="0"/>
        </a:xfrm>
      </p:grpSpPr>
      <p:grpSp>
        <p:nvGrpSpPr>
          <p:cNvPr id="3761" name="Google Shape;3761;p485"/>
          <p:cNvGrpSpPr/>
          <p:nvPr/>
        </p:nvGrpSpPr>
        <p:grpSpPr>
          <a:xfrm>
            <a:off x="7191545" y="0"/>
            <a:ext cx="5000460" cy="1425988"/>
            <a:chOff x="7191545" y="0"/>
            <a:chExt cx="5000460" cy="1425988"/>
          </a:xfrm>
        </p:grpSpPr>
        <p:pic>
          <p:nvPicPr>
            <p:cNvPr id="3762" name="Google Shape;3762;p4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763" name="Google Shape;3763;p485"/>
            <p:cNvGrpSpPr/>
            <p:nvPr/>
          </p:nvGrpSpPr>
          <p:grpSpPr>
            <a:xfrm>
              <a:off x="7191545" y="0"/>
              <a:ext cx="5000460" cy="1425988"/>
              <a:chOff x="7191545" y="0"/>
              <a:chExt cx="5000460" cy="1425988"/>
            </a:xfrm>
          </p:grpSpPr>
          <p:sp>
            <p:nvSpPr>
              <p:cNvPr id="3764" name="Google Shape;3764;p4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65" name="Google Shape;3765;p4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766" name="Google Shape;3766;p48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7" name="Google Shape;3767;p485"/>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68" name="Google Shape;3768;p485"/>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69" name="Google Shape;3769;p485"/>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70" name="Google Shape;3770;p485"/>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71" name="Google Shape;3771;p48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772" name="Google Shape;3772;p4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773" name="Google Shape;3773;p48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380279"/>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matchingName="Quotation 7">
  <p:cSld name="Quotation 7">
    <p:spTree>
      <p:nvGrpSpPr>
        <p:cNvPr id="1" name="Shape 3774"/>
        <p:cNvGrpSpPr/>
        <p:nvPr/>
      </p:nvGrpSpPr>
      <p:grpSpPr>
        <a:xfrm>
          <a:off x="0" y="0"/>
          <a:ext cx="0" cy="0"/>
          <a:chOff x="0" y="0"/>
          <a:chExt cx="0" cy="0"/>
        </a:xfrm>
      </p:grpSpPr>
      <p:sp>
        <p:nvSpPr>
          <p:cNvPr id="3775" name="Google Shape;3775;p48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76" name="Google Shape;3776;p48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77" name="Google Shape;3777;p486"/>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78" name="Google Shape;3778;p48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779" name="Google Shape;3779;p4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780" name="Google Shape;3780;p48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81" name="Google Shape;3781;p486"/>
          <p:cNvGrpSpPr/>
          <p:nvPr/>
        </p:nvGrpSpPr>
        <p:grpSpPr>
          <a:xfrm>
            <a:off x="7191545" y="0"/>
            <a:ext cx="5000460" cy="1425988"/>
            <a:chOff x="7191545" y="0"/>
            <a:chExt cx="5000460" cy="1425988"/>
          </a:xfrm>
        </p:grpSpPr>
        <p:pic>
          <p:nvPicPr>
            <p:cNvPr id="3782" name="Google Shape;3782;p4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783" name="Google Shape;3783;p486"/>
            <p:cNvGrpSpPr/>
            <p:nvPr/>
          </p:nvGrpSpPr>
          <p:grpSpPr>
            <a:xfrm>
              <a:off x="7191545" y="0"/>
              <a:ext cx="5000460" cy="1425988"/>
              <a:chOff x="7191545" y="0"/>
              <a:chExt cx="5000460" cy="1425988"/>
            </a:xfrm>
          </p:grpSpPr>
          <p:sp>
            <p:nvSpPr>
              <p:cNvPr id="3784" name="Google Shape;3784;p4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85" name="Google Shape;3785;p4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786" name="Google Shape;3786;p486"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092750797"/>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matchingName="1_Quotation 7">
  <p:cSld name="1_Quotation 7">
    <p:spTree>
      <p:nvGrpSpPr>
        <p:cNvPr id="1" name="Shape 3787"/>
        <p:cNvGrpSpPr/>
        <p:nvPr/>
      </p:nvGrpSpPr>
      <p:grpSpPr>
        <a:xfrm>
          <a:off x="0" y="0"/>
          <a:ext cx="0" cy="0"/>
          <a:chOff x="0" y="0"/>
          <a:chExt cx="0" cy="0"/>
        </a:xfrm>
      </p:grpSpPr>
      <p:sp>
        <p:nvSpPr>
          <p:cNvPr id="3788" name="Google Shape;3788;p48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789" name="Google Shape;3789;p4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90" name="Google Shape;3790;p487"/>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791" name="Google Shape;3791;p48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792" name="Google Shape;3792;p4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793" name="Google Shape;3793;p48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94" name="Google Shape;3794;p487"/>
          <p:cNvGrpSpPr/>
          <p:nvPr/>
        </p:nvGrpSpPr>
        <p:grpSpPr>
          <a:xfrm>
            <a:off x="7191545" y="0"/>
            <a:ext cx="5000460" cy="1425988"/>
            <a:chOff x="7191545" y="0"/>
            <a:chExt cx="5000460" cy="1425988"/>
          </a:xfrm>
        </p:grpSpPr>
        <p:pic>
          <p:nvPicPr>
            <p:cNvPr id="3795" name="Google Shape;3795;p4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796" name="Google Shape;3796;p487"/>
            <p:cNvGrpSpPr/>
            <p:nvPr/>
          </p:nvGrpSpPr>
          <p:grpSpPr>
            <a:xfrm>
              <a:off x="7191545" y="0"/>
              <a:ext cx="5000460" cy="1425988"/>
              <a:chOff x="7191545" y="0"/>
              <a:chExt cx="5000460" cy="1425988"/>
            </a:xfrm>
          </p:grpSpPr>
          <p:sp>
            <p:nvSpPr>
              <p:cNvPr id="3797" name="Google Shape;3797;p4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798" name="Google Shape;3798;p4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799" name="Google Shape;3799;p487"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107188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matchingName="End 4">
  <p:cSld name="End 4">
    <p:spTree>
      <p:nvGrpSpPr>
        <p:cNvPr id="1" name="Shape 3800"/>
        <p:cNvGrpSpPr/>
        <p:nvPr/>
      </p:nvGrpSpPr>
      <p:grpSpPr>
        <a:xfrm>
          <a:off x="0" y="0"/>
          <a:ext cx="0" cy="0"/>
          <a:chOff x="0" y="0"/>
          <a:chExt cx="0" cy="0"/>
        </a:xfrm>
      </p:grpSpPr>
      <p:grpSp>
        <p:nvGrpSpPr>
          <p:cNvPr id="3801" name="Google Shape;3801;p488"/>
          <p:cNvGrpSpPr/>
          <p:nvPr/>
        </p:nvGrpSpPr>
        <p:grpSpPr>
          <a:xfrm>
            <a:off x="0" y="0"/>
            <a:ext cx="12191996" cy="2148830"/>
            <a:chOff x="0" y="0"/>
            <a:chExt cx="12191996" cy="2148830"/>
          </a:xfrm>
        </p:grpSpPr>
        <p:sp>
          <p:nvSpPr>
            <p:cNvPr id="3802" name="Google Shape;3802;p48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03" name="Google Shape;3803;p48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804" name="Google Shape;3804;p488"/>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05" name="Google Shape;3805;p488"/>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06" name="Google Shape;3806;p48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07" name="Google Shape;3807;p48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60518749"/>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3808"/>
        <p:cNvGrpSpPr/>
        <p:nvPr/>
      </p:nvGrpSpPr>
      <p:grpSpPr>
        <a:xfrm>
          <a:off x="0" y="0"/>
          <a:ext cx="0" cy="0"/>
          <a:chOff x="0" y="0"/>
          <a:chExt cx="0" cy="0"/>
        </a:xfrm>
      </p:grpSpPr>
      <p:grpSp>
        <p:nvGrpSpPr>
          <p:cNvPr id="3809" name="Google Shape;3809;p489"/>
          <p:cNvGrpSpPr/>
          <p:nvPr/>
        </p:nvGrpSpPr>
        <p:grpSpPr>
          <a:xfrm>
            <a:off x="7191545" y="0"/>
            <a:ext cx="5000460" cy="1425988"/>
            <a:chOff x="7191545" y="0"/>
            <a:chExt cx="5000460" cy="1425988"/>
          </a:xfrm>
        </p:grpSpPr>
        <p:pic>
          <p:nvPicPr>
            <p:cNvPr id="3810" name="Google Shape;3810;p4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811" name="Google Shape;3811;p489"/>
            <p:cNvGrpSpPr/>
            <p:nvPr/>
          </p:nvGrpSpPr>
          <p:grpSpPr>
            <a:xfrm>
              <a:off x="7191545" y="0"/>
              <a:ext cx="5000460" cy="1425988"/>
              <a:chOff x="7191545" y="0"/>
              <a:chExt cx="5000460" cy="1425988"/>
            </a:xfrm>
          </p:grpSpPr>
          <p:sp>
            <p:nvSpPr>
              <p:cNvPr id="3812" name="Google Shape;3812;p4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13" name="Google Shape;3813;p4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814" name="Google Shape;3814;p489"/>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15" name="Google Shape;3815;p48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816" name="Google Shape;3816;p4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817" name="Google Shape;3817;p48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86373849"/>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matchingName="End 5">
  <p:cSld name="End 5">
    <p:spTree>
      <p:nvGrpSpPr>
        <p:cNvPr id="1" name="Shape 3818"/>
        <p:cNvGrpSpPr/>
        <p:nvPr/>
      </p:nvGrpSpPr>
      <p:grpSpPr>
        <a:xfrm>
          <a:off x="0" y="0"/>
          <a:ext cx="0" cy="0"/>
          <a:chOff x="0" y="0"/>
          <a:chExt cx="0" cy="0"/>
        </a:xfrm>
      </p:grpSpPr>
      <p:grpSp>
        <p:nvGrpSpPr>
          <p:cNvPr id="3819" name="Google Shape;3819;p490"/>
          <p:cNvGrpSpPr/>
          <p:nvPr/>
        </p:nvGrpSpPr>
        <p:grpSpPr>
          <a:xfrm>
            <a:off x="0" y="0"/>
            <a:ext cx="12191996" cy="2148830"/>
            <a:chOff x="0" y="0"/>
            <a:chExt cx="12191996" cy="2148830"/>
          </a:xfrm>
        </p:grpSpPr>
        <p:sp>
          <p:nvSpPr>
            <p:cNvPr id="3820" name="Google Shape;3820;p49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21" name="Google Shape;3821;p49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822" name="Google Shape;3822;p490"/>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23" name="Google Shape;3823;p490"/>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24" name="Google Shape;3824;p490"/>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25" name="Google Shape;3825;p49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83164285"/>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3826"/>
        <p:cNvGrpSpPr/>
        <p:nvPr/>
      </p:nvGrpSpPr>
      <p:grpSpPr>
        <a:xfrm>
          <a:off x="0" y="0"/>
          <a:ext cx="0" cy="0"/>
          <a:chOff x="0" y="0"/>
          <a:chExt cx="0" cy="0"/>
        </a:xfrm>
      </p:grpSpPr>
      <p:sp>
        <p:nvSpPr>
          <p:cNvPr id="3827" name="Google Shape;3827;p49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828" name="Google Shape;3828;p4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829" name="Google Shape;3829;p49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30" name="Google Shape;3830;p491"/>
          <p:cNvGrpSpPr/>
          <p:nvPr/>
        </p:nvGrpSpPr>
        <p:grpSpPr>
          <a:xfrm>
            <a:off x="7191545" y="0"/>
            <a:ext cx="5000460" cy="1425988"/>
            <a:chOff x="7191545" y="0"/>
            <a:chExt cx="5000460" cy="1425988"/>
          </a:xfrm>
        </p:grpSpPr>
        <p:pic>
          <p:nvPicPr>
            <p:cNvPr id="3831" name="Google Shape;3831;p4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832" name="Google Shape;3832;p491"/>
            <p:cNvGrpSpPr/>
            <p:nvPr/>
          </p:nvGrpSpPr>
          <p:grpSpPr>
            <a:xfrm>
              <a:off x="7191545" y="0"/>
              <a:ext cx="5000460" cy="1425988"/>
              <a:chOff x="7191545" y="0"/>
              <a:chExt cx="5000460" cy="1425988"/>
            </a:xfrm>
          </p:grpSpPr>
          <p:sp>
            <p:nvSpPr>
              <p:cNvPr id="3833" name="Google Shape;3833;p4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34" name="Google Shape;3834;p4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896111833"/>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matchingName="Quotation 8">
  <p:cSld name="Quotation 8">
    <p:spTree>
      <p:nvGrpSpPr>
        <p:cNvPr id="1" name="Shape 3835"/>
        <p:cNvGrpSpPr/>
        <p:nvPr/>
      </p:nvGrpSpPr>
      <p:grpSpPr>
        <a:xfrm>
          <a:off x="0" y="0"/>
          <a:ext cx="0" cy="0"/>
          <a:chOff x="0" y="0"/>
          <a:chExt cx="0" cy="0"/>
        </a:xfrm>
      </p:grpSpPr>
      <p:sp>
        <p:nvSpPr>
          <p:cNvPr id="3836" name="Google Shape;3836;p49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37" name="Google Shape;3837;p49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38" name="Google Shape;3838;p492"/>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39" name="Google Shape;3839;p49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840" name="Google Shape;3840;p4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841" name="Google Shape;3841;p49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42" name="Google Shape;3842;p492"/>
          <p:cNvGrpSpPr/>
          <p:nvPr/>
        </p:nvGrpSpPr>
        <p:grpSpPr>
          <a:xfrm>
            <a:off x="7191545" y="0"/>
            <a:ext cx="5000460" cy="1425988"/>
            <a:chOff x="7191545" y="0"/>
            <a:chExt cx="5000460" cy="1425988"/>
          </a:xfrm>
        </p:grpSpPr>
        <p:pic>
          <p:nvPicPr>
            <p:cNvPr id="3843" name="Google Shape;3843;p4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844" name="Google Shape;3844;p492"/>
            <p:cNvGrpSpPr/>
            <p:nvPr/>
          </p:nvGrpSpPr>
          <p:grpSpPr>
            <a:xfrm>
              <a:off x="7191545" y="0"/>
              <a:ext cx="5000460" cy="1425988"/>
              <a:chOff x="7191545" y="0"/>
              <a:chExt cx="5000460" cy="1425988"/>
            </a:xfrm>
          </p:grpSpPr>
          <p:sp>
            <p:nvSpPr>
              <p:cNvPr id="3845" name="Google Shape;3845;p4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46" name="Google Shape;3846;p4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847" name="Google Shape;3847;p492"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806736346"/>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matchingName="1_Quotation 8">
  <p:cSld name="1_Quotation 8">
    <p:spTree>
      <p:nvGrpSpPr>
        <p:cNvPr id="1" name="Shape 3848"/>
        <p:cNvGrpSpPr/>
        <p:nvPr/>
      </p:nvGrpSpPr>
      <p:grpSpPr>
        <a:xfrm>
          <a:off x="0" y="0"/>
          <a:ext cx="0" cy="0"/>
          <a:chOff x="0" y="0"/>
          <a:chExt cx="0" cy="0"/>
        </a:xfrm>
      </p:grpSpPr>
      <p:sp>
        <p:nvSpPr>
          <p:cNvPr id="3849" name="Google Shape;3849;p49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50" name="Google Shape;3850;p49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51" name="Google Shape;3851;p49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52" name="Google Shape;3852;p49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853" name="Google Shape;3853;p49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854" name="Google Shape;3854;p49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55" name="Google Shape;3855;p493"/>
          <p:cNvGrpSpPr/>
          <p:nvPr/>
        </p:nvGrpSpPr>
        <p:grpSpPr>
          <a:xfrm>
            <a:off x="7191545" y="0"/>
            <a:ext cx="5000460" cy="1425988"/>
            <a:chOff x="7191545" y="0"/>
            <a:chExt cx="5000460" cy="1425988"/>
          </a:xfrm>
        </p:grpSpPr>
        <p:pic>
          <p:nvPicPr>
            <p:cNvPr id="3856" name="Google Shape;3856;p49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857" name="Google Shape;3857;p493"/>
            <p:cNvGrpSpPr/>
            <p:nvPr/>
          </p:nvGrpSpPr>
          <p:grpSpPr>
            <a:xfrm>
              <a:off x="7191545" y="0"/>
              <a:ext cx="5000460" cy="1425988"/>
              <a:chOff x="7191545" y="0"/>
              <a:chExt cx="5000460" cy="1425988"/>
            </a:xfrm>
          </p:grpSpPr>
          <p:sp>
            <p:nvSpPr>
              <p:cNvPr id="3858" name="Google Shape;3858;p49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59" name="Google Shape;3859;p49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860" name="Google Shape;3860;p49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010099667"/>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matchingName="Cover 7">
  <p:cSld name="Cover 7">
    <p:spTree>
      <p:nvGrpSpPr>
        <p:cNvPr id="1" name="Shape 3861"/>
        <p:cNvGrpSpPr/>
        <p:nvPr/>
      </p:nvGrpSpPr>
      <p:grpSpPr>
        <a:xfrm>
          <a:off x="0" y="0"/>
          <a:ext cx="0" cy="0"/>
          <a:chOff x="0" y="0"/>
          <a:chExt cx="0" cy="0"/>
        </a:xfrm>
      </p:grpSpPr>
      <p:sp>
        <p:nvSpPr>
          <p:cNvPr id="3862" name="Google Shape;3862;p494"/>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63" name="Google Shape;3863;p49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4" name="Google Shape;3864;p49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3865" name="Google Shape;3865;p494"/>
          <p:cNvGrpSpPr/>
          <p:nvPr/>
        </p:nvGrpSpPr>
        <p:grpSpPr>
          <a:xfrm>
            <a:off x="0" y="5020349"/>
            <a:ext cx="12191996" cy="1837651"/>
            <a:chOff x="0" y="5020348"/>
            <a:chExt cx="12191996" cy="1837651"/>
          </a:xfrm>
        </p:grpSpPr>
        <p:sp>
          <p:nvSpPr>
            <p:cNvPr id="3866" name="Google Shape;3866;p49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67" name="Google Shape;3867;p49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868" name="Google Shape;3868;p49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076510257"/>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matchingName="Divider 8">
  <p:cSld name="Divider 8">
    <p:spTree>
      <p:nvGrpSpPr>
        <p:cNvPr id="1" name="Shape 3869"/>
        <p:cNvGrpSpPr/>
        <p:nvPr/>
      </p:nvGrpSpPr>
      <p:grpSpPr>
        <a:xfrm>
          <a:off x="0" y="0"/>
          <a:ext cx="0" cy="0"/>
          <a:chOff x="0" y="0"/>
          <a:chExt cx="0" cy="0"/>
        </a:xfrm>
      </p:grpSpPr>
      <p:grpSp>
        <p:nvGrpSpPr>
          <p:cNvPr id="3870" name="Google Shape;3870;p495"/>
          <p:cNvGrpSpPr/>
          <p:nvPr/>
        </p:nvGrpSpPr>
        <p:grpSpPr>
          <a:xfrm>
            <a:off x="0" y="5020349"/>
            <a:ext cx="12191996" cy="1837651"/>
            <a:chOff x="0" y="5020348"/>
            <a:chExt cx="12191996" cy="1837651"/>
          </a:xfrm>
        </p:grpSpPr>
        <p:sp>
          <p:nvSpPr>
            <p:cNvPr id="3871" name="Google Shape;3871;p49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72" name="Google Shape;3872;p49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73" name="Google Shape;3873;p49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3874" name="Google Shape;3874;p49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3875" name="Google Shape;3875;p495"/>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6" name="Google Shape;3876;p49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12508610"/>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matchingName="Photo Slide 7">
  <p:cSld name="Photo Slide 7">
    <p:spTree>
      <p:nvGrpSpPr>
        <p:cNvPr id="1" name="Shape 3877"/>
        <p:cNvGrpSpPr/>
        <p:nvPr/>
      </p:nvGrpSpPr>
      <p:grpSpPr>
        <a:xfrm>
          <a:off x="0" y="0"/>
          <a:ext cx="0" cy="0"/>
          <a:chOff x="0" y="0"/>
          <a:chExt cx="0" cy="0"/>
        </a:xfrm>
      </p:grpSpPr>
      <p:sp>
        <p:nvSpPr>
          <p:cNvPr id="3878" name="Google Shape;3878;p49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3879" name="Google Shape;3879;p496"/>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3880" name="Google Shape;3880;p496"/>
          <p:cNvGrpSpPr/>
          <p:nvPr/>
        </p:nvGrpSpPr>
        <p:grpSpPr>
          <a:xfrm>
            <a:off x="1" y="5379425"/>
            <a:ext cx="2807363" cy="753895"/>
            <a:chOff x="0" y="5379424"/>
            <a:chExt cx="2807363" cy="753895"/>
          </a:xfrm>
        </p:grpSpPr>
        <p:sp>
          <p:nvSpPr>
            <p:cNvPr id="3881" name="Google Shape;3881;p49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82" name="Google Shape;3882;p49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3883" name="Google Shape;3883;p496"/>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879549978"/>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matchingName="Quotation 9">
  <p:cSld name="Quotation 9">
    <p:spTree>
      <p:nvGrpSpPr>
        <p:cNvPr id="1" name="Shape 3884"/>
        <p:cNvGrpSpPr/>
        <p:nvPr/>
      </p:nvGrpSpPr>
      <p:grpSpPr>
        <a:xfrm>
          <a:off x="0" y="0"/>
          <a:ext cx="0" cy="0"/>
          <a:chOff x="0" y="0"/>
          <a:chExt cx="0" cy="0"/>
        </a:xfrm>
      </p:grpSpPr>
      <p:sp>
        <p:nvSpPr>
          <p:cNvPr id="3885" name="Google Shape;3885;p49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86" name="Google Shape;3886;p49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87" name="Google Shape;3887;p497"/>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888" name="Google Shape;3888;p49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889" name="Google Shape;3889;p49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890" name="Google Shape;3890;p49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891" name="Google Shape;3891;p497"/>
          <p:cNvGrpSpPr/>
          <p:nvPr/>
        </p:nvGrpSpPr>
        <p:grpSpPr>
          <a:xfrm>
            <a:off x="7191545" y="0"/>
            <a:ext cx="5000460" cy="1425988"/>
            <a:chOff x="7191545" y="0"/>
            <a:chExt cx="5000460" cy="1425988"/>
          </a:xfrm>
        </p:grpSpPr>
        <p:pic>
          <p:nvPicPr>
            <p:cNvPr id="3892" name="Google Shape;3892;p49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893" name="Google Shape;3893;p497"/>
            <p:cNvGrpSpPr/>
            <p:nvPr/>
          </p:nvGrpSpPr>
          <p:grpSpPr>
            <a:xfrm>
              <a:off x="7191545" y="0"/>
              <a:ext cx="5000460" cy="1425988"/>
              <a:chOff x="7191545" y="0"/>
              <a:chExt cx="5000460" cy="1425988"/>
            </a:xfrm>
          </p:grpSpPr>
          <p:sp>
            <p:nvSpPr>
              <p:cNvPr id="3894" name="Google Shape;3894;p49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895" name="Google Shape;3895;p49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896" name="Google Shape;3896;p497"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25781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matchingName="Quotation 10">
  <p:cSld name="Quotation 10">
    <p:spTree>
      <p:nvGrpSpPr>
        <p:cNvPr id="1" name="Shape 3897"/>
        <p:cNvGrpSpPr/>
        <p:nvPr/>
      </p:nvGrpSpPr>
      <p:grpSpPr>
        <a:xfrm>
          <a:off x="0" y="0"/>
          <a:ext cx="0" cy="0"/>
          <a:chOff x="0" y="0"/>
          <a:chExt cx="0" cy="0"/>
        </a:xfrm>
      </p:grpSpPr>
      <p:sp>
        <p:nvSpPr>
          <p:cNvPr id="3898" name="Google Shape;3898;p498"/>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899" name="Google Shape;3899;p4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00" name="Google Shape;3900;p498"/>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01" name="Google Shape;3901;p49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02" name="Google Shape;3902;p4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03" name="Google Shape;3903;p49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04" name="Google Shape;3904;p498"/>
          <p:cNvGrpSpPr/>
          <p:nvPr/>
        </p:nvGrpSpPr>
        <p:grpSpPr>
          <a:xfrm>
            <a:off x="7191545" y="0"/>
            <a:ext cx="5000460" cy="1425988"/>
            <a:chOff x="7191545" y="0"/>
            <a:chExt cx="5000460" cy="1425988"/>
          </a:xfrm>
        </p:grpSpPr>
        <p:pic>
          <p:nvPicPr>
            <p:cNvPr id="3905" name="Google Shape;3905;p4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06" name="Google Shape;3906;p498"/>
            <p:cNvGrpSpPr/>
            <p:nvPr/>
          </p:nvGrpSpPr>
          <p:grpSpPr>
            <a:xfrm>
              <a:off x="7191545" y="0"/>
              <a:ext cx="5000460" cy="1425988"/>
              <a:chOff x="7191545" y="0"/>
              <a:chExt cx="5000460" cy="1425988"/>
            </a:xfrm>
          </p:grpSpPr>
          <p:sp>
            <p:nvSpPr>
              <p:cNvPr id="3907" name="Google Shape;3907;p4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08" name="Google Shape;3908;p4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909" name="Google Shape;3909;p498"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849819634"/>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matchingName="1_Quotation 9">
  <p:cSld name="1_Quotation 9">
    <p:spTree>
      <p:nvGrpSpPr>
        <p:cNvPr id="1" name="Shape 3910"/>
        <p:cNvGrpSpPr/>
        <p:nvPr/>
      </p:nvGrpSpPr>
      <p:grpSpPr>
        <a:xfrm>
          <a:off x="0" y="0"/>
          <a:ext cx="0" cy="0"/>
          <a:chOff x="0" y="0"/>
          <a:chExt cx="0" cy="0"/>
        </a:xfrm>
      </p:grpSpPr>
      <p:sp>
        <p:nvSpPr>
          <p:cNvPr id="3911" name="Google Shape;3911;p49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912" name="Google Shape;3912;p4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3" name="Google Shape;3913;p49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14" name="Google Shape;3914;p49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15" name="Google Shape;3915;p4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16" name="Google Shape;3916;p49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17" name="Google Shape;3917;p499"/>
          <p:cNvGrpSpPr/>
          <p:nvPr/>
        </p:nvGrpSpPr>
        <p:grpSpPr>
          <a:xfrm>
            <a:off x="7191545" y="0"/>
            <a:ext cx="5000460" cy="1425988"/>
            <a:chOff x="7191545" y="0"/>
            <a:chExt cx="5000460" cy="1425988"/>
          </a:xfrm>
        </p:grpSpPr>
        <p:pic>
          <p:nvPicPr>
            <p:cNvPr id="3918" name="Google Shape;3918;p4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19" name="Google Shape;3919;p499"/>
            <p:cNvGrpSpPr/>
            <p:nvPr/>
          </p:nvGrpSpPr>
          <p:grpSpPr>
            <a:xfrm>
              <a:off x="7191545" y="0"/>
              <a:ext cx="5000460" cy="1425988"/>
              <a:chOff x="7191545" y="0"/>
              <a:chExt cx="5000460" cy="1425988"/>
            </a:xfrm>
          </p:grpSpPr>
          <p:sp>
            <p:nvSpPr>
              <p:cNvPr id="3920" name="Google Shape;3920;p4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21" name="Google Shape;3921;p4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922" name="Google Shape;3922;p49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841091170"/>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matchingName="1_Quotation 10">
  <p:cSld name="1_Quotation 10">
    <p:spTree>
      <p:nvGrpSpPr>
        <p:cNvPr id="1" name="Shape 3923"/>
        <p:cNvGrpSpPr/>
        <p:nvPr/>
      </p:nvGrpSpPr>
      <p:grpSpPr>
        <a:xfrm>
          <a:off x="0" y="0"/>
          <a:ext cx="0" cy="0"/>
          <a:chOff x="0" y="0"/>
          <a:chExt cx="0" cy="0"/>
        </a:xfrm>
      </p:grpSpPr>
      <p:sp>
        <p:nvSpPr>
          <p:cNvPr id="3924" name="Google Shape;3924;p5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925" name="Google Shape;3925;p5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26" name="Google Shape;3926;p50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27" name="Google Shape;3927;p50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28" name="Google Shape;3928;p5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29" name="Google Shape;3929;p50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30" name="Google Shape;3930;p500"/>
          <p:cNvGrpSpPr/>
          <p:nvPr/>
        </p:nvGrpSpPr>
        <p:grpSpPr>
          <a:xfrm>
            <a:off x="7191545" y="0"/>
            <a:ext cx="5000460" cy="1425988"/>
            <a:chOff x="7191545" y="0"/>
            <a:chExt cx="5000460" cy="1425988"/>
          </a:xfrm>
        </p:grpSpPr>
        <p:pic>
          <p:nvPicPr>
            <p:cNvPr id="3931" name="Google Shape;3931;p5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32" name="Google Shape;3932;p500"/>
            <p:cNvGrpSpPr/>
            <p:nvPr/>
          </p:nvGrpSpPr>
          <p:grpSpPr>
            <a:xfrm>
              <a:off x="7191545" y="0"/>
              <a:ext cx="5000460" cy="1425988"/>
              <a:chOff x="7191545" y="0"/>
              <a:chExt cx="5000460" cy="1425988"/>
            </a:xfrm>
          </p:grpSpPr>
          <p:sp>
            <p:nvSpPr>
              <p:cNvPr id="3933" name="Google Shape;3933;p5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34" name="Google Shape;3934;p5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3935" name="Google Shape;3935;p50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828928584"/>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matchingName="Title and Content 10">
  <p:cSld name="Title and Content 10">
    <p:spTree>
      <p:nvGrpSpPr>
        <p:cNvPr id="1" name="Shape 3936"/>
        <p:cNvGrpSpPr/>
        <p:nvPr/>
      </p:nvGrpSpPr>
      <p:grpSpPr>
        <a:xfrm>
          <a:off x="0" y="0"/>
          <a:ext cx="0" cy="0"/>
          <a:chOff x="0" y="0"/>
          <a:chExt cx="0" cy="0"/>
        </a:xfrm>
      </p:grpSpPr>
      <p:grpSp>
        <p:nvGrpSpPr>
          <p:cNvPr id="3937" name="Google Shape;3937;p501"/>
          <p:cNvGrpSpPr/>
          <p:nvPr/>
        </p:nvGrpSpPr>
        <p:grpSpPr>
          <a:xfrm>
            <a:off x="7191545" y="0"/>
            <a:ext cx="5000460" cy="1425988"/>
            <a:chOff x="7191545" y="0"/>
            <a:chExt cx="5000460" cy="1425988"/>
          </a:xfrm>
        </p:grpSpPr>
        <p:pic>
          <p:nvPicPr>
            <p:cNvPr id="3938" name="Google Shape;3938;p5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39" name="Google Shape;3939;p501"/>
            <p:cNvGrpSpPr/>
            <p:nvPr/>
          </p:nvGrpSpPr>
          <p:grpSpPr>
            <a:xfrm>
              <a:off x="7191545" y="0"/>
              <a:ext cx="5000460" cy="1425988"/>
              <a:chOff x="7191545" y="0"/>
              <a:chExt cx="5000460" cy="1425988"/>
            </a:xfrm>
          </p:grpSpPr>
          <p:sp>
            <p:nvSpPr>
              <p:cNvPr id="3940" name="Google Shape;3940;p5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41" name="Google Shape;3941;p5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942" name="Google Shape;3942;p50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43" name="Google Shape;3943;p50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44" name="Google Shape;3944;p50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45" name="Google Shape;3945;p5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46" name="Google Shape;3946;p50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97052095"/>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matchingName="Two Content 6">
  <p:cSld name="Two Content 6">
    <p:spTree>
      <p:nvGrpSpPr>
        <p:cNvPr id="1" name="Shape 3947"/>
        <p:cNvGrpSpPr/>
        <p:nvPr/>
      </p:nvGrpSpPr>
      <p:grpSpPr>
        <a:xfrm>
          <a:off x="0" y="0"/>
          <a:ext cx="0" cy="0"/>
          <a:chOff x="0" y="0"/>
          <a:chExt cx="0" cy="0"/>
        </a:xfrm>
      </p:grpSpPr>
      <p:sp>
        <p:nvSpPr>
          <p:cNvPr id="3948" name="Google Shape;3948;p50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49" name="Google Shape;3949;p502"/>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3950" name="Google Shape;3950;p502"/>
          <p:cNvGrpSpPr/>
          <p:nvPr/>
        </p:nvGrpSpPr>
        <p:grpSpPr>
          <a:xfrm>
            <a:off x="7191545" y="0"/>
            <a:ext cx="5000460" cy="1425988"/>
            <a:chOff x="7191545" y="0"/>
            <a:chExt cx="5000460" cy="1425988"/>
          </a:xfrm>
        </p:grpSpPr>
        <p:pic>
          <p:nvPicPr>
            <p:cNvPr id="3951" name="Google Shape;3951;p5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52" name="Google Shape;3952;p502"/>
            <p:cNvGrpSpPr/>
            <p:nvPr/>
          </p:nvGrpSpPr>
          <p:grpSpPr>
            <a:xfrm>
              <a:off x="7191545" y="0"/>
              <a:ext cx="5000460" cy="1425988"/>
              <a:chOff x="7191545" y="0"/>
              <a:chExt cx="5000460" cy="1425988"/>
            </a:xfrm>
          </p:grpSpPr>
          <p:sp>
            <p:nvSpPr>
              <p:cNvPr id="3953" name="Google Shape;3953;p5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54" name="Google Shape;3954;p5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955" name="Google Shape;3955;p502"/>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56" name="Google Shape;3956;p502"/>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57" name="Google Shape;3957;p5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58" name="Google Shape;3958;p50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64734244"/>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matchingName="Comparison 5">
  <p:cSld name="Comparison 5">
    <p:spTree>
      <p:nvGrpSpPr>
        <p:cNvPr id="1" name="Shape 3959"/>
        <p:cNvGrpSpPr/>
        <p:nvPr/>
      </p:nvGrpSpPr>
      <p:grpSpPr>
        <a:xfrm>
          <a:off x="0" y="0"/>
          <a:ext cx="0" cy="0"/>
          <a:chOff x="0" y="0"/>
          <a:chExt cx="0" cy="0"/>
        </a:xfrm>
      </p:grpSpPr>
      <p:grpSp>
        <p:nvGrpSpPr>
          <p:cNvPr id="3960" name="Google Shape;3960;p503"/>
          <p:cNvGrpSpPr/>
          <p:nvPr/>
        </p:nvGrpSpPr>
        <p:grpSpPr>
          <a:xfrm>
            <a:off x="7191545" y="0"/>
            <a:ext cx="5000460" cy="1425988"/>
            <a:chOff x="7191545" y="0"/>
            <a:chExt cx="5000460" cy="1425988"/>
          </a:xfrm>
        </p:grpSpPr>
        <p:pic>
          <p:nvPicPr>
            <p:cNvPr id="3961" name="Google Shape;3961;p5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62" name="Google Shape;3962;p503"/>
            <p:cNvGrpSpPr/>
            <p:nvPr/>
          </p:nvGrpSpPr>
          <p:grpSpPr>
            <a:xfrm>
              <a:off x="7191545" y="0"/>
              <a:ext cx="5000460" cy="1425988"/>
              <a:chOff x="7191545" y="0"/>
              <a:chExt cx="5000460" cy="1425988"/>
            </a:xfrm>
          </p:grpSpPr>
          <p:sp>
            <p:nvSpPr>
              <p:cNvPr id="3963" name="Google Shape;3963;p5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64" name="Google Shape;3964;p5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965" name="Google Shape;3965;p50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66" name="Google Shape;3966;p50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67" name="Google Shape;3967;p503"/>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68" name="Google Shape;3968;p503"/>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69" name="Google Shape;3969;p503"/>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70" name="Google Shape;3970;p50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71" name="Google Shape;3971;p5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72" name="Google Shape;3972;p50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73276418"/>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matchingName="Title Only 5">
  <p:cSld name="Title Only 5">
    <p:spTree>
      <p:nvGrpSpPr>
        <p:cNvPr id="1" name="Shape 3973"/>
        <p:cNvGrpSpPr/>
        <p:nvPr/>
      </p:nvGrpSpPr>
      <p:grpSpPr>
        <a:xfrm>
          <a:off x="0" y="0"/>
          <a:ext cx="0" cy="0"/>
          <a:chOff x="0" y="0"/>
          <a:chExt cx="0" cy="0"/>
        </a:xfrm>
      </p:grpSpPr>
      <p:grpSp>
        <p:nvGrpSpPr>
          <p:cNvPr id="3974" name="Google Shape;3974;p504"/>
          <p:cNvGrpSpPr/>
          <p:nvPr/>
        </p:nvGrpSpPr>
        <p:grpSpPr>
          <a:xfrm>
            <a:off x="7191545" y="0"/>
            <a:ext cx="5000460" cy="1425988"/>
            <a:chOff x="7191545" y="0"/>
            <a:chExt cx="5000460" cy="1425988"/>
          </a:xfrm>
        </p:grpSpPr>
        <p:pic>
          <p:nvPicPr>
            <p:cNvPr id="3975" name="Google Shape;3975;p5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76" name="Google Shape;3976;p504"/>
            <p:cNvGrpSpPr/>
            <p:nvPr/>
          </p:nvGrpSpPr>
          <p:grpSpPr>
            <a:xfrm>
              <a:off x="7191545" y="0"/>
              <a:ext cx="5000460" cy="1425988"/>
              <a:chOff x="7191545" y="0"/>
              <a:chExt cx="5000460" cy="1425988"/>
            </a:xfrm>
          </p:grpSpPr>
          <p:sp>
            <p:nvSpPr>
              <p:cNvPr id="3977" name="Google Shape;3977;p5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78" name="Google Shape;3978;p5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3979" name="Google Shape;3979;p50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0" name="Google Shape;3980;p50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81" name="Google Shape;3981;p5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82" name="Google Shape;3982;p50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22293765"/>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matchingName="End 6">
  <p:cSld name="End 6">
    <p:spTree>
      <p:nvGrpSpPr>
        <p:cNvPr id="1" name="Shape 3983"/>
        <p:cNvGrpSpPr/>
        <p:nvPr/>
      </p:nvGrpSpPr>
      <p:grpSpPr>
        <a:xfrm>
          <a:off x="0" y="0"/>
          <a:ext cx="0" cy="0"/>
          <a:chOff x="0" y="0"/>
          <a:chExt cx="0" cy="0"/>
        </a:xfrm>
      </p:grpSpPr>
      <p:grpSp>
        <p:nvGrpSpPr>
          <p:cNvPr id="3984" name="Google Shape;3984;p505"/>
          <p:cNvGrpSpPr/>
          <p:nvPr/>
        </p:nvGrpSpPr>
        <p:grpSpPr>
          <a:xfrm>
            <a:off x="0" y="0"/>
            <a:ext cx="12191996" cy="2148830"/>
            <a:chOff x="0" y="0"/>
            <a:chExt cx="12191996" cy="2148830"/>
          </a:xfrm>
        </p:grpSpPr>
        <p:sp>
          <p:nvSpPr>
            <p:cNvPr id="3985" name="Google Shape;3985;p50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86" name="Google Shape;3986;p50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3987" name="Google Shape;3987;p505"/>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3988" name="Google Shape;3988;p505"/>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989" name="Google Shape;3989;p50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90" name="Google Shape;3990;p50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617989570"/>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matchingName="Blank 4">
  <p:cSld name="Blank 4">
    <p:spTree>
      <p:nvGrpSpPr>
        <p:cNvPr id="1" name="Shape 3991"/>
        <p:cNvGrpSpPr/>
        <p:nvPr/>
      </p:nvGrpSpPr>
      <p:grpSpPr>
        <a:xfrm>
          <a:off x="0" y="0"/>
          <a:ext cx="0" cy="0"/>
          <a:chOff x="0" y="0"/>
          <a:chExt cx="0" cy="0"/>
        </a:xfrm>
      </p:grpSpPr>
      <p:sp>
        <p:nvSpPr>
          <p:cNvPr id="3992" name="Google Shape;3992;p50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993" name="Google Shape;3993;p50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994" name="Google Shape;3994;p50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95" name="Google Shape;3995;p506"/>
          <p:cNvGrpSpPr/>
          <p:nvPr/>
        </p:nvGrpSpPr>
        <p:grpSpPr>
          <a:xfrm>
            <a:off x="7191545" y="0"/>
            <a:ext cx="5000460" cy="1425988"/>
            <a:chOff x="7191545" y="0"/>
            <a:chExt cx="5000460" cy="1425988"/>
          </a:xfrm>
        </p:grpSpPr>
        <p:pic>
          <p:nvPicPr>
            <p:cNvPr id="3996" name="Google Shape;3996;p50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997" name="Google Shape;3997;p506"/>
            <p:cNvGrpSpPr/>
            <p:nvPr/>
          </p:nvGrpSpPr>
          <p:grpSpPr>
            <a:xfrm>
              <a:off x="7191545" y="0"/>
              <a:ext cx="5000460" cy="1425988"/>
              <a:chOff x="7191545" y="0"/>
              <a:chExt cx="5000460" cy="1425988"/>
            </a:xfrm>
          </p:grpSpPr>
          <p:sp>
            <p:nvSpPr>
              <p:cNvPr id="3998" name="Google Shape;3998;p50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3999" name="Google Shape;3999;p50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845579738"/>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matchingName="Cover 8">
  <p:cSld name="Cover 8">
    <p:spTree>
      <p:nvGrpSpPr>
        <p:cNvPr id="1" name="Shape 4000"/>
        <p:cNvGrpSpPr/>
        <p:nvPr/>
      </p:nvGrpSpPr>
      <p:grpSpPr>
        <a:xfrm>
          <a:off x="0" y="0"/>
          <a:ext cx="0" cy="0"/>
          <a:chOff x="0" y="0"/>
          <a:chExt cx="0" cy="0"/>
        </a:xfrm>
      </p:grpSpPr>
      <p:sp>
        <p:nvSpPr>
          <p:cNvPr id="4001" name="Google Shape;4001;p507"/>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02" name="Google Shape;4002;p50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03" name="Google Shape;4003;p50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004" name="Google Shape;4004;p507"/>
          <p:cNvGrpSpPr/>
          <p:nvPr/>
        </p:nvGrpSpPr>
        <p:grpSpPr>
          <a:xfrm>
            <a:off x="0" y="5020349"/>
            <a:ext cx="12191996" cy="1837651"/>
            <a:chOff x="0" y="5020348"/>
            <a:chExt cx="12191996" cy="1837651"/>
          </a:xfrm>
        </p:grpSpPr>
        <p:sp>
          <p:nvSpPr>
            <p:cNvPr id="4005" name="Google Shape;4005;p5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06" name="Google Shape;4006;p5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007" name="Google Shape;4007;p5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25507751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matchingName="Divider 9">
  <p:cSld name="Divider 9">
    <p:spTree>
      <p:nvGrpSpPr>
        <p:cNvPr id="1" name="Shape 4008"/>
        <p:cNvGrpSpPr/>
        <p:nvPr/>
      </p:nvGrpSpPr>
      <p:grpSpPr>
        <a:xfrm>
          <a:off x="0" y="0"/>
          <a:ext cx="0" cy="0"/>
          <a:chOff x="0" y="0"/>
          <a:chExt cx="0" cy="0"/>
        </a:xfrm>
      </p:grpSpPr>
      <p:grpSp>
        <p:nvGrpSpPr>
          <p:cNvPr id="4009" name="Google Shape;4009;p508"/>
          <p:cNvGrpSpPr/>
          <p:nvPr/>
        </p:nvGrpSpPr>
        <p:grpSpPr>
          <a:xfrm>
            <a:off x="0" y="5020349"/>
            <a:ext cx="12191996" cy="1837651"/>
            <a:chOff x="0" y="5020348"/>
            <a:chExt cx="12191996" cy="1837651"/>
          </a:xfrm>
        </p:grpSpPr>
        <p:sp>
          <p:nvSpPr>
            <p:cNvPr id="4010" name="Google Shape;4010;p50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11" name="Google Shape;4011;p50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12" name="Google Shape;4012;p50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013" name="Google Shape;4013;p50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4014" name="Google Shape;4014;p508"/>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5" name="Google Shape;4015;p50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96401077"/>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matchingName="Quotation 11">
  <p:cSld name="Quotation 11">
    <p:spTree>
      <p:nvGrpSpPr>
        <p:cNvPr id="1" name="Shape 4016"/>
        <p:cNvGrpSpPr/>
        <p:nvPr/>
      </p:nvGrpSpPr>
      <p:grpSpPr>
        <a:xfrm>
          <a:off x="0" y="0"/>
          <a:ext cx="0" cy="0"/>
          <a:chOff x="0" y="0"/>
          <a:chExt cx="0" cy="0"/>
        </a:xfrm>
      </p:grpSpPr>
      <p:sp>
        <p:nvSpPr>
          <p:cNvPr id="4017" name="Google Shape;4017;p50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18" name="Google Shape;4018;p5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9" name="Google Shape;4019;p50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20" name="Google Shape;4020;p50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021" name="Google Shape;4021;p5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022" name="Google Shape;4022;p50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23" name="Google Shape;4023;p509"/>
          <p:cNvGrpSpPr/>
          <p:nvPr/>
        </p:nvGrpSpPr>
        <p:grpSpPr>
          <a:xfrm>
            <a:off x="7191545" y="0"/>
            <a:ext cx="5000460" cy="1425988"/>
            <a:chOff x="7191545" y="0"/>
            <a:chExt cx="5000460" cy="1425988"/>
          </a:xfrm>
        </p:grpSpPr>
        <p:pic>
          <p:nvPicPr>
            <p:cNvPr id="4024" name="Google Shape;4024;p5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025" name="Google Shape;4025;p509"/>
            <p:cNvGrpSpPr/>
            <p:nvPr/>
          </p:nvGrpSpPr>
          <p:grpSpPr>
            <a:xfrm>
              <a:off x="7191545" y="0"/>
              <a:ext cx="5000460" cy="1425988"/>
              <a:chOff x="7191545" y="0"/>
              <a:chExt cx="5000460" cy="1425988"/>
            </a:xfrm>
          </p:grpSpPr>
          <p:sp>
            <p:nvSpPr>
              <p:cNvPr id="4026" name="Google Shape;4026;p5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027" name="Google Shape;4027;p5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028" name="Google Shape;4028;p50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506712817"/>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matchingName="1_Quotation 11">
  <p:cSld name="1_Quotation 11">
    <p:spTree>
      <p:nvGrpSpPr>
        <p:cNvPr id="1" name="Shape 4029"/>
        <p:cNvGrpSpPr/>
        <p:nvPr/>
      </p:nvGrpSpPr>
      <p:grpSpPr>
        <a:xfrm>
          <a:off x="0" y="0"/>
          <a:ext cx="0" cy="0"/>
          <a:chOff x="0" y="0"/>
          <a:chExt cx="0" cy="0"/>
        </a:xfrm>
      </p:grpSpPr>
      <p:sp>
        <p:nvSpPr>
          <p:cNvPr id="4030" name="Google Shape;4030;p51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31" name="Google Shape;4031;p5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32" name="Google Shape;4032;p51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33" name="Google Shape;4033;p51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034" name="Google Shape;4034;p5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035" name="Google Shape;4035;p51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36" name="Google Shape;4036;p510"/>
          <p:cNvGrpSpPr/>
          <p:nvPr/>
        </p:nvGrpSpPr>
        <p:grpSpPr>
          <a:xfrm>
            <a:off x="7191545" y="0"/>
            <a:ext cx="5000460" cy="1425988"/>
            <a:chOff x="7191545" y="0"/>
            <a:chExt cx="5000460" cy="1425988"/>
          </a:xfrm>
        </p:grpSpPr>
        <p:pic>
          <p:nvPicPr>
            <p:cNvPr id="4037" name="Google Shape;4037;p5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038" name="Google Shape;4038;p510"/>
            <p:cNvGrpSpPr/>
            <p:nvPr/>
          </p:nvGrpSpPr>
          <p:grpSpPr>
            <a:xfrm>
              <a:off x="7191545" y="0"/>
              <a:ext cx="5000460" cy="1425988"/>
              <a:chOff x="7191545" y="0"/>
              <a:chExt cx="5000460" cy="1425988"/>
            </a:xfrm>
          </p:grpSpPr>
          <p:sp>
            <p:nvSpPr>
              <p:cNvPr id="4039" name="Google Shape;4039;p5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040" name="Google Shape;4040;p5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041" name="Google Shape;4041;p51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852028872"/>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matchingName="Title and Content 11">
  <p:cSld name="Title and Content 11">
    <p:spTree>
      <p:nvGrpSpPr>
        <p:cNvPr id="1" name="Shape 4042"/>
        <p:cNvGrpSpPr/>
        <p:nvPr/>
      </p:nvGrpSpPr>
      <p:grpSpPr>
        <a:xfrm>
          <a:off x="0" y="0"/>
          <a:ext cx="0" cy="0"/>
          <a:chOff x="0" y="0"/>
          <a:chExt cx="0" cy="0"/>
        </a:xfrm>
      </p:grpSpPr>
      <p:grpSp>
        <p:nvGrpSpPr>
          <p:cNvPr id="4043" name="Google Shape;4043;p511"/>
          <p:cNvGrpSpPr/>
          <p:nvPr/>
        </p:nvGrpSpPr>
        <p:grpSpPr>
          <a:xfrm>
            <a:off x="7191545" y="0"/>
            <a:ext cx="5000460" cy="1425988"/>
            <a:chOff x="7191545" y="0"/>
            <a:chExt cx="5000460" cy="1425988"/>
          </a:xfrm>
        </p:grpSpPr>
        <p:pic>
          <p:nvPicPr>
            <p:cNvPr id="4044" name="Google Shape;4044;p5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045" name="Google Shape;4045;p511"/>
            <p:cNvGrpSpPr/>
            <p:nvPr/>
          </p:nvGrpSpPr>
          <p:grpSpPr>
            <a:xfrm>
              <a:off x="7191545" y="0"/>
              <a:ext cx="5000460" cy="1425988"/>
              <a:chOff x="7191545" y="0"/>
              <a:chExt cx="5000460" cy="1425988"/>
            </a:xfrm>
          </p:grpSpPr>
          <p:sp>
            <p:nvSpPr>
              <p:cNvPr id="4046" name="Google Shape;4046;p5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047" name="Google Shape;4047;p5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048" name="Google Shape;4048;p51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49" name="Google Shape;4049;p51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50" name="Google Shape;4050;p51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051" name="Google Shape;4051;p5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052" name="Google Shape;4052;p51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5244579"/>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matchingName="Two Content 7">
  <p:cSld name="Two Content 7">
    <p:spTree>
      <p:nvGrpSpPr>
        <p:cNvPr id="1" name="Shape 4053"/>
        <p:cNvGrpSpPr/>
        <p:nvPr/>
      </p:nvGrpSpPr>
      <p:grpSpPr>
        <a:xfrm>
          <a:off x="0" y="0"/>
          <a:ext cx="0" cy="0"/>
          <a:chOff x="0" y="0"/>
          <a:chExt cx="0" cy="0"/>
        </a:xfrm>
      </p:grpSpPr>
      <p:sp>
        <p:nvSpPr>
          <p:cNvPr id="4054" name="Google Shape;4054;p51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55" name="Google Shape;4055;p512"/>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056" name="Google Shape;4056;p512"/>
          <p:cNvGrpSpPr/>
          <p:nvPr/>
        </p:nvGrpSpPr>
        <p:grpSpPr>
          <a:xfrm>
            <a:off x="7191545" y="0"/>
            <a:ext cx="5000460" cy="1425988"/>
            <a:chOff x="7191545" y="0"/>
            <a:chExt cx="5000460" cy="1425988"/>
          </a:xfrm>
        </p:grpSpPr>
        <p:pic>
          <p:nvPicPr>
            <p:cNvPr id="4057" name="Google Shape;4057;p5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058" name="Google Shape;4058;p512"/>
            <p:cNvGrpSpPr/>
            <p:nvPr/>
          </p:nvGrpSpPr>
          <p:grpSpPr>
            <a:xfrm>
              <a:off x="7191545" y="0"/>
              <a:ext cx="5000460" cy="1425988"/>
              <a:chOff x="7191545" y="0"/>
              <a:chExt cx="5000460" cy="1425988"/>
            </a:xfrm>
          </p:grpSpPr>
          <p:sp>
            <p:nvSpPr>
              <p:cNvPr id="4059" name="Google Shape;4059;p5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060" name="Google Shape;4060;p5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061" name="Google Shape;4061;p512"/>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62" name="Google Shape;4062;p512"/>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063" name="Google Shape;4063;p5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064" name="Google Shape;4064;p51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97183470"/>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matchingName="Comparison 6">
  <p:cSld name="Comparison 6">
    <p:spTree>
      <p:nvGrpSpPr>
        <p:cNvPr id="1" name="Shape 4065"/>
        <p:cNvGrpSpPr/>
        <p:nvPr/>
      </p:nvGrpSpPr>
      <p:grpSpPr>
        <a:xfrm>
          <a:off x="0" y="0"/>
          <a:ext cx="0" cy="0"/>
          <a:chOff x="0" y="0"/>
          <a:chExt cx="0" cy="0"/>
        </a:xfrm>
      </p:grpSpPr>
      <p:grpSp>
        <p:nvGrpSpPr>
          <p:cNvPr id="4066" name="Google Shape;4066;p513"/>
          <p:cNvGrpSpPr/>
          <p:nvPr/>
        </p:nvGrpSpPr>
        <p:grpSpPr>
          <a:xfrm>
            <a:off x="7191545" y="0"/>
            <a:ext cx="5000460" cy="1425988"/>
            <a:chOff x="7191545" y="0"/>
            <a:chExt cx="5000460" cy="1425988"/>
          </a:xfrm>
        </p:grpSpPr>
        <p:pic>
          <p:nvPicPr>
            <p:cNvPr id="4067" name="Google Shape;4067;p5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068" name="Google Shape;4068;p513"/>
            <p:cNvGrpSpPr/>
            <p:nvPr/>
          </p:nvGrpSpPr>
          <p:grpSpPr>
            <a:xfrm>
              <a:off x="7191545" y="0"/>
              <a:ext cx="5000460" cy="1425988"/>
              <a:chOff x="7191545" y="0"/>
              <a:chExt cx="5000460" cy="1425988"/>
            </a:xfrm>
          </p:grpSpPr>
          <p:sp>
            <p:nvSpPr>
              <p:cNvPr id="4069" name="Google Shape;4069;p5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070" name="Google Shape;4070;p5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071" name="Google Shape;4071;p51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2" name="Google Shape;4072;p51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73" name="Google Shape;4073;p513"/>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74" name="Google Shape;4074;p513"/>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75" name="Google Shape;4075;p513"/>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76" name="Google Shape;4076;p51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077" name="Google Shape;4077;p5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078" name="Google Shape;4078;p51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61293899"/>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matchingName="Photo Slide 8">
  <p:cSld name="Photo Slide 8">
    <p:spTree>
      <p:nvGrpSpPr>
        <p:cNvPr id="1" name="Shape 4079"/>
        <p:cNvGrpSpPr/>
        <p:nvPr/>
      </p:nvGrpSpPr>
      <p:grpSpPr>
        <a:xfrm>
          <a:off x="0" y="0"/>
          <a:ext cx="0" cy="0"/>
          <a:chOff x="0" y="0"/>
          <a:chExt cx="0" cy="0"/>
        </a:xfrm>
      </p:grpSpPr>
      <p:sp>
        <p:nvSpPr>
          <p:cNvPr id="4080" name="Google Shape;4080;p51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081" name="Google Shape;4081;p514"/>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4082" name="Google Shape;4082;p514"/>
          <p:cNvGrpSpPr/>
          <p:nvPr/>
        </p:nvGrpSpPr>
        <p:grpSpPr>
          <a:xfrm>
            <a:off x="1" y="5379425"/>
            <a:ext cx="2807363" cy="753895"/>
            <a:chOff x="0" y="5379424"/>
            <a:chExt cx="2807363" cy="753895"/>
          </a:xfrm>
        </p:grpSpPr>
        <p:sp>
          <p:nvSpPr>
            <p:cNvPr id="4083" name="Google Shape;4083;p51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84" name="Google Shape;4084;p51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4085" name="Google Shape;4085;p514"/>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4281145388"/>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matchingName="End 7">
  <p:cSld name="End 7">
    <p:spTree>
      <p:nvGrpSpPr>
        <p:cNvPr id="1" name="Shape 4086"/>
        <p:cNvGrpSpPr/>
        <p:nvPr/>
      </p:nvGrpSpPr>
      <p:grpSpPr>
        <a:xfrm>
          <a:off x="0" y="0"/>
          <a:ext cx="0" cy="0"/>
          <a:chOff x="0" y="0"/>
          <a:chExt cx="0" cy="0"/>
        </a:xfrm>
      </p:grpSpPr>
      <p:grpSp>
        <p:nvGrpSpPr>
          <p:cNvPr id="4087" name="Google Shape;4087;p515"/>
          <p:cNvGrpSpPr/>
          <p:nvPr/>
        </p:nvGrpSpPr>
        <p:grpSpPr>
          <a:xfrm>
            <a:off x="0" y="0"/>
            <a:ext cx="12191996" cy="2148830"/>
            <a:chOff x="0" y="0"/>
            <a:chExt cx="12191996" cy="2148830"/>
          </a:xfrm>
        </p:grpSpPr>
        <p:sp>
          <p:nvSpPr>
            <p:cNvPr id="4088" name="Google Shape;4088;p51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089" name="Google Shape;4089;p51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4090" name="Google Shape;4090;p515"/>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091" name="Google Shape;4091;p515"/>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092" name="Google Shape;4092;p51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093" name="Google Shape;4093;p51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168601266"/>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matchingName="Blank 5">
  <p:cSld name="Blank 5">
    <p:spTree>
      <p:nvGrpSpPr>
        <p:cNvPr id="1" name="Shape 4094"/>
        <p:cNvGrpSpPr/>
        <p:nvPr/>
      </p:nvGrpSpPr>
      <p:grpSpPr>
        <a:xfrm>
          <a:off x="0" y="0"/>
          <a:ext cx="0" cy="0"/>
          <a:chOff x="0" y="0"/>
          <a:chExt cx="0" cy="0"/>
        </a:xfrm>
      </p:grpSpPr>
      <p:sp>
        <p:nvSpPr>
          <p:cNvPr id="4095" name="Google Shape;4095;p51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096" name="Google Shape;4096;p5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097" name="Google Shape;4097;p51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98" name="Google Shape;4098;p516"/>
          <p:cNvGrpSpPr/>
          <p:nvPr/>
        </p:nvGrpSpPr>
        <p:grpSpPr>
          <a:xfrm>
            <a:off x="7191545" y="0"/>
            <a:ext cx="5000460" cy="1425988"/>
            <a:chOff x="7191545" y="0"/>
            <a:chExt cx="5000460" cy="1425988"/>
          </a:xfrm>
        </p:grpSpPr>
        <p:pic>
          <p:nvPicPr>
            <p:cNvPr id="4099" name="Google Shape;4099;p5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00" name="Google Shape;4100;p516"/>
            <p:cNvGrpSpPr/>
            <p:nvPr/>
          </p:nvGrpSpPr>
          <p:grpSpPr>
            <a:xfrm>
              <a:off x="7191545" y="0"/>
              <a:ext cx="5000460" cy="1425988"/>
              <a:chOff x="7191545" y="0"/>
              <a:chExt cx="5000460" cy="1425988"/>
            </a:xfrm>
          </p:grpSpPr>
          <p:sp>
            <p:nvSpPr>
              <p:cNvPr id="4101" name="Google Shape;4101;p5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02" name="Google Shape;4102;p5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38896690"/>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matchingName="Title Only 6">
  <p:cSld name="Title Only 6">
    <p:spTree>
      <p:nvGrpSpPr>
        <p:cNvPr id="1" name="Shape 4103"/>
        <p:cNvGrpSpPr/>
        <p:nvPr/>
      </p:nvGrpSpPr>
      <p:grpSpPr>
        <a:xfrm>
          <a:off x="0" y="0"/>
          <a:ext cx="0" cy="0"/>
          <a:chOff x="0" y="0"/>
          <a:chExt cx="0" cy="0"/>
        </a:xfrm>
      </p:grpSpPr>
      <p:grpSp>
        <p:nvGrpSpPr>
          <p:cNvPr id="4104" name="Google Shape;4104;p517"/>
          <p:cNvGrpSpPr/>
          <p:nvPr/>
        </p:nvGrpSpPr>
        <p:grpSpPr>
          <a:xfrm>
            <a:off x="7191545" y="0"/>
            <a:ext cx="5000460" cy="1425988"/>
            <a:chOff x="7191545" y="0"/>
            <a:chExt cx="5000460" cy="1425988"/>
          </a:xfrm>
        </p:grpSpPr>
        <p:pic>
          <p:nvPicPr>
            <p:cNvPr id="4105" name="Google Shape;4105;p51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06" name="Google Shape;4106;p517"/>
            <p:cNvGrpSpPr/>
            <p:nvPr/>
          </p:nvGrpSpPr>
          <p:grpSpPr>
            <a:xfrm>
              <a:off x="7191545" y="0"/>
              <a:ext cx="5000460" cy="1425988"/>
              <a:chOff x="7191545" y="0"/>
              <a:chExt cx="5000460" cy="1425988"/>
            </a:xfrm>
          </p:grpSpPr>
          <p:sp>
            <p:nvSpPr>
              <p:cNvPr id="4107" name="Google Shape;4107;p51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08" name="Google Shape;4108;p51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109" name="Google Shape;4109;p51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10" name="Google Shape;4110;p51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11" name="Google Shape;4111;p51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12" name="Google Shape;4112;p51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9866918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matchingName="Cover B 2">
  <p:cSld name="Cover B 2">
    <p:spTree>
      <p:nvGrpSpPr>
        <p:cNvPr id="1" name="Shape 4113"/>
        <p:cNvGrpSpPr/>
        <p:nvPr/>
      </p:nvGrpSpPr>
      <p:grpSpPr>
        <a:xfrm>
          <a:off x="0" y="0"/>
          <a:ext cx="0" cy="0"/>
          <a:chOff x="0" y="0"/>
          <a:chExt cx="0" cy="0"/>
        </a:xfrm>
      </p:grpSpPr>
      <p:sp>
        <p:nvSpPr>
          <p:cNvPr id="4114" name="Google Shape;4114;p518"/>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15" name="Google Shape;4115;p518"/>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116" name="Google Shape;4116;p518"/>
          <p:cNvGrpSpPr/>
          <p:nvPr/>
        </p:nvGrpSpPr>
        <p:grpSpPr>
          <a:xfrm>
            <a:off x="0" y="0"/>
            <a:ext cx="6418722" cy="1509820"/>
            <a:chOff x="0" y="0"/>
            <a:chExt cx="6418722" cy="1509820"/>
          </a:xfrm>
        </p:grpSpPr>
        <p:sp>
          <p:nvSpPr>
            <p:cNvPr id="4117" name="Google Shape;4117;p518"/>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18" name="Google Shape;4118;p518"/>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4119" name="Google Shape;4119;p518"/>
          <p:cNvPicPr preferRelativeResize="0"/>
          <p:nvPr/>
        </p:nvPicPr>
        <p:blipFill rotWithShape="1">
          <a:blip r:embed="rId2">
            <a:alphaModFix/>
          </a:blip>
          <a:srcRect/>
          <a:stretch/>
        </p:blipFill>
        <p:spPr>
          <a:xfrm>
            <a:off x="513345" y="136529"/>
            <a:ext cx="1945203" cy="879972"/>
          </a:xfrm>
          <a:prstGeom prst="rect">
            <a:avLst/>
          </a:prstGeom>
          <a:noFill/>
          <a:ln>
            <a:noFill/>
          </a:ln>
        </p:spPr>
      </p:pic>
    </p:spTree>
    <p:extLst>
      <p:ext uri="{BB962C8B-B14F-4D97-AF65-F5344CB8AC3E}">
        <p14:creationId xmlns:p14="http://schemas.microsoft.com/office/powerpoint/2010/main" val="1993140424"/>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matchingName="Quotation 12">
  <p:cSld name="Quotation 12">
    <p:spTree>
      <p:nvGrpSpPr>
        <p:cNvPr id="1" name="Shape 4120"/>
        <p:cNvGrpSpPr/>
        <p:nvPr/>
      </p:nvGrpSpPr>
      <p:grpSpPr>
        <a:xfrm>
          <a:off x="0" y="0"/>
          <a:ext cx="0" cy="0"/>
          <a:chOff x="0" y="0"/>
          <a:chExt cx="0" cy="0"/>
        </a:xfrm>
      </p:grpSpPr>
      <p:sp>
        <p:nvSpPr>
          <p:cNvPr id="4121" name="Google Shape;4121;p51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122" name="Google Shape;4122;p51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3" name="Google Shape;4123;p51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24" name="Google Shape;4124;p51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25" name="Google Shape;4125;p51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26" name="Google Shape;4126;p51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27" name="Google Shape;4127;p519"/>
          <p:cNvGrpSpPr/>
          <p:nvPr/>
        </p:nvGrpSpPr>
        <p:grpSpPr>
          <a:xfrm>
            <a:off x="7191545" y="0"/>
            <a:ext cx="5000460" cy="1425988"/>
            <a:chOff x="7191545" y="0"/>
            <a:chExt cx="5000460" cy="1425988"/>
          </a:xfrm>
        </p:grpSpPr>
        <p:pic>
          <p:nvPicPr>
            <p:cNvPr id="4128" name="Google Shape;4128;p51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29" name="Google Shape;4129;p519"/>
            <p:cNvGrpSpPr/>
            <p:nvPr/>
          </p:nvGrpSpPr>
          <p:grpSpPr>
            <a:xfrm>
              <a:off x="7191545" y="0"/>
              <a:ext cx="5000460" cy="1425988"/>
              <a:chOff x="7191545" y="0"/>
              <a:chExt cx="5000460" cy="1425988"/>
            </a:xfrm>
          </p:grpSpPr>
          <p:sp>
            <p:nvSpPr>
              <p:cNvPr id="4130" name="Google Shape;4130;p51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31" name="Google Shape;4131;p51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132" name="Google Shape;4132;p51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853040157"/>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matchingName="3_Quotation 2">
  <p:cSld name="3_Quotation 2">
    <p:spTree>
      <p:nvGrpSpPr>
        <p:cNvPr id="1" name="Shape 4133"/>
        <p:cNvGrpSpPr/>
        <p:nvPr/>
      </p:nvGrpSpPr>
      <p:grpSpPr>
        <a:xfrm>
          <a:off x="0" y="0"/>
          <a:ext cx="0" cy="0"/>
          <a:chOff x="0" y="0"/>
          <a:chExt cx="0" cy="0"/>
        </a:xfrm>
      </p:grpSpPr>
      <p:sp>
        <p:nvSpPr>
          <p:cNvPr id="4134" name="Google Shape;4134;p52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135" name="Google Shape;4135;p5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6" name="Google Shape;4136;p52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37" name="Google Shape;4137;p52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38" name="Google Shape;4138;p5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39" name="Google Shape;4139;p52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40" name="Google Shape;4140;p520"/>
          <p:cNvGrpSpPr/>
          <p:nvPr/>
        </p:nvGrpSpPr>
        <p:grpSpPr>
          <a:xfrm>
            <a:off x="7191545" y="0"/>
            <a:ext cx="5000460" cy="1425988"/>
            <a:chOff x="7191545" y="0"/>
            <a:chExt cx="5000460" cy="1425988"/>
          </a:xfrm>
        </p:grpSpPr>
        <p:pic>
          <p:nvPicPr>
            <p:cNvPr id="4141" name="Google Shape;4141;p5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42" name="Google Shape;4142;p520"/>
            <p:cNvGrpSpPr/>
            <p:nvPr/>
          </p:nvGrpSpPr>
          <p:grpSpPr>
            <a:xfrm>
              <a:off x="7191545" y="0"/>
              <a:ext cx="5000460" cy="1425988"/>
              <a:chOff x="7191545" y="0"/>
              <a:chExt cx="5000460" cy="1425988"/>
            </a:xfrm>
          </p:grpSpPr>
          <p:sp>
            <p:nvSpPr>
              <p:cNvPr id="4143" name="Google Shape;4143;p5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44" name="Google Shape;4144;p5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145" name="Google Shape;4145;p52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225042605"/>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matchingName="Quotation 13">
  <p:cSld name="Quotation 13">
    <p:spTree>
      <p:nvGrpSpPr>
        <p:cNvPr id="1" name="Shape 4146"/>
        <p:cNvGrpSpPr/>
        <p:nvPr/>
      </p:nvGrpSpPr>
      <p:grpSpPr>
        <a:xfrm>
          <a:off x="0" y="0"/>
          <a:ext cx="0" cy="0"/>
          <a:chOff x="0" y="0"/>
          <a:chExt cx="0" cy="0"/>
        </a:xfrm>
      </p:grpSpPr>
      <p:sp>
        <p:nvSpPr>
          <p:cNvPr id="4147" name="Google Shape;4147;p52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148" name="Google Shape;4148;p52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9" name="Google Shape;4149;p521"/>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50" name="Google Shape;4150;p52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51" name="Google Shape;4151;p5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52" name="Google Shape;4152;p52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53" name="Google Shape;4153;p521"/>
          <p:cNvGrpSpPr/>
          <p:nvPr/>
        </p:nvGrpSpPr>
        <p:grpSpPr>
          <a:xfrm>
            <a:off x="7191545" y="0"/>
            <a:ext cx="5000460" cy="1425988"/>
            <a:chOff x="7191545" y="0"/>
            <a:chExt cx="5000460" cy="1425988"/>
          </a:xfrm>
        </p:grpSpPr>
        <p:pic>
          <p:nvPicPr>
            <p:cNvPr id="4154" name="Google Shape;4154;p5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55" name="Google Shape;4155;p521"/>
            <p:cNvGrpSpPr/>
            <p:nvPr/>
          </p:nvGrpSpPr>
          <p:grpSpPr>
            <a:xfrm>
              <a:off x="7191545" y="0"/>
              <a:ext cx="5000460" cy="1425988"/>
              <a:chOff x="7191545" y="0"/>
              <a:chExt cx="5000460" cy="1425988"/>
            </a:xfrm>
          </p:grpSpPr>
          <p:sp>
            <p:nvSpPr>
              <p:cNvPr id="4156" name="Google Shape;4156;p5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57" name="Google Shape;4157;p5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158" name="Google Shape;4158;p521"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784287084"/>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matchingName="1_Quotation 12">
  <p:cSld name="1_Quotation 12">
    <p:spTree>
      <p:nvGrpSpPr>
        <p:cNvPr id="1" name="Shape 4159"/>
        <p:cNvGrpSpPr/>
        <p:nvPr/>
      </p:nvGrpSpPr>
      <p:grpSpPr>
        <a:xfrm>
          <a:off x="0" y="0"/>
          <a:ext cx="0" cy="0"/>
          <a:chOff x="0" y="0"/>
          <a:chExt cx="0" cy="0"/>
        </a:xfrm>
      </p:grpSpPr>
      <p:sp>
        <p:nvSpPr>
          <p:cNvPr id="4160" name="Google Shape;4160;p52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161" name="Google Shape;4161;p52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2" name="Google Shape;4162;p522"/>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63" name="Google Shape;4163;p52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64" name="Google Shape;4164;p5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65" name="Google Shape;4165;p52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66" name="Google Shape;4166;p522"/>
          <p:cNvGrpSpPr/>
          <p:nvPr/>
        </p:nvGrpSpPr>
        <p:grpSpPr>
          <a:xfrm>
            <a:off x="7191545" y="0"/>
            <a:ext cx="5000460" cy="1425988"/>
            <a:chOff x="7191545" y="0"/>
            <a:chExt cx="5000460" cy="1425988"/>
          </a:xfrm>
        </p:grpSpPr>
        <p:pic>
          <p:nvPicPr>
            <p:cNvPr id="4167" name="Google Shape;4167;p5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68" name="Google Shape;4168;p522"/>
            <p:cNvGrpSpPr/>
            <p:nvPr/>
          </p:nvGrpSpPr>
          <p:grpSpPr>
            <a:xfrm>
              <a:off x="7191545" y="0"/>
              <a:ext cx="5000460" cy="1425988"/>
              <a:chOff x="7191545" y="0"/>
              <a:chExt cx="5000460" cy="1425988"/>
            </a:xfrm>
          </p:grpSpPr>
          <p:sp>
            <p:nvSpPr>
              <p:cNvPr id="4169" name="Google Shape;4169;p5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70" name="Google Shape;4170;p5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171" name="Google Shape;4171;p522"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882622314"/>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matchingName="4_Quotation 2">
  <p:cSld name="4_Quotation 2">
    <p:spTree>
      <p:nvGrpSpPr>
        <p:cNvPr id="1" name="Shape 4172"/>
        <p:cNvGrpSpPr/>
        <p:nvPr/>
      </p:nvGrpSpPr>
      <p:grpSpPr>
        <a:xfrm>
          <a:off x="0" y="0"/>
          <a:ext cx="0" cy="0"/>
          <a:chOff x="0" y="0"/>
          <a:chExt cx="0" cy="0"/>
        </a:xfrm>
      </p:grpSpPr>
      <p:sp>
        <p:nvSpPr>
          <p:cNvPr id="4173" name="Google Shape;4173;p52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174" name="Google Shape;4174;p5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75" name="Google Shape;4175;p52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76" name="Google Shape;4176;p52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77" name="Google Shape;4177;p5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78" name="Google Shape;4178;p52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79" name="Google Shape;4179;p523"/>
          <p:cNvGrpSpPr/>
          <p:nvPr/>
        </p:nvGrpSpPr>
        <p:grpSpPr>
          <a:xfrm>
            <a:off x="7191545" y="0"/>
            <a:ext cx="5000460" cy="1425988"/>
            <a:chOff x="7191545" y="0"/>
            <a:chExt cx="5000460" cy="1425988"/>
          </a:xfrm>
        </p:grpSpPr>
        <p:pic>
          <p:nvPicPr>
            <p:cNvPr id="4180" name="Google Shape;4180;p5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81" name="Google Shape;4181;p523"/>
            <p:cNvGrpSpPr/>
            <p:nvPr/>
          </p:nvGrpSpPr>
          <p:grpSpPr>
            <a:xfrm>
              <a:off x="7191545" y="0"/>
              <a:ext cx="5000460" cy="1425988"/>
              <a:chOff x="7191545" y="0"/>
              <a:chExt cx="5000460" cy="1425988"/>
            </a:xfrm>
          </p:grpSpPr>
          <p:sp>
            <p:nvSpPr>
              <p:cNvPr id="4182" name="Google Shape;4182;p5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83" name="Google Shape;4183;p5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184" name="Google Shape;4184;p52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002059987"/>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matchingName="1_Quotation 13">
  <p:cSld name="1_Quotation 13">
    <p:spTree>
      <p:nvGrpSpPr>
        <p:cNvPr id="1" name="Shape 4185"/>
        <p:cNvGrpSpPr/>
        <p:nvPr/>
      </p:nvGrpSpPr>
      <p:grpSpPr>
        <a:xfrm>
          <a:off x="0" y="0"/>
          <a:ext cx="0" cy="0"/>
          <a:chOff x="0" y="0"/>
          <a:chExt cx="0" cy="0"/>
        </a:xfrm>
      </p:grpSpPr>
      <p:sp>
        <p:nvSpPr>
          <p:cNvPr id="4186" name="Google Shape;4186;p52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187" name="Google Shape;4187;p52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88" name="Google Shape;4188;p524"/>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189" name="Google Shape;4189;p52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190" name="Google Shape;4190;p5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191" name="Google Shape;4191;p52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92" name="Google Shape;4192;p524"/>
          <p:cNvGrpSpPr/>
          <p:nvPr/>
        </p:nvGrpSpPr>
        <p:grpSpPr>
          <a:xfrm>
            <a:off x="7191545" y="0"/>
            <a:ext cx="5000460" cy="1425988"/>
            <a:chOff x="7191545" y="0"/>
            <a:chExt cx="5000460" cy="1425988"/>
          </a:xfrm>
        </p:grpSpPr>
        <p:pic>
          <p:nvPicPr>
            <p:cNvPr id="4193" name="Google Shape;4193;p5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194" name="Google Shape;4194;p524"/>
            <p:cNvGrpSpPr/>
            <p:nvPr/>
          </p:nvGrpSpPr>
          <p:grpSpPr>
            <a:xfrm>
              <a:off x="7191545" y="0"/>
              <a:ext cx="5000460" cy="1425988"/>
              <a:chOff x="7191545" y="0"/>
              <a:chExt cx="5000460" cy="1425988"/>
            </a:xfrm>
          </p:grpSpPr>
          <p:sp>
            <p:nvSpPr>
              <p:cNvPr id="4195" name="Google Shape;4195;p5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196" name="Google Shape;4196;p5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197" name="Google Shape;4197;p524"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487341743"/>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4198"/>
        <p:cNvGrpSpPr/>
        <p:nvPr/>
      </p:nvGrpSpPr>
      <p:grpSpPr>
        <a:xfrm>
          <a:off x="0" y="0"/>
          <a:ext cx="0" cy="0"/>
          <a:chOff x="0" y="0"/>
          <a:chExt cx="0" cy="0"/>
        </a:xfrm>
      </p:grpSpPr>
      <p:sp>
        <p:nvSpPr>
          <p:cNvPr id="4199" name="Google Shape;4199;p525"/>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00" name="Google Shape;4200;p525"/>
          <p:cNvSpPr/>
          <p:nvPr/>
        </p:nvSpPr>
        <p:spPr>
          <a:xfrm>
            <a:off x="1" y="5100853"/>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4201" name="Google Shape;4201;p525"/>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4202" name="Google Shape;4202;p525"/>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4203" name="Google Shape;4203;p525"/>
          <p:cNvPicPr preferRelativeResize="0"/>
          <p:nvPr/>
        </p:nvPicPr>
        <p:blipFill rotWithShape="1">
          <a:blip r:embed="rId3">
            <a:alphaModFix/>
          </a:blip>
          <a:srcRect/>
          <a:stretch/>
        </p:blipFill>
        <p:spPr>
          <a:xfrm>
            <a:off x="313960" y="5564125"/>
            <a:ext cx="2025386" cy="911355"/>
          </a:xfrm>
          <a:prstGeom prst="rect">
            <a:avLst/>
          </a:prstGeom>
          <a:noFill/>
          <a:ln>
            <a:noFill/>
          </a:ln>
        </p:spPr>
      </p:pic>
      <p:sp>
        <p:nvSpPr>
          <p:cNvPr id="4204" name="Google Shape;4204;p525"/>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05" name="Google Shape;4205;p525"/>
          <p:cNvSpPr txBox="1">
            <a:spLocks noGrp="1"/>
          </p:cNvSpPr>
          <p:nvPr>
            <p:ph type="title"/>
          </p:nvPr>
        </p:nvSpPr>
        <p:spPr>
          <a:xfrm>
            <a:off x="471694" y="365445"/>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06" name="Google Shape;4206;p525"/>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207" name="Google Shape;4207;p525"/>
          <p:cNvSpPr txBox="1">
            <a:spLocks noGrp="1"/>
          </p:cNvSpPr>
          <p:nvPr>
            <p:ph type="ftr" idx="11"/>
          </p:nvPr>
        </p:nvSpPr>
        <p:spPr>
          <a:xfrm>
            <a:off x="609603" y="6356352"/>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08" name="Google Shape;4208;p5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209" name="Google Shape;4209;p525"/>
          <p:cNvSpPr txBox="1">
            <a:spLocks noGrp="1"/>
          </p:cNvSpPr>
          <p:nvPr>
            <p:ph type="sldNum" idx="12"/>
          </p:nvPr>
        </p:nvSpPr>
        <p:spPr>
          <a:xfrm>
            <a:off x="8839203" y="6356352"/>
            <a:ext cx="2743200" cy="365129"/>
          </a:xfrm>
          <a:prstGeom prst="rect">
            <a:avLst/>
          </a:prstGeom>
          <a:noFill/>
          <a:ln>
            <a:noFill/>
          </a:ln>
        </p:spPr>
        <p:txBody>
          <a:bodyPr spcFirstLastPara="1" wrap="square" lIns="0" tIns="0" rIns="0" bIns="0" anchor="ctr" anchorCtr="0">
            <a:noAutofit/>
          </a:bodyPr>
          <a:lstStyle>
            <a:lvl1pPr marL="38105"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5"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5"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5"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5"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5"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5"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5"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5"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26116129"/>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matchingName="2_Quotation 2">
  <p:cSld name="2_Quotation 2">
    <p:spTree>
      <p:nvGrpSpPr>
        <p:cNvPr id="1" name="Shape 4210"/>
        <p:cNvGrpSpPr/>
        <p:nvPr/>
      </p:nvGrpSpPr>
      <p:grpSpPr>
        <a:xfrm>
          <a:off x="0" y="0"/>
          <a:ext cx="0" cy="0"/>
          <a:chOff x="0" y="0"/>
          <a:chExt cx="0" cy="0"/>
        </a:xfrm>
      </p:grpSpPr>
      <p:sp>
        <p:nvSpPr>
          <p:cNvPr id="4211" name="Google Shape;4211;p52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12" name="Google Shape;4212;p5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13" name="Google Shape;4213;p526"/>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14" name="Google Shape;4214;p52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215" name="Google Shape;4215;p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216" name="Google Shape;4216;p52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17" name="Google Shape;4217;p526"/>
          <p:cNvGrpSpPr/>
          <p:nvPr/>
        </p:nvGrpSpPr>
        <p:grpSpPr>
          <a:xfrm>
            <a:off x="7191545" y="0"/>
            <a:ext cx="5000460" cy="1425988"/>
            <a:chOff x="7191545" y="0"/>
            <a:chExt cx="5000460" cy="1425988"/>
          </a:xfrm>
        </p:grpSpPr>
        <p:pic>
          <p:nvPicPr>
            <p:cNvPr id="4218" name="Google Shape;4218;p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219" name="Google Shape;4219;p526"/>
            <p:cNvGrpSpPr/>
            <p:nvPr/>
          </p:nvGrpSpPr>
          <p:grpSpPr>
            <a:xfrm>
              <a:off x="7191545" y="0"/>
              <a:ext cx="5000460" cy="1425988"/>
              <a:chOff x="7191545" y="0"/>
              <a:chExt cx="5000460" cy="1425988"/>
            </a:xfrm>
          </p:grpSpPr>
          <p:sp>
            <p:nvSpPr>
              <p:cNvPr id="4220" name="Google Shape;4220;p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21" name="Google Shape;4221;p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222" name="Google Shape;4222;p526"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488284840"/>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matchingName="5_Quotation 2">
  <p:cSld name="5_Quotation 2">
    <p:spTree>
      <p:nvGrpSpPr>
        <p:cNvPr id="1" name="Shape 4223"/>
        <p:cNvGrpSpPr/>
        <p:nvPr/>
      </p:nvGrpSpPr>
      <p:grpSpPr>
        <a:xfrm>
          <a:off x="0" y="0"/>
          <a:ext cx="0" cy="0"/>
          <a:chOff x="0" y="0"/>
          <a:chExt cx="0" cy="0"/>
        </a:xfrm>
      </p:grpSpPr>
      <p:sp>
        <p:nvSpPr>
          <p:cNvPr id="4224" name="Google Shape;4224;p52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25" name="Google Shape;4225;p5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26" name="Google Shape;4226;p527"/>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27" name="Google Shape;4227;p52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228" name="Google Shape;4228;p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229" name="Google Shape;4229;p52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30" name="Google Shape;4230;p527"/>
          <p:cNvGrpSpPr/>
          <p:nvPr/>
        </p:nvGrpSpPr>
        <p:grpSpPr>
          <a:xfrm>
            <a:off x="7191545" y="0"/>
            <a:ext cx="5000460" cy="1425988"/>
            <a:chOff x="7191545" y="0"/>
            <a:chExt cx="5000460" cy="1425988"/>
          </a:xfrm>
        </p:grpSpPr>
        <p:pic>
          <p:nvPicPr>
            <p:cNvPr id="4231" name="Google Shape;4231;p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232" name="Google Shape;4232;p527"/>
            <p:cNvGrpSpPr/>
            <p:nvPr/>
          </p:nvGrpSpPr>
          <p:grpSpPr>
            <a:xfrm>
              <a:off x="7191545" y="0"/>
              <a:ext cx="5000460" cy="1425988"/>
              <a:chOff x="7191545" y="0"/>
              <a:chExt cx="5000460" cy="1425988"/>
            </a:xfrm>
          </p:grpSpPr>
          <p:sp>
            <p:nvSpPr>
              <p:cNvPr id="4233" name="Google Shape;4233;p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34" name="Google Shape;4234;p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235" name="Google Shape;4235;p527"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0218932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matchingName="Cover 9">
  <p:cSld name="Cover 9">
    <p:spTree>
      <p:nvGrpSpPr>
        <p:cNvPr id="1" name="Shape 4236"/>
        <p:cNvGrpSpPr/>
        <p:nvPr/>
      </p:nvGrpSpPr>
      <p:grpSpPr>
        <a:xfrm>
          <a:off x="0" y="0"/>
          <a:ext cx="0" cy="0"/>
          <a:chOff x="0" y="0"/>
          <a:chExt cx="0" cy="0"/>
        </a:xfrm>
      </p:grpSpPr>
      <p:sp>
        <p:nvSpPr>
          <p:cNvPr id="4237" name="Google Shape;4237;p528"/>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38" name="Google Shape;4238;p52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39" name="Google Shape;4239;p52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240" name="Google Shape;4240;p528"/>
          <p:cNvGrpSpPr/>
          <p:nvPr/>
        </p:nvGrpSpPr>
        <p:grpSpPr>
          <a:xfrm>
            <a:off x="0" y="5020349"/>
            <a:ext cx="12191996" cy="1837651"/>
            <a:chOff x="0" y="5020348"/>
            <a:chExt cx="12191996" cy="1837651"/>
          </a:xfrm>
        </p:grpSpPr>
        <p:sp>
          <p:nvSpPr>
            <p:cNvPr id="4241" name="Google Shape;4241;p52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42" name="Google Shape;4242;p52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243" name="Google Shape;4243;p52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971502899"/>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matchingName="Divider 10">
  <p:cSld name="Divider 10">
    <p:spTree>
      <p:nvGrpSpPr>
        <p:cNvPr id="1" name="Shape 4244"/>
        <p:cNvGrpSpPr/>
        <p:nvPr/>
      </p:nvGrpSpPr>
      <p:grpSpPr>
        <a:xfrm>
          <a:off x="0" y="0"/>
          <a:ext cx="0" cy="0"/>
          <a:chOff x="0" y="0"/>
          <a:chExt cx="0" cy="0"/>
        </a:xfrm>
      </p:grpSpPr>
      <p:grpSp>
        <p:nvGrpSpPr>
          <p:cNvPr id="4245" name="Google Shape;4245;p529"/>
          <p:cNvGrpSpPr/>
          <p:nvPr/>
        </p:nvGrpSpPr>
        <p:grpSpPr>
          <a:xfrm>
            <a:off x="0" y="5020349"/>
            <a:ext cx="12191996" cy="1837651"/>
            <a:chOff x="0" y="5020348"/>
            <a:chExt cx="12191996" cy="1837651"/>
          </a:xfrm>
        </p:grpSpPr>
        <p:sp>
          <p:nvSpPr>
            <p:cNvPr id="4246" name="Google Shape;4246;p52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47" name="Google Shape;4247;p52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48" name="Google Shape;4248;p52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249" name="Google Shape;4249;p52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4250" name="Google Shape;4250;p529"/>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51" name="Google Shape;4251;p52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87967506"/>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matchingName="Photo Slide 9">
  <p:cSld name="Photo Slide 9">
    <p:spTree>
      <p:nvGrpSpPr>
        <p:cNvPr id="1" name="Shape 4252"/>
        <p:cNvGrpSpPr/>
        <p:nvPr/>
      </p:nvGrpSpPr>
      <p:grpSpPr>
        <a:xfrm>
          <a:off x="0" y="0"/>
          <a:ext cx="0" cy="0"/>
          <a:chOff x="0" y="0"/>
          <a:chExt cx="0" cy="0"/>
        </a:xfrm>
      </p:grpSpPr>
      <p:sp>
        <p:nvSpPr>
          <p:cNvPr id="4253" name="Google Shape;4253;p53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254" name="Google Shape;4254;p530"/>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4255" name="Google Shape;4255;p530"/>
          <p:cNvGrpSpPr/>
          <p:nvPr/>
        </p:nvGrpSpPr>
        <p:grpSpPr>
          <a:xfrm>
            <a:off x="1" y="5379425"/>
            <a:ext cx="2807363" cy="753895"/>
            <a:chOff x="0" y="5379424"/>
            <a:chExt cx="2807363" cy="753895"/>
          </a:xfrm>
        </p:grpSpPr>
        <p:sp>
          <p:nvSpPr>
            <p:cNvPr id="4256" name="Google Shape;4256;p53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57" name="Google Shape;4257;p53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4258" name="Google Shape;4258;p530"/>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2864932391"/>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matchingName="Quotation 14">
  <p:cSld name="Quotation 14">
    <p:spTree>
      <p:nvGrpSpPr>
        <p:cNvPr id="1" name="Shape 4259"/>
        <p:cNvGrpSpPr/>
        <p:nvPr/>
      </p:nvGrpSpPr>
      <p:grpSpPr>
        <a:xfrm>
          <a:off x="0" y="0"/>
          <a:ext cx="0" cy="0"/>
          <a:chOff x="0" y="0"/>
          <a:chExt cx="0" cy="0"/>
        </a:xfrm>
      </p:grpSpPr>
      <p:sp>
        <p:nvSpPr>
          <p:cNvPr id="4260" name="Google Shape;4260;p53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61" name="Google Shape;4261;p53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62" name="Google Shape;4262;p531"/>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63" name="Google Shape;4263;p53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264" name="Google Shape;4264;p5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265" name="Google Shape;4265;p53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66" name="Google Shape;4266;p531"/>
          <p:cNvGrpSpPr/>
          <p:nvPr/>
        </p:nvGrpSpPr>
        <p:grpSpPr>
          <a:xfrm>
            <a:off x="7191545" y="0"/>
            <a:ext cx="5000460" cy="1425988"/>
            <a:chOff x="7191545" y="0"/>
            <a:chExt cx="5000460" cy="1425988"/>
          </a:xfrm>
        </p:grpSpPr>
        <p:pic>
          <p:nvPicPr>
            <p:cNvPr id="4267" name="Google Shape;4267;p5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268" name="Google Shape;4268;p531"/>
            <p:cNvGrpSpPr/>
            <p:nvPr/>
          </p:nvGrpSpPr>
          <p:grpSpPr>
            <a:xfrm>
              <a:off x="7191545" y="0"/>
              <a:ext cx="5000460" cy="1425988"/>
              <a:chOff x="7191545" y="0"/>
              <a:chExt cx="5000460" cy="1425988"/>
            </a:xfrm>
          </p:grpSpPr>
          <p:sp>
            <p:nvSpPr>
              <p:cNvPr id="4269" name="Google Shape;4269;p5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70" name="Google Shape;4270;p5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271" name="Google Shape;4271;p531"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433883597"/>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matchingName="1_Quotation 14">
  <p:cSld name="1_Quotation 14">
    <p:spTree>
      <p:nvGrpSpPr>
        <p:cNvPr id="1" name="Shape 4272"/>
        <p:cNvGrpSpPr/>
        <p:nvPr/>
      </p:nvGrpSpPr>
      <p:grpSpPr>
        <a:xfrm>
          <a:off x="0" y="0"/>
          <a:ext cx="0" cy="0"/>
          <a:chOff x="0" y="0"/>
          <a:chExt cx="0" cy="0"/>
        </a:xfrm>
      </p:grpSpPr>
      <p:sp>
        <p:nvSpPr>
          <p:cNvPr id="4273" name="Google Shape;4273;p53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274" name="Google Shape;4274;p53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75" name="Google Shape;4275;p532"/>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76" name="Google Shape;4276;p53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277" name="Google Shape;4277;p5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278" name="Google Shape;4278;p53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279" name="Google Shape;4279;p532"/>
          <p:cNvGrpSpPr/>
          <p:nvPr/>
        </p:nvGrpSpPr>
        <p:grpSpPr>
          <a:xfrm>
            <a:off x="7191545" y="0"/>
            <a:ext cx="5000460" cy="1425988"/>
            <a:chOff x="7191545" y="0"/>
            <a:chExt cx="5000460" cy="1425988"/>
          </a:xfrm>
        </p:grpSpPr>
        <p:pic>
          <p:nvPicPr>
            <p:cNvPr id="4280" name="Google Shape;4280;p5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281" name="Google Shape;4281;p532"/>
            <p:cNvGrpSpPr/>
            <p:nvPr/>
          </p:nvGrpSpPr>
          <p:grpSpPr>
            <a:xfrm>
              <a:off x="7191545" y="0"/>
              <a:ext cx="5000460" cy="1425988"/>
              <a:chOff x="7191545" y="0"/>
              <a:chExt cx="5000460" cy="1425988"/>
            </a:xfrm>
          </p:grpSpPr>
          <p:sp>
            <p:nvSpPr>
              <p:cNvPr id="4282" name="Google Shape;4282;p5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83" name="Google Shape;4283;p5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284" name="Google Shape;4284;p532"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560493350"/>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matchingName="Title and Content 12">
  <p:cSld name="Title and Content 12">
    <p:spTree>
      <p:nvGrpSpPr>
        <p:cNvPr id="1" name="Shape 4285"/>
        <p:cNvGrpSpPr/>
        <p:nvPr/>
      </p:nvGrpSpPr>
      <p:grpSpPr>
        <a:xfrm>
          <a:off x="0" y="0"/>
          <a:ext cx="0" cy="0"/>
          <a:chOff x="0" y="0"/>
          <a:chExt cx="0" cy="0"/>
        </a:xfrm>
      </p:grpSpPr>
      <p:grpSp>
        <p:nvGrpSpPr>
          <p:cNvPr id="4286" name="Google Shape;4286;p533"/>
          <p:cNvGrpSpPr/>
          <p:nvPr/>
        </p:nvGrpSpPr>
        <p:grpSpPr>
          <a:xfrm>
            <a:off x="7191545" y="0"/>
            <a:ext cx="5000460" cy="1425988"/>
            <a:chOff x="7191545" y="0"/>
            <a:chExt cx="5000460" cy="1425988"/>
          </a:xfrm>
        </p:grpSpPr>
        <p:pic>
          <p:nvPicPr>
            <p:cNvPr id="4287" name="Google Shape;4287;p5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288" name="Google Shape;4288;p533"/>
            <p:cNvGrpSpPr/>
            <p:nvPr/>
          </p:nvGrpSpPr>
          <p:grpSpPr>
            <a:xfrm>
              <a:off x="7191545" y="0"/>
              <a:ext cx="5000460" cy="1425988"/>
              <a:chOff x="7191545" y="0"/>
              <a:chExt cx="5000460" cy="1425988"/>
            </a:xfrm>
          </p:grpSpPr>
          <p:sp>
            <p:nvSpPr>
              <p:cNvPr id="4289" name="Google Shape;4289;p5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290" name="Google Shape;4290;p5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291" name="Google Shape;4291;p53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2" name="Google Shape;4292;p53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293" name="Google Shape;4293;p53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294" name="Google Shape;4294;p5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295" name="Google Shape;4295;p53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47424187"/>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matchingName="Two Content 8">
  <p:cSld name="Two Content 8">
    <p:spTree>
      <p:nvGrpSpPr>
        <p:cNvPr id="1" name="Shape 4296"/>
        <p:cNvGrpSpPr/>
        <p:nvPr/>
      </p:nvGrpSpPr>
      <p:grpSpPr>
        <a:xfrm>
          <a:off x="0" y="0"/>
          <a:ext cx="0" cy="0"/>
          <a:chOff x="0" y="0"/>
          <a:chExt cx="0" cy="0"/>
        </a:xfrm>
      </p:grpSpPr>
      <p:sp>
        <p:nvSpPr>
          <p:cNvPr id="4297" name="Google Shape;4297;p53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8" name="Google Shape;4298;p534"/>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299" name="Google Shape;4299;p534"/>
          <p:cNvGrpSpPr/>
          <p:nvPr/>
        </p:nvGrpSpPr>
        <p:grpSpPr>
          <a:xfrm>
            <a:off x="7191545" y="0"/>
            <a:ext cx="5000460" cy="1425988"/>
            <a:chOff x="7191545" y="0"/>
            <a:chExt cx="5000460" cy="1425988"/>
          </a:xfrm>
        </p:grpSpPr>
        <p:pic>
          <p:nvPicPr>
            <p:cNvPr id="4300" name="Google Shape;4300;p5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301" name="Google Shape;4301;p534"/>
            <p:cNvGrpSpPr/>
            <p:nvPr/>
          </p:nvGrpSpPr>
          <p:grpSpPr>
            <a:xfrm>
              <a:off x="7191545" y="0"/>
              <a:ext cx="5000460" cy="1425988"/>
              <a:chOff x="7191545" y="0"/>
              <a:chExt cx="5000460" cy="1425988"/>
            </a:xfrm>
          </p:grpSpPr>
          <p:sp>
            <p:nvSpPr>
              <p:cNvPr id="4302" name="Google Shape;4302;p5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03" name="Google Shape;4303;p5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304" name="Google Shape;4304;p534"/>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05" name="Google Shape;4305;p534"/>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06" name="Google Shape;4306;p5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307" name="Google Shape;4307;p53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5843810"/>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matchingName="Comparison 7">
  <p:cSld name="Comparison 7">
    <p:spTree>
      <p:nvGrpSpPr>
        <p:cNvPr id="1" name="Shape 4308"/>
        <p:cNvGrpSpPr/>
        <p:nvPr/>
      </p:nvGrpSpPr>
      <p:grpSpPr>
        <a:xfrm>
          <a:off x="0" y="0"/>
          <a:ext cx="0" cy="0"/>
          <a:chOff x="0" y="0"/>
          <a:chExt cx="0" cy="0"/>
        </a:xfrm>
      </p:grpSpPr>
      <p:grpSp>
        <p:nvGrpSpPr>
          <p:cNvPr id="4309" name="Google Shape;4309;p535"/>
          <p:cNvGrpSpPr/>
          <p:nvPr/>
        </p:nvGrpSpPr>
        <p:grpSpPr>
          <a:xfrm>
            <a:off x="7191545" y="0"/>
            <a:ext cx="5000460" cy="1425988"/>
            <a:chOff x="7191545" y="0"/>
            <a:chExt cx="5000460" cy="1425988"/>
          </a:xfrm>
        </p:grpSpPr>
        <p:pic>
          <p:nvPicPr>
            <p:cNvPr id="4310" name="Google Shape;4310;p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311" name="Google Shape;4311;p535"/>
            <p:cNvGrpSpPr/>
            <p:nvPr/>
          </p:nvGrpSpPr>
          <p:grpSpPr>
            <a:xfrm>
              <a:off x="7191545" y="0"/>
              <a:ext cx="5000460" cy="1425988"/>
              <a:chOff x="7191545" y="0"/>
              <a:chExt cx="5000460" cy="1425988"/>
            </a:xfrm>
          </p:grpSpPr>
          <p:sp>
            <p:nvSpPr>
              <p:cNvPr id="4312" name="Google Shape;4312;p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13" name="Google Shape;4313;p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314" name="Google Shape;4314;p53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15" name="Google Shape;4315;p535"/>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16" name="Google Shape;4316;p535"/>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17" name="Google Shape;4317;p535"/>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18" name="Google Shape;4318;p535"/>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19" name="Google Shape;4319;p53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20" name="Google Shape;4320;p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321" name="Google Shape;4321;p53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32959462"/>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matchingName="Title Only 7">
  <p:cSld name="Title Only 7">
    <p:spTree>
      <p:nvGrpSpPr>
        <p:cNvPr id="1" name="Shape 4322"/>
        <p:cNvGrpSpPr/>
        <p:nvPr/>
      </p:nvGrpSpPr>
      <p:grpSpPr>
        <a:xfrm>
          <a:off x="0" y="0"/>
          <a:ext cx="0" cy="0"/>
          <a:chOff x="0" y="0"/>
          <a:chExt cx="0" cy="0"/>
        </a:xfrm>
      </p:grpSpPr>
      <p:grpSp>
        <p:nvGrpSpPr>
          <p:cNvPr id="4323" name="Google Shape;4323;p536"/>
          <p:cNvGrpSpPr/>
          <p:nvPr/>
        </p:nvGrpSpPr>
        <p:grpSpPr>
          <a:xfrm>
            <a:off x="7191545" y="0"/>
            <a:ext cx="5000460" cy="1425988"/>
            <a:chOff x="7191545" y="0"/>
            <a:chExt cx="5000460" cy="1425988"/>
          </a:xfrm>
        </p:grpSpPr>
        <p:pic>
          <p:nvPicPr>
            <p:cNvPr id="4324" name="Google Shape;4324;p5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325" name="Google Shape;4325;p536"/>
            <p:cNvGrpSpPr/>
            <p:nvPr/>
          </p:nvGrpSpPr>
          <p:grpSpPr>
            <a:xfrm>
              <a:off x="7191545" y="0"/>
              <a:ext cx="5000460" cy="1425988"/>
              <a:chOff x="7191545" y="0"/>
              <a:chExt cx="5000460" cy="1425988"/>
            </a:xfrm>
          </p:grpSpPr>
          <p:sp>
            <p:nvSpPr>
              <p:cNvPr id="4326" name="Google Shape;4326;p5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27" name="Google Shape;4327;p5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328" name="Google Shape;4328;p53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29" name="Google Shape;4329;p53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30" name="Google Shape;4330;p5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331" name="Google Shape;4331;p53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20178278"/>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matchingName="End 8">
  <p:cSld name="End 8">
    <p:spTree>
      <p:nvGrpSpPr>
        <p:cNvPr id="1" name="Shape 4332"/>
        <p:cNvGrpSpPr/>
        <p:nvPr/>
      </p:nvGrpSpPr>
      <p:grpSpPr>
        <a:xfrm>
          <a:off x="0" y="0"/>
          <a:ext cx="0" cy="0"/>
          <a:chOff x="0" y="0"/>
          <a:chExt cx="0" cy="0"/>
        </a:xfrm>
      </p:grpSpPr>
      <p:grpSp>
        <p:nvGrpSpPr>
          <p:cNvPr id="4333" name="Google Shape;4333;p537"/>
          <p:cNvGrpSpPr/>
          <p:nvPr/>
        </p:nvGrpSpPr>
        <p:grpSpPr>
          <a:xfrm>
            <a:off x="0" y="0"/>
            <a:ext cx="12191996" cy="2148830"/>
            <a:chOff x="0" y="0"/>
            <a:chExt cx="12191996" cy="2148830"/>
          </a:xfrm>
        </p:grpSpPr>
        <p:sp>
          <p:nvSpPr>
            <p:cNvPr id="4334" name="Google Shape;4334;p53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35" name="Google Shape;4335;p53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4336" name="Google Shape;4336;p537"/>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37" name="Google Shape;4337;p537"/>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38" name="Google Shape;4338;p537"/>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339" name="Google Shape;4339;p53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197006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96"/>
        <p:cNvGrpSpPr/>
        <p:nvPr/>
      </p:nvGrpSpPr>
      <p:grpSpPr>
        <a:xfrm>
          <a:off x="0" y="0"/>
          <a:ext cx="0" cy="0"/>
          <a:chOff x="0" y="0"/>
          <a:chExt cx="0" cy="0"/>
        </a:xfrm>
      </p:grpSpPr>
      <p:grpSp>
        <p:nvGrpSpPr>
          <p:cNvPr id="97" name="Google Shape;97;p10"/>
          <p:cNvGrpSpPr/>
          <p:nvPr/>
        </p:nvGrpSpPr>
        <p:grpSpPr>
          <a:xfrm>
            <a:off x="0" y="5020347"/>
            <a:ext cx="12192000" cy="1837653"/>
            <a:chOff x="0" y="5020347"/>
            <a:chExt cx="12192000" cy="1837653"/>
          </a:xfrm>
        </p:grpSpPr>
        <p:sp>
          <p:nvSpPr>
            <p:cNvPr id="98" name="Google Shape;98;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 name="Google Shape;99;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 name="Google Shape;100;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1" name="Google Shape;101;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 name="Google Shape;102;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matchingName="Blank 6">
  <p:cSld name="Blank 6">
    <p:spTree>
      <p:nvGrpSpPr>
        <p:cNvPr id="1" name="Shape 4340"/>
        <p:cNvGrpSpPr/>
        <p:nvPr/>
      </p:nvGrpSpPr>
      <p:grpSpPr>
        <a:xfrm>
          <a:off x="0" y="0"/>
          <a:ext cx="0" cy="0"/>
          <a:chOff x="0" y="0"/>
          <a:chExt cx="0" cy="0"/>
        </a:xfrm>
      </p:grpSpPr>
      <p:sp>
        <p:nvSpPr>
          <p:cNvPr id="4341" name="Google Shape;4341;p53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42" name="Google Shape;4342;p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343" name="Google Shape;4343;p53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44" name="Google Shape;4344;p538"/>
          <p:cNvGrpSpPr/>
          <p:nvPr/>
        </p:nvGrpSpPr>
        <p:grpSpPr>
          <a:xfrm>
            <a:off x="7191545" y="0"/>
            <a:ext cx="5000460" cy="1425988"/>
            <a:chOff x="7191545" y="0"/>
            <a:chExt cx="5000460" cy="1425988"/>
          </a:xfrm>
        </p:grpSpPr>
        <p:pic>
          <p:nvPicPr>
            <p:cNvPr id="4345" name="Google Shape;4345;p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346" name="Google Shape;4346;p538"/>
            <p:cNvGrpSpPr/>
            <p:nvPr/>
          </p:nvGrpSpPr>
          <p:grpSpPr>
            <a:xfrm>
              <a:off x="7191545" y="0"/>
              <a:ext cx="5000460" cy="1425988"/>
              <a:chOff x="7191545" y="0"/>
              <a:chExt cx="5000460" cy="1425988"/>
            </a:xfrm>
          </p:grpSpPr>
          <p:sp>
            <p:nvSpPr>
              <p:cNvPr id="4347" name="Google Shape;4347;p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48" name="Google Shape;4348;p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227058166"/>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matchingName="Cover 10">
  <p:cSld name="Cover 10">
    <p:spTree>
      <p:nvGrpSpPr>
        <p:cNvPr id="1" name="Shape 4349"/>
        <p:cNvGrpSpPr/>
        <p:nvPr/>
      </p:nvGrpSpPr>
      <p:grpSpPr>
        <a:xfrm>
          <a:off x="0" y="0"/>
          <a:ext cx="0" cy="0"/>
          <a:chOff x="0" y="0"/>
          <a:chExt cx="0" cy="0"/>
        </a:xfrm>
      </p:grpSpPr>
      <p:sp>
        <p:nvSpPr>
          <p:cNvPr id="4350" name="Google Shape;4350;p539"/>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51" name="Google Shape;4351;p53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52" name="Google Shape;4352;p53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353" name="Google Shape;4353;p539"/>
          <p:cNvGrpSpPr/>
          <p:nvPr/>
        </p:nvGrpSpPr>
        <p:grpSpPr>
          <a:xfrm>
            <a:off x="0" y="5020349"/>
            <a:ext cx="12191996" cy="1837651"/>
            <a:chOff x="0" y="5020348"/>
            <a:chExt cx="12191996" cy="1837651"/>
          </a:xfrm>
        </p:grpSpPr>
        <p:sp>
          <p:nvSpPr>
            <p:cNvPr id="4354" name="Google Shape;4354;p53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55" name="Google Shape;4355;p53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356" name="Google Shape;4356;p53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829665527"/>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matchingName="Divider 11">
  <p:cSld name="Divider 11">
    <p:spTree>
      <p:nvGrpSpPr>
        <p:cNvPr id="1" name="Shape 4357"/>
        <p:cNvGrpSpPr/>
        <p:nvPr/>
      </p:nvGrpSpPr>
      <p:grpSpPr>
        <a:xfrm>
          <a:off x="0" y="0"/>
          <a:ext cx="0" cy="0"/>
          <a:chOff x="0" y="0"/>
          <a:chExt cx="0" cy="0"/>
        </a:xfrm>
      </p:grpSpPr>
      <p:grpSp>
        <p:nvGrpSpPr>
          <p:cNvPr id="4358" name="Google Shape;4358;p540"/>
          <p:cNvGrpSpPr/>
          <p:nvPr/>
        </p:nvGrpSpPr>
        <p:grpSpPr>
          <a:xfrm>
            <a:off x="0" y="5020349"/>
            <a:ext cx="12191996" cy="1837651"/>
            <a:chOff x="0" y="5020348"/>
            <a:chExt cx="12191996" cy="1837651"/>
          </a:xfrm>
        </p:grpSpPr>
        <p:sp>
          <p:nvSpPr>
            <p:cNvPr id="4359" name="Google Shape;4359;p54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60" name="Google Shape;4360;p54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61" name="Google Shape;4361;p54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362" name="Google Shape;4362;p54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4363" name="Google Shape;4363;p540"/>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64" name="Google Shape;4364;p54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73204488"/>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matchingName="Photo Slide 10">
  <p:cSld name="Photo Slide 10">
    <p:spTree>
      <p:nvGrpSpPr>
        <p:cNvPr id="1" name="Shape 4365"/>
        <p:cNvGrpSpPr/>
        <p:nvPr/>
      </p:nvGrpSpPr>
      <p:grpSpPr>
        <a:xfrm>
          <a:off x="0" y="0"/>
          <a:ext cx="0" cy="0"/>
          <a:chOff x="0" y="0"/>
          <a:chExt cx="0" cy="0"/>
        </a:xfrm>
      </p:grpSpPr>
      <p:sp>
        <p:nvSpPr>
          <p:cNvPr id="4366" name="Google Shape;4366;p54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367" name="Google Shape;4367;p541"/>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4368" name="Google Shape;4368;p541"/>
          <p:cNvGrpSpPr/>
          <p:nvPr/>
        </p:nvGrpSpPr>
        <p:grpSpPr>
          <a:xfrm>
            <a:off x="1" y="5379425"/>
            <a:ext cx="2807363" cy="753895"/>
            <a:chOff x="0" y="5379424"/>
            <a:chExt cx="2807363" cy="753895"/>
          </a:xfrm>
        </p:grpSpPr>
        <p:sp>
          <p:nvSpPr>
            <p:cNvPr id="4369" name="Google Shape;4369;p54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70" name="Google Shape;4370;p54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4371" name="Google Shape;4371;p541"/>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3353412137"/>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matchingName="Quotation 15">
  <p:cSld name="Quotation 15">
    <p:spTree>
      <p:nvGrpSpPr>
        <p:cNvPr id="1" name="Shape 4372"/>
        <p:cNvGrpSpPr/>
        <p:nvPr/>
      </p:nvGrpSpPr>
      <p:grpSpPr>
        <a:xfrm>
          <a:off x="0" y="0"/>
          <a:ext cx="0" cy="0"/>
          <a:chOff x="0" y="0"/>
          <a:chExt cx="0" cy="0"/>
        </a:xfrm>
      </p:grpSpPr>
      <p:sp>
        <p:nvSpPr>
          <p:cNvPr id="4373" name="Google Shape;4373;p542"/>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374" name="Google Shape;4374;p54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75" name="Google Shape;4375;p542"/>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76" name="Google Shape;4376;p54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77" name="Google Shape;4377;p5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378" name="Google Shape;4378;p54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79" name="Google Shape;4379;p542"/>
          <p:cNvGrpSpPr/>
          <p:nvPr/>
        </p:nvGrpSpPr>
        <p:grpSpPr>
          <a:xfrm>
            <a:off x="7191545" y="0"/>
            <a:ext cx="5000460" cy="1425988"/>
            <a:chOff x="7191545" y="0"/>
            <a:chExt cx="5000460" cy="1425988"/>
          </a:xfrm>
        </p:grpSpPr>
        <p:pic>
          <p:nvPicPr>
            <p:cNvPr id="4380" name="Google Shape;4380;p5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381" name="Google Shape;4381;p542"/>
            <p:cNvGrpSpPr/>
            <p:nvPr/>
          </p:nvGrpSpPr>
          <p:grpSpPr>
            <a:xfrm>
              <a:off x="7191545" y="0"/>
              <a:ext cx="5000460" cy="1425988"/>
              <a:chOff x="7191545" y="0"/>
              <a:chExt cx="5000460" cy="1425988"/>
            </a:xfrm>
          </p:grpSpPr>
          <p:sp>
            <p:nvSpPr>
              <p:cNvPr id="4382" name="Google Shape;4382;p5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83" name="Google Shape;4383;p5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384" name="Google Shape;4384;p542"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370768110"/>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matchingName="Title and Content 13">
  <p:cSld name="Title and Content 13">
    <p:spTree>
      <p:nvGrpSpPr>
        <p:cNvPr id="1" name="Shape 4385"/>
        <p:cNvGrpSpPr/>
        <p:nvPr/>
      </p:nvGrpSpPr>
      <p:grpSpPr>
        <a:xfrm>
          <a:off x="0" y="0"/>
          <a:ext cx="0" cy="0"/>
          <a:chOff x="0" y="0"/>
          <a:chExt cx="0" cy="0"/>
        </a:xfrm>
      </p:grpSpPr>
      <p:grpSp>
        <p:nvGrpSpPr>
          <p:cNvPr id="4386" name="Google Shape;4386;p543"/>
          <p:cNvGrpSpPr/>
          <p:nvPr/>
        </p:nvGrpSpPr>
        <p:grpSpPr>
          <a:xfrm>
            <a:off x="7191545" y="0"/>
            <a:ext cx="5000460" cy="1425988"/>
            <a:chOff x="7191545" y="0"/>
            <a:chExt cx="5000460" cy="1425988"/>
          </a:xfrm>
        </p:grpSpPr>
        <p:pic>
          <p:nvPicPr>
            <p:cNvPr id="4387" name="Google Shape;4387;p5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388" name="Google Shape;4388;p543"/>
            <p:cNvGrpSpPr/>
            <p:nvPr/>
          </p:nvGrpSpPr>
          <p:grpSpPr>
            <a:xfrm>
              <a:off x="7191545" y="0"/>
              <a:ext cx="5000460" cy="1425988"/>
              <a:chOff x="7191545" y="0"/>
              <a:chExt cx="5000460" cy="1425988"/>
            </a:xfrm>
          </p:grpSpPr>
          <p:sp>
            <p:nvSpPr>
              <p:cNvPr id="4389" name="Google Shape;4389;p5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390" name="Google Shape;4390;p5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391" name="Google Shape;4391;p54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92" name="Google Shape;4392;p54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393" name="Google Shape;4393;p54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394" name="Google Shape;4394;p5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395" name="Google Shape;4395;p54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35838819"/>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matchingName="Two Content 9">
  <p:cSld name="Two Content 9">
    <p:spTree>
      <p:nvGrpSpPr>
        <p:cNvPr id="1" name="Shape 4396"/>
        <p:cNvGrpSpPr/>
        <p:nvPr/>
      </p:nvGrpSpPr>
      <p:grpSpPr>
        <a:xfrm>
          <a:off x="0" y="0"/>
          <a:ext cx="0" cy="0"/>
          <a:chOff x="0" y="0"/>
          <a:chExt cx="0" cy="0"/>
        </a:xfrm>
      </p:grpSpPr>
      <p:sp>
        <p:nvSpPr>
          <p:cNvPr id="4397" name="Google Shape;4397;p54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98" name="Google Shape;4398;p544"/>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399" name="Google Shape;4399;p544"/>
          <p:cNvGrpSpPr/>
          <p:nvPr/>
        </p:nvGrpSpPr>
        <p:grpSpPr>
          <a:xfrm>
            <a:off x="7191545" y="0"/>
            <a:ext cx="5000460" cy="1425988"/>
            <a:chOff x="7191545" y="0"/>
            <a:chExt cx="5000460" cy="1425988"/>
          </a:xfrm>
        </p:grpSpPr>
        <p:pic>
          <p:nvPicPr>
            <p:cNvPr id="4400" name="Google Shape;4400;p5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401" name="Google Shape;4401;p544"/>
            <p:cNvGrpSpPr/>
            <p:nvPr/>
          </p:nvGrpSpPr>
          <p:grpSpPr>
            <a:xfrm>
              <a:off x="7191545" y="0"/>
              <a:ext cx="5000460" cy="1425988"/>
              <a:chOff x="7191545" y="0"/>
              <a:chExt cx="5000460" cy="1425988"/>
            </a:xfrm>
          </p:grpSpPr>
          <p:sp>
            <p:nvSpPr>
              <p:cNvPr id="4402" name="Google Shape;4402;p5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03" name="Google Shape;4403;p5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404" name="Google Shape;4404;p544"/>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05" name="Google Shape;4405;p544"/>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406" name="Google Shape;4406;p5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407" name="Google Shape;4407;p54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5209499"/>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matchingName="Comparison 8">
  <p:cSld name="Comparison 8">
    <p:spTree>
      <p:nvGrpSpPr>
        <p:cNvPr id="1" name="Shape 4408"/>
        <p:cNvGrpSpPr/>
        <p:nvPr/>
      </p:nvGrpSpPr>
      <p:grpSpPr>
        <a:xfrm>
          <a:off x="0" y="0"/>
          <a:ext cx="0" cy="0"/>
          <a:chOff x="0" y="0"/>
          <a:chExt cx="0" cy="0"/>
        </a:xfrm>
      </p:grpSpPr>
      <p:grpSp>
        <p:nvGrpSpPr>
          <p:cNvPr id="4409" name="Google Shape;4409;p545"/>
          <p:cNvGrpSpPr/>
          <p:nvPr/>
        </p:nvGrpSpPr>
        <p:grpSpPr>
          <a:xfrm>
            <a:off x="7191545" y="0"/>
            <a:ext cx="5000460" cy="1425988"/>
            <a:chOff x="7191545" y="0"/>
            <a:chExt cx="5000460" cy="1425988"/>
          </a:xfrm>
        </p:grpSpPr>
        <p:pic>
          <p:nvPicPr>
            <p:cNvPr id="4410" name="Google Shape;4410;p5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411" name="Google Shape;4411;p545"/>
            <p:cNvGrpSpPr/>
            <p:nvPr/>
          </p:nvGrpSpPr>
          <p:grpSpPr>
            <a:xfrm>
              <a:off x="7191545" y="0"/>
              <a:ext cx="5000460" cy="1425988"/>
              <a:chOff x="7191545" y="0"/>
              <a:chExt cx="5000460" cy="1425988"/>
            </a:xfrm>
          </p:grpSpPr>
          <p:sp>
            <p:nvSpPr>
              <p:cNvPr id="4412" name="Google Shape;4412;p5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13" name="Google Shape;4413;p5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414" name="Google Shape;4414;p54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15" name="Google Shape;4415;p545"/>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16" name="Google Shape;4416;p545"/>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17" name="Google Shape;4417;p545"/>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18" name="Google Shape;4418;p545"/>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19" name="Google Shape;4419;p54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420" name="Google Shape;4420;p5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421" name="Google Shape;4421;p54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93888104"/>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matchingName="Title Only 8">
  <p:cSld name="Title Only 8">
    <p:spTree>
      <p:nvGrpSpPr>
        <p:cNvPr id="1" name="Shape 4422"/>
        <p:cNvGrpSpPr/>
        <p:nvPr/>
      </p:nvGrpSpPr>
      <p:grpSpPr>
        <a:xfrm>
          <a:off x="0" y="0"/>
          <a:ext cx="0" cy="0"/>
          <a:chOff x="0" y="0"/>
          <a:chExt cx="0" cy="0"/>
        </a:xfrm>
      </p:grpSpPr>
      <p:grpSp>
        <p:nvGrpSpPr>
          <p:cNvPr id="4423" name="Google Shape;4423;p546"/>
          <p:cNvGrpSpPr/>
          <p:nvPr/>
        </p:nvGrpSpPr>
        <p:grpSpPr>
          <a:xfrm>
            <a:off x="7191545" y="0"/>
            <a:ext cx="5000460" cy="1425988"/>
            <a:chOff x="7191545" y="0"/>
            <a:chExt cx="5000460" cy="1425988"/>
          </a:xfrm>
        </p:grpSpPr>
        <p:pic>
          <p:nvPicPr>
            <p:cNvPr id="4424" name="Google Shape;4424;p5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425" name="Google Shape;4425;p546"/>
            <p:cNvGrpSpPr/>
            <p:nvPr/>
          </p:nvGrpSpPr>
          <p:grpSpPr>
            <a:xfrm>
              <a:off x="7191545" y="0"/>
              <a:ext cx="5000460" cy="1425988"/>
              <a:chOff x="7191545" y="0"/>
              <a:chExt cx="5000460" cy="1425988"/>
            </a:xfrm>
          </p:grpSpPr>
          <p:sp>
            <p:nvSpPr>
              <p:cNvPr id="4426" name="Google Shape;4426;p5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27" name="Google Shape;4427;p5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428" name="Google Shape;4428;p54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29" name="Google Shape;4429;p54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430" name="Google Shape;4430;p5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431" name="Google Shape;4431;p54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2986633"/>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matchingName="End 9">
  <p:cSld name="End 9">
    <p:spTree>
      <p:nvGrpSpPr>
        <p:cNvPr id="1" name="Shape 4432"/>
        <p:cNvGrpSpPr/>
        <p:nvPr/>
      </p:nvGrpSpPr>
      <p:grpSpPr>
        <a:xfrm>
          <a:off x="0" y="0"/>
          <a:ext cx="0" cy="0"/>
          <a:chOff x="0" y="0"/>
          <a:chExt cx="0" cy="0"/>
        </a:xfrm>
      </p:grpSpPr>
      <p:grpSp>
        <p:nvGrpSpPr>
          <p:cNvPr id="4433" name="Google Shape;4433;p547"/>
          <p:cNvGrpSpPr/>
          <p:nvPr/>
        </p:nvGrpSpPr>
        <p:grpSpPr>
          <a:xfrm>
            <a:off x="0" y="0"/>
            <a:ext cx="12191996" cy="2148830"/>
            <a:chOff x="0" y="0"/>
            <a:chExt cx="12191996" cy="2148830"/>
          </a:xfrm>
        </p:grpSpPr>
        <p:sp>
          <p:nvSpPr>
            <p:cNvPr id="4434" name="Google Shape;4434;p54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35" name="Google Shape;4435;p54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4436" name="Google Shape;4436;p547"/>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37" name="Google Shape;4437;p547"/>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38" name="Google Shape;4438;p547"/>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439" name="Google Shape;4439;p54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42015609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matchingName="Blank 7">
  <p:cSld name="Blank 7">
    <p:spTree>
      <p:nvGrpSpPr>
        <p:cNvPr id="1" name="Shape 4440"/>
        <p:cNvGrpSpPr/>
        <p:nvPr/>
      </p:nvGrpSpPr>
      <p:grpSpPr>
        <a:xfrm>
          <a:off x="0" y="0"/>
          <a:ext cx="0" cy="0"/>
          <a:chOff x="0" y="0"/>
          <a:chExt cx="0" cy="0"/>
        </a:xfrm>
      </p:grpSpPr>
      <p:sp>
        <p:nvSpPr>
          <p:cNvPr id="4441" name="Google Shape;4441;p54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442" name="Google Shape;4442;p5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443" name="Google Shape;4443;p54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444" name="Google Shape;4444;p548"/>
          <p:cNvGrpSpPr/>
          <p:nvPr/>
        </p:nvGrpSpPr>
        <p:grpSpPr>
          <a:xfrm>
            <a:off x="7191545" y="0"/>
            <a:ext cx="5000460" cy="1425988"/>
            <a:chOff x="7191545" y="0"/>
            <a:chExt cx="5000460" cy="1425988"/>
          </a:xfrm>
        </p:grpSpPr>
        <p:pic>
          <p:nvPicPr>
            <p:cNvPr id="4445" name="Google Shape;4445;p5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446" name="Google Shape;4446;p548"/>
            <p:cNvGrpSpPr/>
            <p:nvPr/>
          </p:nvGrpSpPr>
          <p:grpSpPr>
            <a:xfrm>
              <a:off x="7191545" y="0"/>
              <a:ext cx="5000460" cy="1425988"/>
              <a:chOff x="7191545" y="0"/>
              <a:chExt cx="5000460" cy="1425988"/>
            </a:xfrm>
          </p:grpSpPr>
          <p:sp>
            <p:nvSpPr>
              <p:cNvPr id="4447" name="Google Shape;4447;p5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48" name="Google Shape;4448;p5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431539508"/>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matchingName="3_Quotation 3">
  <p:cSld name="3_Quotation 3">
    <p:spTree>
      <p:nvGrpSpPr>
        <p:cNvPr id="1" name="Shape 4449"/>
        <p:cNvGrpSpPr/>
        <p:nvPr/>
      </p:nvGrpSpPr>
      <p:grpSpPr>
        <a:xfrm>
          <a:off x="0" y="0"/>
          <a:ext cx="0" cy="0"/>
          <a:chOff x="0" y="0"/>
          <a:chExt cx="0" cy="0"/>
        </a:xfrm>
      </p:grpSpPr>
      <p:sp>
        <p:nvSpPr>
          <p:cNvPr id="4450" name="Google Shape;4450;p54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51" name="Google Shape;4451;p54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2" name="Google Shape;4452;p54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53" name="Google Shape;4453;p54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454" name="Google Shape;4454;p54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455" name="Google Shape;4455;p54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456" name="Google Shape;4456;p549"/>
          <p:cNvGrpSpPr/>
          <p:nvPr/>
        </p:nvGrpSpPr>
        <p:grpSpPr>
          <a:xfrm>
            <a:off x="7191545" y="0"/>
            <a:ext cx="5000460" cy="1425988"/>
            <a:chOff x="7191545" y="0"/>
            <a:chExt cx="5000460" cy="1425988"/>
          </a:xfrm>
        </p:grpSpPr>
        <p:pic>
          <p:nvPicPr>
            <p:cNvPr id="4457" name="Google Shape;4457;p54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458" name="Google Shape;4458;p549"/>
            <p:cNvGrpSpPr/>
            <p:nvPr/>
          </p:nvGrpSpPr>
          <p:grpSpPr>
            <a:xfrm>
              <a:off x="7191545" y="0"/>
              <a:ext cx="5000460" cy="1425988"/>
              <a:chOff x="7191545" y="0"/>
              <a:chExt cx="5000460" cy="1425988"/>
            </a:xfrm>
          </p:grpSpPr>
          <p:sp>
            <p:nvSpPr>
              <p:cNvPr id="4459" name="Google Shape;4459;p54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60" name="Google Shape;4460;p54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461" name="Google Shape;4461;p54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431757172"/>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matchingName="1_Cover 10">
  <p:cSld name="1_Cover 10">
    <p:spTree>
      <p:nvGrpSpPr>
        <p:cNvPr id="1" name="Shape 4462"/>
        <p:cNvGrpSpPr/>
        <p:nvPr/>
      </p:nvGrpSpPr>
      <p:grpSpPr>
        <a:xfrm>
          <a:off x="0" y="0"/>
          <a:ext cx="0" cy="0"/>
          <a:chOff x="0" y="0"/>
          <a:chExt cx="0" cy="0"/>
        </a:xfrm>
      </p:grpSpPr>
      <p:sp>
        <p:nvSpPr>
          <p:cNvPr id="4463" name="Google Shape;4463;p550"/>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64" name="Google Shape;4464;p55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65" name="Google Shape;4465;p55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466" name="Google Shape;4466;p550"/>
          <p:cNvGrpSpPr/>
          <p:nvPr/>
        </p:nvGrpSpPr>
        <p:grpSpPr>
          <a:xfrm>
            <a:off x="0" y="5020349"/>
            <a:ext cx="12191996" cy="1837651"/>
            <a:chOff x="0" y="5020348"/>
            <a:chExt cx="12191996" cy="1837651"/>
          </a:xfrm>
        </p:grpSpPr>
        <p:sp>
          <p:nvSpPr>
            <p:cNvPr id="4467" name="Google Shape;4467;p55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68" name="Google Shape;4468;p55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469" name="Google Shape;4469;p55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240458654"/>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matchingName="1_Divider 11">
  <p:cSld name="1_Divider 11">
    <p:spTree>
      <p:nvGrpSpPr>
        <p:cNvPr id="1" name="Shape 4470"/>
        <p:cNvGrpSpPr/>
        <p:nvPr/>
      </p:nvGrpSpPr>
      <p:grpSpPr>
        <a:xfrm>
          <a:off x="0" y="0"/>
          <a:ext cx="0" cy="0"/>
          <a:chOff x="0" y="0"/>
          <a:chExt cx="0" cy="0"/>
        </a:xfrm>
      </p:grpSpPr>
      <p:grpSp>
        <p:nvGrpSpPr>
          <p:cNvPr id="4471" name="Google Shape;4471;p551"/>
          <p:cNvGrpSpPr/>
          <p:nvPr/>
        </p:nvGrpSpPr>
        <p:grpSpPr>
          <a:xfrm>
            <a:off x="0" y="5020349"/>
            <a:ext cx="12191996" cy="1837651"/>
            <a:chOff x="0" y="5020348"/>
            <a:chExt cx="12191996" cy="1837651"/>
          </a:xfrm>
        </p:grpSpPr>
        <p:sp>
          <p:nvSpPr>
            <p:cNvPr id="4472" name="Google Shape;4472;p55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73" name="Google Shape;4473;p55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74" name="Google Shape;4474;p55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475" name="Google Shape;4475;p55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4476" name="Google Shape;4476;p551"/>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77" name="Google Shape;4477;p55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32760462"/>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matchingName="1_Photo Slide 10">
  <p:cSld name="1_Photo Slide 10">
    <p:spTree>
      <p:nvGrpSpPr>
        <p:cNvPr id="1" name="Shape 4478"/>
        <p:cNvGrpSpPr/>
        <p:nvPr/>
      </p:nvGrpSpPr>
      <p:grpSpPr>
        <a:xfrm>
          <a:off x="0" y="0"/>
          <a:ext cx="0" cy="0"/>
          <a:chOff x="0" y="0"/>
          <a:chExt cx="0" cy="0"/>
        </a:xfrm>
      </p:grpSpPr>
      <p:sp>
        <p:nvSpPr>
          <p:cNvPr id="4479" name="Google Shape;4479;p55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480" name="Google Shape;4480;p552"/>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4481" name="Google Shape;4481;p552"/>
          <p:cNvGrpSpPr/>
          <p:nvPr/>
        </p:nvGrpSpPr>
        <p:grpSpPr>
          <a:xfrm>
            <a:off x="1" y="5379425"/>
            <a:ext cx="2807363" cy="753895"/>
            <a:chOff x="0" y="5379424"/>
            <a:chExt cx="2807363" cy="753895"/>
          </a:xfrm>
        </p:grpSpPr>
        <p:sp>
          <p:nvSpPr>
            <p:cNvPr id="4482" name="Google Shape;4482;p55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83" name="Google Shape;4483;p55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4484" name="Google Shape;4484;p552"/>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3817016383"/>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matchingName="1_Quotation 15">
  <p:cSld name="1_Quotation 15">
    <p:spTree>
      <p:nvGrpSpPr>
        <p:cNvPr id="1" name="Shape 4485"/>
        <p:cNvGrpSpPr/>
        <p:nvPr/>
      </p:nvGrpSpPr>
      <p:grpSpPr>
        <a:xfrm>
          <a:off x="0" y="0"/>
          <a:ext cx="0" cy="0"/>
          <a:chOff x="0" y="0"/>
          <a:chExt cx="0" cy="0"/>
        </a:xfrm>
      </p:grpSpPr>
      <p:sp>
        <p:nvSpPr>
          <p:cNvPr id="4486" name="Google Shape;4486;p55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487" name="Google Shape;4487;p5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8" name="Google Shape;4488;p55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489" name="Google Shape;4489;p55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490" name="Google Shape;4490;p5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491" name="Google Shape;4491;p55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492" name="Google Shape;4492;p553"/>
          <p:cNvGrpSpPr/>
          <p:nvPr/>
        </p:nvGrpSpPr>
        <p:grpSpPr>
          <a:xfrm>
            <a:off x="7191545" y="0"/>
            <a:ext cx="5000460" cy="1425988"/>
            <a:chOff x="7191545" y="0"/>
            <a:chExt cx="5000460" cy="1425988"/>
          </a:xfrm>
        </p:grpSpPr>
        <p:pic>
          <p:nvPicPr>
            <p:cNvPr id="4493" name="Google Shape;4493;p5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494" name="Google Shape;4494;p553"/>
            <p:cNvGrpSpPr/>
            <p:nvPr/>
          </p:nvGrpSpPr>
          <p:grpSpPr>
            <a:xfrm>
              <a:off x="7191545" y="0"/>
              <a:ext cx="5000460" cy="1425988"/>
              <a:chOff x="7191545" y="0"/>
              <a:chExt cx="5000460" cy="1425988"/>
            </a:xfrm>
          </p:grpSpPr>
          <p:sp>
            <p:nvSpPr>
              <p:cNvPr id="4495" name="Google Shape;4495;p5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496" name="Google Shape;4496;p5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497" name="Google Shape;4497;p55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961453382"/>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matchingName="1_Title and Content 13">
  <p:cSld name="1_Title and Content 13">
    <p:spTree>
      <p:nvGrpSpPr>
        <p:cNvPr id="1" name="Shape 4498"/>
        <p:cNvGrpSpPr/>
        <p:nvPr/>
      </p:nvGrpSpPr>
      <p:grpSpPr>
        <a:xfrm>
          <a:off x="0" y="0"/>
          <a:ext cx="0" cy="0"/>
          <a:chOff x="0" y="0"/>
          <a:chExt cx="0" cy="0"/>
        </a:xfrm>
      </p:grpSpPr>
      <p:grpSp>
        <p:nvGrpSpPr>
          <p:cNvPr id="4499" name="Google Shape;4499;p554"/>
          <p:cNvGrpSpPr/>
          <p:nvPr/>
        </p:nvGrpSpPr>
        <p:grpSpPr>
          <a:xfrm>
            <a:off x="7191545" y="0"/>
            <a:ext cx="5000460" cy="1425988"/>
            <a:chOff x="7191545" y="0"/>
            <a:chExt cx="5000460" cy="1425988"/>
          </a:xfrm>
        </p:grpSpPr>
        <p:pic>
          <p:nvPicPr>
            <p:cNvPr id="4500" name="Google Shape;4500;p5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501" name="Google Shape;4501;p554"/>
            <p:cNvGrpSpPr/>
            <p:nvPr/>
          </p:nvGrpSpPr>
          <p:grpSpPr>
            <a:xfrm>
              <a:off x="7191545" y="0"/>
              <a:ext cx="5000460" cy="1425988"/>
              <a:chOff x="7191545" y="0"/>
              <a:chExt cx="5000460" cy="1425988"/>
            </a:xfrm>
          </p:grpSpPr>
          <p:sp>
            <p:nvSpPr>
              <p:cNvPr id="4502" name="Google Shape;4502;p5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03" name="Google Shape;4503;p5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504" name="Google Shape;4504;p55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5" name="Google Shape;4505;p55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06" name="Google Shape;4506;p55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07" name="Google Shape;4507;p5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508" name="Google Shape;4508;p55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40652039"/>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matchingName="1_Two Content 9">
  <p:cSld name="1_Two Content 9">
    <p:spTree>
      <p:nvGrpSpPr>
        <p:cNvPr id="1" name="Shape 4509"/>
        <p:cNvGrpSpPr/>
        <p:nvPr/>
      </p:nvGrpSpPr>
      <p:grpSpPr>
        <a:xfrm>
          <a:off x="0" y="0"/>
          <a:ext cx="0" cy="0"/>
          <a:chOff x="0" y="0"/>
          <a:chExt cx="0" cy="0"/>
        </a:xfrm>
      </p:grpSpPr>
      <p:sp>
        <p:nvSpPr>
          <p:cNvPr id="4510" name="Google Shape;4510;p55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1" name="Google Shape;4511;p555"/>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512" name="Google Shape;4512;p555"/>
          <p:cNvGrpSpPr/>
          <p:nvPr/>
        </p:nvGrpSpPr>
        <p:grpSpPr>
          <a:xfrm>
            <a:off x="7191545" y="0"/>
            <a:ext cx="5000460" cy="1425988"/>
            <a:chOff x="7191545" y="0"/>
            <a:chExt cx="5000460" cy="1425988"/>
          </a:xfrm>
        </p:grpSpPr>
        <p:pic>
          <p:nvPicPr>
            <p:cNvPr id="4513" name="Google Shape;4513;p5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514" name="Google Shape;4514;p555"/>
            <p:cNvGrpSpPr/>
            <p:nvPr/>
          </p:nvGrpSpPr>
          <p:grpSpPr>
            <a:xfrm>
              <a:off x="7191545" y="0"/>
              <a:ext cx="5000460" cy="1425988"/>
              <a:chOff x="7191545" y="0"/>
              <a:chExt cx="5000460" cy="1425988"/>
            </a:xfrm>
          </p:grpSpPr>
          <p:sp>
            <p:nvSpPr>
              <p:cNvPr id="4515" name="Google Shape;4515;p5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16" name="Google Shape;4516;p5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517" name="Google Shape;4517;p555"/>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18" name="Google Shape;4518;p555"/>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19" name="Google Shape;4519;p5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520" name="Google Shape;4520;p55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35918225"/>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matchingName="1_Comparison 8">
  <p:cSld name="1_Comparison 8">
    <p:spTree>
      <p:nvGrpSpPr>
        <p:cNvPr id="1" name="Shape 4521"/>
        <p:cNvGrpSpPr/>
        <p:nvPr/>
      </p:nvGrpSpPr>
      <p:grpSpPr>
        <a:xfrm>
          <a:off x="0" y="0"/>
          <a:ext cx="0" cy="0"/>
          <a:chOff x="0" y="0"/>
          <a:chExt cx="0" cy="0"/>
        </a:xfrm>
      </p:grpSpPr>
      <p:grpSp>
        <p:nvGrpSpPr>
          <p:cNvPr id="4522" name="Google Shape;4522;p556"/>
          <p:cNvGrpSpPr/>
          <p:nvPr/>
        </p:nvGrpSpPr>
        <p:grpSpPr>
          <a:xfrm>
            <a:off x="7191545" y="0"/>
            <a:ext cx="5000460" cy="1425988"/>
            <a:chOff x="7191545" y="0"/>
            <a:chExt cx="5000460" cy="1425988"/>
          </a:xfrm>
        </p:grpSpPr>
        <p:pic>
          <p:nvPicPr>
            <p:cNvPr id="4523" name="Google Shape;4523;p55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524" name="Google Shape;4524;p556"/>
            <p:cNvGrpSpPr/>
            <p:nvPr/>
          </p:nvGrpSpPr>
          <p:grpSpPr>
            <a:xfrm>
              <a:off x="7191545" y="0"/>
              <a:ext cx="5000460" cy="1425988"/>
              <a:chOff x="7191545" y="0"/>
              <a:chExt cx="5000460" cy="1425988"/>
            </a:xfrm>
          </p:grpSpPr>
          <p:sp>
            <p:nvSpPr>
              <p:cNvPr id="4525" name="Google Shape;4525;p55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26" name="Google Shape;4526;p55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527" name="Google Shape;4527;p55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28" name="Google Shape;4528;p55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29" name="Google Shape;4529;p556"/>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30" name="Google Shape;4530;p556"/>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31" name="Google Shape;4531;p556"/>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32" name="Google Shape;4532;p55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33" name="Google Shape;4533;p55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534" name="Google Shape;4534;p55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9758510"/>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matchingName="1_Title Only 8">
  <p:cSld name="1_Title Only 8">
    <p:spTree>
      <p:nvGrpSpPr>
        <p:cNvPr id="1" name="Shape 4535"/>
        <p:cNvGrpSpPr/>
        <p:nvPr/>
      </p:nvGrpSpPr>
      <p:grpSpPr>
        <a:xfrm>
          <a:off x="0" y="0"/>
          <a:ext cx="0" cy="0"/>
          <a:chOff x="0" y="0"/>
          <a:chExt cx="0" cy="0"/>
        </a:xfrm>
      </p:grpSpPr>
      <p:grpSp>
        <p:nvGrpSpPr>
          <p:cNvPr id="4536" name="Google Shape;4536;p557"/>
          <p:cNvGrpSpPr/>
          <p:nvPr/>
        </p:nvGrpSpPr>
        <p:grpSpPr>
          <a:xfrm>
            <a:off x="7191545" y="0"/>
            <a:ext cx="5000460" cy="1425988"/>
            <a:chOff x="7191545" y="0"/>
            <a:chExt cx="5000460" cy="1425988"/>
          </a:xfrm>
        </p:grpSpPr>
        <p:pic>
          <p:nvPicPr>
            <p:cNvPr id="4537" name="Google Shape;4537;p5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538" name="Google Shape;4538;p557"/>
            <p:cNvGrpSpPr/>
            <p:nvPr/>
          </p:nvGrpSpPr>
          <p:grpSpPr>
            <a:xfrm>
              <a:off x="7191545" y="0"/>
              <a:ext cx="5000460" cy="1425988"/>
              <a:chOff x="7191545" y="0"/>
              <a:chExt cx="5000460" cy="1425988"/>
            </a:xfrm>
          </p:grpSpPr>
          <p:sp>
            <p:nvSpPr>
              <p:cNvPr id="4539" name="Google Shape;4539;p5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40" name="Google Shape;4540;p5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541" name="Google Shape;4541;p55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42" name="Google Shape;4542;p55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43" name="Google Shape;4543;p5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544" name="Google Shape;4544;p55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0662389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matchingName="1_End 9">
  <p:cSld name="1_End 9">
    <p:spTree>
      <p:nvGrpSpPr>
        <p:cNvPr id="1" name="Shape 4545"/>
        <p:cNvGrpSpPr/>
        <p:nvPr/>
      </p:nvGrpSpPr>
      <p:grpSpPr>
        <a:xfrm>
          <a:off x="0" y="0"/>
          <a:ext cx="0" cy="0"/>
          <a:chOff x="0" y="0"/>
          <a:chExt cx="0" cy="0"/>
        </a:xfrm>
      </p:grpSpPr>
      <p:grpSp>
        <p:nvGrpSpPr>
          <p:cNvPr id="4546" name="Google Shape;4546;p558"/>
          <p:cNvGrpSpPr/>
          <p:nvPr/>
        </p:nvGrpSpPr>
        <p:grpSpPr>
          <a:xfrm>
            <a:off x="0" y="0"/>
            <a:ext cx="12191996" cy="2148830"/>
            <a:chOff x="0" y="0"/>
            <a:chExt cx="12191996" cy="2148830"/>
          </a:xfrm>
        </p:grpSpPr>
        <p:sp>
          <p:nvSpPr>
            <p:cNvPr id="4547" name="Google Shape;4547;p55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48" name="Google Shape;4548;p55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4549" name="Google Shape;4549;p558"/>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550" name="Google Shape;4550;p558"/>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51" name="Google Shape;4551;p55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552" name="Google Shape;4552;p55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951544510"/>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matchingName="1_Blank 7">
  <p:cSld name="1_Blank 7">
    <p:spTree>
      <p:nvGrpSpPr>
        <p:cNvPr id="1" name="Shape 4553"/>
        <p:cNvGrpSpPr/>
        <p:nvPr/>
      </p:nvGrpSpPr>
      <p:grpSpPr>
        <a:xfrm>
          <a:off x="0" y="0"/>
          <a:ext cx="0" cy="0"/>
          <a:chOff x="0" y="0"/>
          <a:chExt cx="0" cy="0"/>
        </a:xfrm>
      </p:grpSpPr>
      <p:sp>
        <p:nvSpPr>
          <p:cNvPr id="4554" name="Google Shape;4554;p55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55" name="Google Shape;4555;p5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556" name="Google Shape;4556;p55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57" name="Google Shape;4557;p559"/>
          <p:cNvGrpSpPr/>
          <p:nvPr/>
        </p:nvGrpSpPr>
        <p:grpSpPr>
          <a:xfrm>
            <a:off x="7191545" y="0"/>
            <a:ext cx="5000460" cy="1425988"/>
            <a:chOff x="7191545" y="0"/>
            <a:chExt cx="5000460" cy="1425988"/>
          </a:xfrm>
        </p:grpSpPr>
        <p:pic>
          <p:nvPicPr>
            <p:cNvPr id="4558" name="Google Shape;4558;p5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559" name="Google Shape;4559;p559"/>
            <p:cNvGrpSpPr/>
            <p:nvPr/>
          </p:nvGrpSpPr>
          <p:grpSpPr>
            <a:xfrm>
              <a:off x="7191545" y="0"/>
              <a:ext cx="5000460" cy="1425988"/>
              <a:chOff x="7191545" y="0"/>
              <a:chExt cx="5000460" cy="1425988"/>
            </a:xfrm>
          </p:grpSpPr>
          <p:sp>
            <p:nvSpPr>
              <p:cNvPr id="4560" name="Google Shape;4560;p5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61" name="Google Shape;4561;p5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143769324"/>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matchingName="4_Quotation 3">
  <p:cSld name="4_Quotation 3">
    <p:spTree>
      <p:nvGrpSpPr>
        <p:cNvPr id="1" name="Shape 4562"/>
        <p:cNvGrpSpPr/>
        <p:nvPr/>
      </p:nvGrpSpPr>
      <p:grpSpPr>
        <a:xfrm>
          <a:off x="0" y="0"/>
          <a:ext cx="0" cy="0"/>
          <a:chOff x="0" y="0"/>
          <a:chExt cx="0" cy="0"/>
        </a:xfrm>
      </p:grpSpPr>
      <p:sp>
        <p:nvSpPr>
          <p:cNvPr id="4563" name="Google Shape;4563;p56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564" name="Google Shape;4564;p56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65" name="Google Shape;4565;p56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66" name="Google Shape;4566;p56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567" name="Google Shape;4567;p5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568" name="Google Shape;4568;p56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69" name="Google Shape;4569;p560"/>
          <p:cNvGrpSpPr/>
          <p:nvPr/>
        </p:nvGrpSpPr>
        <p:grpSpPr>
          <a:xfrm>
            <a:off x="7191545" y="0"/>
            <a:ext cx="5000460" cy="1425988"/>
            <a:chOff x="7191545" y="0"/>
            <a:chExt cx="5000460" cy="1425988"/>
          </a:xfrm>
        </p:grpSpPr>
        <p:pic>
          <p:nvPicPr>
            <p:cNvPr id="4570" name="Google Shape;4570;p5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571" name="Google Shape;4571;p560"/>
            <p:cNvGrpSpPr/>
            <p:nvPr/>
          </p:nvGrpSpPr>
          <p:grpSpPr>
            <a:xfrm>
              <a:off x="7191545" y="0"/>
              <a:ext cx="5000460" cy="1425988"/>
              <a:chOff x="7191545" y="0"/>
              <a:chExt cx="5000460" cy="1425988"/>
            </a:xfrm>
          </p:grpSpPr>
          <p:sp>
            <p:nvSpPr>
              <p:cNvPr id="4572" name="Google Shape;4572;p5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573" name="Google Shape;4573;p5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574" name="Google Shape;4574;p56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669973928"/>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4575"/>
        <p:cNvGrpSpPr/>
        <p:nvPr/>
      </p:nvGrpSpPr>
      <p:grpSpPr>
        <a:xfrm>
          <a:off x="0" y="0"/>
          <a:ext cx="0" cy="0"/>
          <a:chOff x="0" y="0"/>
          <a:chExt cx="0" cy="0"/>
        </a:xfrm>
      </p:grpSpPr>
      <p:sp>
        <p:nvSpPr>
          <p:cNvPr id="4576" name="Google Shape;4576;p561"/>
          <p:cNvSpPr txBox="1">
            <a:spLocks noGrp="1"/>
          </p:cNvSpPr>
          <p:nvPr>
            <p:ph type="ctrTitle"/>
          </p:nvPr>
        </p:nvSpPr>
        <p:spPr>
          <a:xfrm>
            <a:off x="1524003" y="1122362"/>
            <a:ext cx="9144000" cy="2387598"/>
          </a:xfrm>
          <a:prstGeom prst="rect">
            <a:avLst/>
          </a:prstGeom>
          <a:noFill/>
          <a:ln>
            <a:noFill/>
          </a:ln>
        </p:spPr>
        <p:txBody>
          <a:bodyPr spcFirstLastPara="1" wrap="square" lIns="91400" tIns="45700" rIns="91400" bIns="45700" anchor="b" anchorCtr="1">
            <a:noAutofit/>
          </a:bodyPr>
          <a:lstStyle>
            <a:lvl1pPr lvl="0" algn="ctr">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77" name="Google Shape;4577;p561"/>
          <p:cNvSpPr txBox="1">
            <a:spLocks noGrp="1"/>
          </p:cNvSpPr>
          <p:nvPr>
            <p:ph type="subTitle" idx="1"/>
          </p:nvPr>
        </p:nvSpPr>
        <p:spPr>
          <a:xfrm>
            <a:off x="1524003" y="3602041"/>
            <a:ext cx="9144000" cy="1655758"/>
          </a:xfrm>
          <a:prstGeom prst="rect">
            <a:avLst/>
          </a:prstGeom>
          <a:noFill/>
          <a:ln>
            <a:noFill/>
          </a:ln>
        </p:spPr>
        <p:txBody>
          <a:bodyPr spcFirstLastPara="1" wrap="square" lIns="91400" tIns="45700" rIns="91400" bIns="45700" anchor="t" anchorCtr="1">
            <a:noAutofit/>
          </a:bodyPr>
          <a:lstStyle>
            <a:lvl1pPr lvl="0" algn="ctr">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578" name="Google Shape;4578;p56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579" name="Google Shape;4579;p56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0" name="Google Shape;4580;p56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468312969"/>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4581"/>
        <p:cNvGrpSpPr/>
        <p:nvPr/>
      </p:nvGrpSpPr>
      <p:grpSpPr>
        <a:xfrm>
          <a:off x="0" y="0"/>
          <a:ext cx="0" cy="0"/>
          <a:chOff x="0" y="0"/>
          <a:chExt cx="0" cy="0"/>
        </a:xfrm>
      </p:grpSpPr>
      <p:sp>
        <p:nvSpPr>
          <p:cNvPr id="4582" name="Google Shape;4582;p562"/>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83" name="Google Shape;4583;p562"/>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4" name="Google Shape;4584;p56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585" name="Google Shape;4585;p56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6" name="Google Shape;4586;p56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587" name="Google Shape;4587;p562"/>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588" name="Google Shape;4588;p562"/>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589" name="Google Shape;4589;p562"/>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590" name="Google Shape;4590;p562"/>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2627451074"/>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matchingName="3_Title Slide_Yale Blue 2">
  <p:cSld name="3_Title Slide_Yale Blue 2">
    <p:spTree>
      <p:nvGrpSpPr>
        <p:cNvPr id="1" name="Shape 4591"/>
        <p:cNvGrpSpPr/>
        <p:nvPr/>
      </p:nvGrpSpPr>
      <p:grpSpPr>
        <a:xfrm>
          <a:off x="0" y="0"/>
          <a:ext cx="0" cy="0"/>
          <a:chOff x="0" y="0"/>
          <a:chExt cx="0" cy="0"/>
        </a:xfrm>
      </p:grpSpPr>
      <p:sp>
        <p:nvSpPr>
          <p:cNvPr id="4592" name="Google Shape;4592;p563"/>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593" name="Google Shape;4593;p563"/>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94" name="Google Shape;4594;p56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595" name="Google Shape;4595;p56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96" name="Google Shape;4596;p56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597" name="Google Shape;4597;p563"/>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598" name="Google Shape;4598;p563"/>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599" name="Google Shape;4599;p563"/>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00" name="Google Shape;4600;p563"/>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3331130490"/>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4601"/>
        <p:cNvGrpSpPr/>
        <p:nvPr/>
      </p:nvGrpSpPr>
      <p:grpSpPr>
        <a:xfrm>
          <a:off x="0" y="0"/>
          <a:ext cx="0" cy="0"/>
          <a:chOff x="0" y="0"/>
          <a:chExt cx="0" cy="0"/>
        </a:xfrm>
      </p:grpSpPr>
      <p:sp>
        <p:nvSpPr>
          <p:cNvPr id="4602" name="Google Shape;4602;p564"/>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03" name="Google Shape;4603;p564"/>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04" name="Google Shape;4604;p56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05" name="Google Shape;4605;p564"/>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06" name="Google Shape;4606;p564"/>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176085534"/>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4607"/>
        <p:cNvGrpSpPr/>
        <p:nvPr/>
      </p:nvGrpSpPr>
      <p:grpSpPr>
        <a:xfrm>
          <a:off x="0" y="0"/>
          <a:ext cx="0" cy="0"/>
          <a:chOff x="0" y="0"/>
          <a:chExt cx="0" cy="0"/>
        </a:xfrm>
      </p:grpSpPr>
      <p:sp>
        <p:nvSpPr>
          <p:cNvPr id="4608" name="Google Shape;4608;p565"/>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609" name="Google Shape;4609;p565"/>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610" name="Google Shape;4610;p56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11" name="Google Shape;4611;p565"/>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12" name="Google Shape;4612;p565"/>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45423741"/>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4613"/>
        <p:cNvGrpSpPr/>
        <p:nvPr/>
      </p:nvGrpSpPr>
      <p:grpSpPr>
        <a:xfrm>
          <a:off x="0" y="0"/>
          <a:ext cx="0" cy="0"/>
          <a:chOff x="0" y="0"/>
          <a:chExt cx="0" cy="0"/>
        </a:xfrm>
      </p:grpSpPr>
      <p:sp>
        <p:nvSpPr>
          <p:cNvPr id="4614" name="Google Shape;4614;p566"/>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15" name="Google Shape;4615;p56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16" name="Google Shape;4616;p566"/>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17" name="Google Shape;4617;p566"/>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18" name="Google Shape;4618;p566"/>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619" name="Google Shape;4619;p566"/>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2640638912"/>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matchingName="3_Title Slide_Yale Blue 3">
  <p:cSld name="3_Title Slide_Yale Blue 3">
    <p:spTree>
      <p:nvGrpSpPr>
        <p:cNvPr id="1" name="Shape 4620"/>
        <p:cNvGrpSpPr/>
        <p:nvPr/>
      </p:nvGrpSpPr>
      <p:grpSpPr>
        <a:xfrm>
          <a:off x="0" y="0"/>
          <a:ext cx="0" cy="0"/>
          <a:chOff x="0" y="0"/>
          <a:chExt cx="0" cy="0"/>
        </a:xfrm>
      </p:grpSpPr>
      <p:sp>
        <p:nvSpPr>
          <p:cNvPr id="4621" name="Google Shape;4621;p567"/>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22" name="Google Shape;4622;p567"/>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23" name="Google Shape;4623;p56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624" name="Google Shape;4624;p56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25" name="Google Shape;4625;p56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626" name="Google Shape;4626;p567"/>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27" name="Google Shape;4627;p56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28" name="Google Shape;4628;p567"/>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29" name="Google Shape;4629;p567"/>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24334047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matchingName="Title and Bullets Layout 2">
  <p:cSld name="Title and Bullets Layout 2">
    <p:spTree>
      <p:nvGrpSpPr>
        <p:cNvPr id="1" name="Shape 4630"/>
        <p:cNvGrpSpPr/>
        <p:nvPr/>
      </p:nvGrpSpPr>
      <p:grpSpPr>
        <a:xfrm>
          <a:off x="0" y="0"/>
          <a:ext cx="0" cy="0"/>
          <a:chOff x="0" y="0"/>
          <a:chExt cx="0" cy="0"/>
        </a:xfrm>
      </p:grpSpPr>
      <p:sp>
        <p:nvSpPr>
          <p:cNvPr id="4631" name="Google Shape;4631;p568"/>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2" name="Google Shape;4632;p568"/>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33" name="Google Shape;4633;p56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34" name="Google Shape;4634;p568"/>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35" name="Google Shape;4635;p568"/>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039162015"/>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matchingName="1_Title and Content 2">
  <p:cSld name="1_Title and Content 2">
    <p:spTree>
      <p:nvGrpSpPr>
        <p:cNvPr id="1" name="Shape 4636"/>
        <p:cNvGrpSpPr/>
        <p:nvPr/>
      </p:nvGrpSpPr>
      <p:grpSpPr>
        <a:xfrm>
          <a:off x="0" y="0"/>
          <a:ext cx="0" cy="0"/>
          <a:chOff x="0" y="0"/>
          <a:chExt cx="0" cy="0"/>
        </a:xfrm>
      </p:grpSpPr>
      <p:sp>
        <p:nvSpPr>
          <p:cNvPr id="4637" name="Google Shape;4637;p569"/>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638" name="Google Shape;4638;p569"/>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639" name="Google Shape;4639;p56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40" name="Google Shape;4640;p569"/>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41" name="Google Shape;4641;p569"/>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8209792"/>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matchingName="Two Section | Picture and Copy Layout 2">
  <p:cSld name="Two Section | Picture and Copy Layout 2">
    <p:spTree>
      <p:nvGrpSpPr>
        <p:cNvPr id="1" name="Shape 4642"/>
        <p:cNvGrpSpPr/>
        <p:nvPr/>
      </p:nvGrpSpPr>
      <p:grpSpPr>
        <a:xfrm>
          <a:off x="0" y="0"/>
          <a:ext cx="0" cy="0"/>
          <a:chOff x="0" y="0"/>
          <a:chExt cx="0" cy="0"/>
        </a:xfrm>
      </p:grpSpPr>
      <p:sp>
        <p:nvSpPr>
          <p:cNvPr id="4643" name="Google Shape;4643;p570"/>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44" name="Google Shape;4644;p57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45" name="Google Shape;4645;p570"/>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46" name="Google Shape;4646;p570"/>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47" name="Google Shape;4647;p570"/>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648" name="Google Shape;4648;p570"/>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747286603"/>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matchingName="3_Title Slide_Yale Blue 4">
  <p:cSld name="3_Title Slide_Yale Blue 4">
    <p:spTree>
      <p:nvGrpSpPr>
        <p:cNvPr id="1" name="Shape 4649"/>
        <p:cNvGrpSpPr/>
        <p:nvPr/>
      </p:nvGrpSpPr>
      <p:grpSpPr>
        <a:xfrm>
          <a:off x="0" y="0"/>
          <a:ext cx="0" cy="0"/>
          <a:chOff x="0" y="0"/>
          <a:chExt cx="0" cy="0"/>
        </a:xfrm>
      </p:grpSpPr>
      <p:sp>
        <p:nvSpPr>
          <p:cNvPr id="4650" name="Google Shape;4650;p571"/>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51" name="Google Shape;4651;p571"/>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52" name="Google Shape;4652;p57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653" name="Google Shape;4653;p57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54" name="Google Shape;4654;p57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655" name="Google Shape;4655;p571"/>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56" name="Google Shape;4656;p571"/>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57" name="Google Shape;4657;p571"/>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58" name="Google Shape;4658;p571"/>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3387725974"/>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matchingName="Title and Bullets Layout 3">
  <p:cSld name="Title and Bullets Layout 3">
    <p:spTree>
      <p:nvGrpSpPr>
        <p:cNvPr id="1" name="Shape 4659"/>
        <p:cNvGrpSpPr/>
        <p:nvPr/>
      </p:nvGrpSpPr>
      <p:grpSpPr>
        <a:xfrm>
          <a:off x="0" y="0"/>
          <a:ext cx="0" cy="0"/>
          <a:chOff x="0" y="0"/>
          <a:chExt cx="0" cy="0"/>
        </a:xfrm>
      </p:grpSpPr>
      <p:sp>
        <p:nvSpPr>
          <p:cNvPr id="4660" name="Google Shape;4660;p572"/>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61" name="Google Shape;4661;p572"/>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62" name="Google Shape;4662;p57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63" name="Google Shape;4663;p572"/>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64" name="Google Shape;4664;p572"/>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2136017564"/>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matchingName="1_Title and Content 3">
  <p:cSld name="1_Title and Content 3">
    <p:spTree>
      <p:nvGrpSpPr>
        <p:cNvPr id="1" name="Shape 4665"/>
        <p:cNvGrpSpPr/>
        <p:nvPr/>
      </p:nvGrpSpPr>
      <p:grpSpPr>
        <a:xfrm>
          <a:off x="0" y="0"/>
          <a:ext cx="0" cy="0"/>
          <a:chOff x="0" y="0"/>
          <a:chExt cx="0" cy="0"/>
        </a:xfrm>
      </p:grpSpPr>
      <p:sp>
        <p:nvSpPr>
          <p:cNvPr id="4666" name="Google Shape;4666;p573"/>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667" name="Google Shape;4667;p573"/>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668" name="Google Shape;4668;p57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69" name="Google Shape;4669;p573"/>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70" name="Google Shape;4670;p573"/>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5671773"/>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matchingName="Two Section | Picture and Copy Layout 3">
  <p:cSld name="Two Section | Picture and Copy Layout 3">
    <p:spTree>
      <p:nvGrpSpPr>
        <p:cNvPr id="1" name="Shape 4671"/>
        <p:cNvGrpSpPr/>
        <p:nvPr/>
      </p:nvGrpSpPr>
      <p:grpSpPr>
        <a:xfrm>
          <a:off x="0" y="0"/>
          <a:ext cx="0" cy="0"/>
          <a:chOff x="0" y="0"/>
          <a:chExt cx="0" cy="0"/>
        </a:xfrm>
      </p:grpSpPr>
      <p:sp>
        <p:nvSpPr>
          <p:cNvPr id="4672" name="Google Shape;4672;p574"/>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73" name="Google Shape;4673;p57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674" name="Google Shape;4674;p57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75" name="Google Shape;4675;p574"/>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76" name="Google Shape;4676;p574"/>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677" name="Google Shape;4677;p574"/>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537470833"/>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matchingName="3_Title Slide_Yale Blue 5">
  <p:cSld name="3_Title Slide_Yale Blue 5">
    <p:spTree>
      <p:nvGrpSpPr>
        <p:cNvPr id="1" name="Shape 4678"/>
        <p:cNvGrpSpPr/>
        <p:nvPr/>
      </p:nvGrpSpPr>
      <p:grpSpPr>
        <a:xfrm>
          <a:off x="0" y="0"/>
          <a:ext cx="0" cy="0"/>
          <a:chOff x="0" y="0"/>
          <a:chExt cx="0" cy="0"/>
        </a:xfrm>
      </p:grpSpPr>
      <p:sp>
        <p:nvSpPr>
          <p:cNvPr id="4679" name="Google Shape;4679;p575"/>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80" name="Google Shape;4680;p575"/>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81" name="Google Shape;4681;p57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682" name="Google Shape;4682;p57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83" name="Google Shape;4683;p57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684" name="Google Shape;4684;p575"/>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85" name="Google Shape;4685;p575"/>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86" name="Google Shape;4686;p575"/>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87" name="Google Shape;4687;p575"/>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829730881"/>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matchingName="3_Title Slide_Yale Blue 6">
  <p:cSld name="3_Title Slide_Yale Blue 6">
    <p:spTree>
      <p:nvGrpSpPr>
        <p:cNvPr id="1" name="Shape 4688"/>
        <p:cNvGrpSpPr/>
        <p:nvPr/>
      </p:nvGrpSpPr>
      <p:grpSpPr>
        <a:xfrm>
          <a:off x="0" y="0"/>
          <a:ext cx="0" cy="0"/>
          <a:chOff x="0" y="0"/>
          <a:chExt cx="0" cy="0"/>
        </a:xfrm>
      </p:grpSpPr>
      <p:sp>
        <p:nvSpPr>
          <p:cNvPr id="4689" name="Google Shape;4689;p576"/>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690" name="Google Shape;4690;p576"/>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91" name="Google Shape;4691;p57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692" name="Google Shape;4692;p57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93" name="Google Shape;4693;p57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694" name="Google Shape;4694;p576"/>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95" name="Google Shape;4695;p576"/>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696" name="Google Shape;4696;p576"/>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697" name="Google Shape;4697;p576"/>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817067282"/>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matchingName="Title and Bullets Layout 4">
  <p:cSld name="Title and Bullets Layout 4">
    <p:spTree>
      <p:nvGrpSpPr>
        <p:cNvPr id="1" name="Shape 4698"/>
        <p:cNvGrpSpPr/>
        <p:nvPr/>
      </p:nvGrpSpPr>
      <p:grpSpPr>
        <a:xfrm>
          <a:off x="0" y="0"/>
          <a:ext cx="0" cy="0"/>
          <a:chOff x="0" y="0"/>
          <a:chExt cx="0" cy="0"/>
        </a:xfrm>
      </p:grpSpPr>
      <p:sp>
        <p:nvSpPr>
          <p:cNvPr id="4699" name="Google Shape;4699;p577"/>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00" name="Google Shape;4700;p577"/>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01" name="Google Shape;4701;p57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02" name="Google Shape;4702;p577"/>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03" name="Google Shape;4703;p577"/>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12379161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matchingName="1_Title and Content 4">
  <p:cSld name="1_Title and Content 4">
    <p:spTree>
      <p:nvGrpSpPr>
        <p:cNvPr id="1" name="Shape 4704"/>
        <p:cNvGrpSpPr/>
        <p:nvPr/>
      </p:nvGrpSpPr>
      <p:grpSpPr>
        <a:xfrm>
          <a:off x="0" y="0"/>
          <a:ext cx="0" cy="0"/>
          <a:chOff x="0" y="0"/>
          <a:chExt cx="0" cy="0"/>
        </a:xfrm>
      </p:grpSpPr>
      <p:sp>
        <p:nvSpPr>
          <p:cNvPr id="4705" name="Google Shape;4705;p578"/>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706" name="Google Shape;4706;p578"/>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707" name="Google Shape;4707;p578"/>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08" name="Google Shape;4708;p578"/>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09" name="Google Shape;4709;p578"/>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76241114"/>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matchingName="Two Section | Picture and Copy Layout 4">
  <p:cSld name="Two Section | Picture and Copy Layout 4">
    <p:spTree>
      <p:nvGrpSpPr>
        <p:cNvPr id="1" name="Shape 4710"/>
        <p:cNvGrpSpPr/>
        <p:nvPr/>
      </p:nvGrpSpPr>
      <p:grpSpPr>
        <a:xfrm>
          <a:off x="0" y="0"/>
          <a:ext cx="0" cy="0"/>
          <a:chOff x="0" y="0"/>
          <a:chExt cx="0" cy="0"/>
        </a:xfrm>
      </p:grpSpPr>
      <p:sp>
        <p:nvSpPr>
          <p:cNvPr id="4711" name="Google Shape;4711;p579"/>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12" name="Google Shape;4712;p57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13" name="Google Shape;4713;p57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14" name="Google Shape;4714;p579"/>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15" name="Google Shape;4715;p579"/>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716" name="Google Shape;4716;p579"/>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0267099"/>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matchingName="3_Title Slide_Yale Blue 7">
  <p:cSld name="3_Title Slide_Yale Blue 7">
    <p:spTree>
      <p:nvGrpSpPr>
        <p:cNvPr id="1" name="Shape 4717"/>
        <p:cNvGrpSpPr/>
        <p:nvPr/>
      </p:nvGrpSpPr>
      <p:grpSpPr>
        <a:xfrm>
          <a:off x="0" y="0"/>
          <a:ext cx="0" cy="0"/>
          <a:chOff x="0" y="0"/>
          <a:chExt cx="0" cy="0"/>
        </a:xfrm>
      </p:grpSpPr>
      <p:sp>
        <p:nvSpPr>
          <p:cNvPr id="4718" name="Google Shape;4718;p580"/>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19" name="Google Shape;4719;p580"/>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0" name="Google Shape;4720;p58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721" name="Google Shape;4721;p58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2" name="Google Shape;4722;p58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723" name="Google Shape;4723;p580"/>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724" name="Google Shape;4724;p580"/>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725" name="Google Shape;4725;p580"/>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26" name="Google Shape;4726;p580"/>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1540900487"/>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matchingName="Title and Bullets Layout 5">
  <p:cSld name="Title and Bullets Layout 5">
    <p:spTree>
      <p:nvGrpSpPr>
        <p:cNvPr id="1" name="Shape 4727"/>
        <p:cNvGrpSpPr/>
        <p:nvPr/>
      </p:nvGrpSpPr>
      <p:grpSpPr>
        <a:xfrm>
          <a:off x="0" y="0"/>
          <a:ext cx="0" cy="0"/>
          <a:chOff x="0" y="0"/>
          <a:chExt cx="0" cy="0"/>
        </a:xfrm>
      </p:grpSpPr>
      <p:sp>
        <p:nvSpPr>
          <p:cNvPr id="4728" name="Google Shape;4728;p581"/>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9" name="Google Shape;4729;p581"/>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30" name="Google Shape;4730;p58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31" name="Google Shape;4731;p581"/>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32" name="Google Shape;4732;p581"/>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934117677"/>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matchingName="2_Title and Content 5">
  <p:cSld name="2_Title and Content 5">
    <p:spTree>
      <p:nvGrpSpPr>
        <p:cNvPr id="1" name="Shape 4733"/>
        <p:cNvGrpSpPr/>
        <p:nvPr/>
      </p:nvGrpSpPr>
      <p:grpSpPr>
        <a:xfrm>
          <a:off x="0" y="0"/>
          <a:ext cx="0" cy="0"/>
          <a:chOff x="0" y="0"/>
          <a:chExt cx="0" cy="0"/>
        </a:xfrm>
      </p:grpSpPr>
      <p:sp>
        <p:nvSpPr>
          <p:cNvPr id="4734" name="Google Shape;4734;p582"/>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735" name="Google Shape;4735;p582"/>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736" name="Google Shape;4736;p582"/>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37" name="Google Shape;4737;p582"/>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38" name="Google Shape;4738;p582"/>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90070357"/>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matchingName="Two Section | Picture and Copy Layout 5">
  <p:cSld name="Two Section | Picture and Copy Layout 5">
    <p:spTree>
      <p:nvGrpSpPr>
        <p:cNvPr id="1" name="Shape 4739"/>
        <p:cNvGrpSpPr/>
        <p:nvPr/>
      </p:nvGrpSpPr>
      <p:grpSpPr>
        <a:xfrm>
          <a:off x="0" y="0"/>
          <a:ext cx="0" cy="0"/>
          <a:chOff x="0" y="0"/>
          <a:chExt cx="0" cy="0"/>
        </a:xfrm>
      </p:grpSpPr>
      <p:sp>
        <p:nvSpPr>
          <p:cNvPr id="4740" name="Google Shape;4740;p583"/>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41" name="Google Shape;4741;p58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42" name="Google Shape;4742;p58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43" name="Google Shape;4743;p583"/>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44" name="Google Shape;4744;p583"/>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745" name="Google Shape;4745;p583"/>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1133157395"/>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matchingName="Title and Bullets Layout 6">
  <p:cSld name="Title and Bullets Layout 6">
    <p:spTree>
      <p:nvGrpSpPr>
        <p:cNvPr id="1" name="Shape 4746"/>
        <p:cNvGrpSpPr/>
        <p:nvPr/>
      </p:nvGrpSpPr>
      <p:grpSpPr>
        <a:xfrm>
          <a:off x="0" y="0"/>
          <a:ext cx="0" cy="0"/>
          <a:chOff x="0" y="0"/>
          <a:chExt cx="0" cy="0"/>
        </a:xfrm>
      </p:grpSpPr>
      <p:sp>
        <p:nvSpPr>
          <p:cNvPr id="4747" name="Google Shape;4747;p584"/>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48" name="Google Shape;4748;p584"/>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49" name="Google Shape;4749;p58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50" name="Google Shape;4750;p584"/>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51" name="Google Shape;4751;p584"/>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404767237"/>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matchingName="1_Title and Content 6">
  <p:cSld name="1_Title and Content 6">
    <p:spTree>
      <p:nvGrpSpPr>
        <p:cNvPr id="1" name="Shape 4752"/>
        <p:cNvGrpSpPr/>
        <p:nvPr/>
      </p:nvGrpSpPr>
      <p:grpSpPr>
        <a:xfrm>
          <a:off x="0" y="0"/>
          <a:ext cx="0" cy="0"/>
          <a:chOff x="0" y="0"/>
          <a:chExt cx="0" cy="0"/>
        </a:xfrm>
      </p:grpSpPr>
      <p:sp>
        <p:nvSpPr>
          <p:cNvPr id="4753" name="Google Shape;4753;p585"/>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754" name="Google Shape;4754;p585"/>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755" name="Google Shape;4755;p58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56" name="Google Shape;4756;p585"/>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7" name="Google Shape;4757;p585"/>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8043598"/>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matchingName="Two Section | Picture and Copy Layout 6">
  <p:cSld name="Two Section | Picture and Copy Layout 6">
    <p:spTree>
      <p:nvGrpSpPr>
        <p:cNvPr id="1" name="Shape 4758"/>
        <p:cNvGrpSpPr/>
        <p:nvPr/>
      </p:nvGrpSpPr>
      <p:grpSpPr>
        <a:xfrm>
          <a:off x="0" y="0"/>
          <a:ext cx="0" cy="0"/>
          <a:chOff x="0" y="0"/>
          <a:chExt cx="0" cy="0"/>
        </a:xfrm>
      </p:grpSpPr>
      <p:sp>
        <p:nvSpPr>
          <p:cNvPr id="4759" name="Google Shape;4759;p586"/>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60" name="Google Shape;4760;p58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61" name="Google Shape;4761;p586"/>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62" name="Google Shape;4762;p586"/>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63" name="Google Shape;4763;p586"/>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764" name="Google Shape;4764;p586"/>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671291583"/>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matchingName="4_Title Slide_Yale Blue 5">
  <p:cSld name="4_Title Slide_Yale Blue 5">
    <p:spTree>
      <p:nvGrpSpPr>
        <p:cNvPr id="1" name="Shape 4765"/>
        <p:cNvGrpSpPr/>
        <p:nvPr/>
      </p:nvGrpSpPr>
      <p:grpSpPr>
        <a:xfrm>
          <a:off x="0" y="0"/>
          <a:ext cx="0" cy="0"/>
          <a:chOff x="0" y="0"/>
          <a:chExt cx="0" cy="0"/>
        </a:xfrm>
      </p:grpSpPr>
      <p:sp>
        <p:nvSpPr>
          <p:cNvPr id="4766" name="Google Shape;4766;p587"/>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67" name="Google Shape;4767;p587"/>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68" name="Google Shape;4768;p58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769" name="Google Shape;4769;p58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70" name="Google Shape;4770;p58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771" name="Google Shape;4771;p587"/>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772" name="Google Shape;4772;p587"/>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773" name="Google Shape;4773;p587"/>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74" name="Google Shape;4774;p587"/>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5937311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matchingName="4_Title Slide_Yale Blue 6">
  <p:cSld name="4_Title Slide_Yale Blue 6">
    <p:spTree>
      <p:nvGrpSpPr>
        <p:cNvPr id="1" name="Shape 4775"/>
        <p:cNvGrpSpPr/>
        <p:nvPr/>
      </p:nvGrpSpPr>
      <p:grpSpPr>
        <a:xfrm>
          <a:off x="0" y="0"/>
          <a:ext cx="0" cy="0"/>
          <a:chOff x="0" y="0"/>
          <a:chExt cx="0" cy="0"/>
        </a:xfrm>
      </p:grpSpPr>
      <p:sp>
        <p:nvSpPr>
          <p:cNvPr id="4776" name="Google Shape;4776;p588"/>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777" name="Google Shape;4777;p588"/>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78" name="Google Shape;4778;p58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779" name="Google Shape;4779;p58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80" name="Google Shape;4780;p58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781" name="Google Shape;4781;p588"/>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782" name="Google Shape;4782;p588"/>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783" name="Google Shape;4783;p588"/>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84" name="Google Shape;4784;p588"/>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1712575977"/>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matchingName="1_Title and Bullets Layout 4">
  <p:cSld name="1_Title and Bullets Layout 4">
    <p:spTree>
      <p:nvGrpSpPr>
        <p:cNvPr id="1" name="Shape 4785"/>
        <p:cNvGrpSpPr/>
        <p:nvPr/>
      </p:nvGrpSpPr>
      <p:grpSpPr>
        <a:xfrm>
          <a:off x="0" y="0"/>
          <a:ext cx="0" cy="0"/>
          <a:chOff x="0" y="0"/>
          <a:chExt cx="0" cy="0"/>
        </a:xfrm>
      </p:grpSpPr>
      <p:sp>
        <p:nvSpPr>
          <p:cNvPr id="4786" name="Google Shape;4786;p589"/>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87" name="Google Shape;4787;p589"/>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88" name="Google Shape;4788;p589"/>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89" name="Google Shape;4789;p589"/>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790" name="Google Shape;4790;p589"/>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525565842"/>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matchingName="2_Title and Content 4">
  <p:cSld name="2_Title and Content 4">
    <p:spTree>
      <p:nvGrpSpPr>
        <p:cNvPr id="1" name="Shape 4791"/>
        <p:cNvGrpSpPr/>
        <p:nvPr/>
      </p:nvGrpSpPr>
      <p:grpSpPr>
        <a:xfrm>
          <a:off x="0" y="0"/>
          <a:ext cx="0" cy="0"/>
          <a:chOff x="0" y="0"/>
          <a:chExt cx="0" cy="0"/>
        </a:xfrm>
      </p:grpSpPr>
      <p:sp>
        <p:nvSpPr>
          <p:cNvPr id="4792" name="Google Shape;4792;p590"/>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793" name="Google Shape;4793;p590"/>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794" name="Google Shape;4794;p590"/>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95" name="Google Shape;4795;p590"/>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96" name="Google Shape;4796;p590"/>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10403255"/>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matchingName="1_Two Section | Picture and Copy Layout 4">
  <p:cSld name="1_Two Section | Picture and Copy Layout 4">
    <p:spTree>
      <p:nvGrpSpPr>
        <p:cNvPr id="1" name="Shape 4797"/>
        <p:cNvGrpSpPr/>
        <p:nvPr/>
      </p:nvGrpSpPr>
      <p:grpSpPr>
        <a:xfrm>
          <a:off x="0" y="0"/>
          <a:ext cx="0" cy="0"/>
          <a:chOff x="0" y="0"/>
          <a:chExt cx="0" cy="0"/>
        </a:xfrm>
      </p:grpSpPr>
      <p:sp>
        <p:nvSpPr>
          <p:cNvPr id="4798" name="Google Shape;4798;p591"/>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799" name="Google Shape;4799;p591"/>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800" name="Google Shape;4800;p59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01" name="Google Shape;4801;p591"/>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02" name="Google Shape;4802;p591"/>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803" name="Google Shape;4803;p591"/>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928455168"/>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matchingName="4_Title Slide_Yale Blue 7">
  <p:cSld name="4_Title Slide_Yale Blue 7">
    <p:spTree>
      <p:nvGrpSpPr>
        <p:cNvPr id="1" name="Shape 4804"/>
        <p:cNvGrpSpPr/>
        <p:nvPr/>
      </p:nvGrpSpPr>
      <p:grpSpPr>
        <a:xfrm>
          <a:off x="0" y="0"/>
          <a:ext cx="0" cy="0"/>
          <a:chOff x="0" y="0"/>
          <a:chExt cx="0" cy="0"/>
        </a:xfrm>
      </p:grpSpPr>
      <p:sp>
        <p:nvSpPr>
          <p:cNvPr id="4805" name="Google Shape;4805;p592"/>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06" name="Google Shape;4806;p592"/>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7" name="Google Shape;4807;p59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4808" name="Google Shape;4808;p59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9" name="Google Shape;4809;p59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4810" name="Google Shape;4810;p592"/>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811" name="Google Shape;4811;p592"/>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4812" name="Google Shape;4812;p592"/>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813" name="Google Shape;4813;p592"/>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3600562727"/>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matchingName="1_Title and Bullets Layout 5">
  <p:cSld name="1_Title and Bullets Layout 5">
    <p:spTree>
      <p:nvGrpSpPr>
        <p:cNvPr id="1" name="Shape 4814"/>
        <p:cNvGrpSpPr/>
        <p:nvPr/>
      </p:nvGrpSpPr>
      <p:grpSpPr>
        <a:xfrm>
          <a:off x="0" y="0"/>
          <a:ext cx="0" cy="0"/>
          <a:chOff x="0" y="0"/>
          <a:chExt cx="0" cy="0"/>
        </a:xfrm>
      </p:grpSpPr>
      <p:sp>
        <p:nvSpPr>
          <p:cNvPr id="4815" name="Google Shape;4815;p593"/>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16" name="Google Shape;4816;p593"/>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817" name="Google Shape;4817;p593"/>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818" name="Google Shape;4818;p593"/>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4819" name="Google Shape;4819;p593"/>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022631697"/>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matchingName="3_Title and Content 5">
  <p:cSld name="3_Title and Content 5">
    <p:spTree>
      <p:nvGrpSpPr>
        <p:cNvPr id="1" name="Shape 4820"/>
        <p:cNvGrpSpPr/>
        <p:nvPr/>
      </p:nvGrpSpPr>
      <p:grpSpPr>
        <a:xfrm>
          <a:off x="0" y="0"/>
          <a:ext cx="0" cy="0"/>
          <a:chOff x="0" y="0"/>
          <a:chExt cx="0" cy="0"/>
        </a:xfrm>
      </p:grpSpPr>
      <p:sp>
        <p:nvSpPr>
          <p:cNvPr id="4821" name="Google Shape;4821;p594"/>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4822" name="Google Shape;4822;p594"/>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4823" name="Google Shape;4823;p594"/>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824" name="Google Shape;4824;p594"/>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25" name="Google Shape;4825;p594"/>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64790347"/>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matchingName="1_Two Section | Picture and Copy Layout 5">
  <p:cSld name="1_Two Section | Picture and Copy Layout 5">
    <p:spTree>
      <p:nvGrpSpPr>
        <p:cNvPr id="1" name="Shape 4826"/>
        <p:cNvGrpSpPr/>
        <p:nvPr/>
      </p:nvGrpSpPr>
      <p:grpSpPr>
        <a:xfrm>
          <a:off x="0" y="0"/>
          <a:ext cx="0" cy="0"/>
          <a:chOff x="0" y="0"/>
          <a:chExt cx="0" cy="0"/>
        </a:xfrm>
      </p:grpSpPr>
      <p:sp>
        <p:nvSpPr>
          <p:cNvPr id="4827" name="Google Shape;4827;p595"/>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828" name="Google Shape;4828;p59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4829" name="Google Shape;4829;p59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30" name="Google Shape;4830;p595"/>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31" name="Google Shape;4831;p595"/>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832" name="Google Shape;4832;p595"/>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3098060031"/>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matchingName="Cover 11">
  <p:cSld name="Cover 11">
    <p:spTree>
      <p:nvGrpSpPr>
        <p:cNvPr id="1" name="Shape 4833"/>
        <p:cNvGrpSpPr/>
        <p:nvPr/>
      </p:nvGrpSpPr>
      <p:grpSpPr>
        <a:xfrm>
          <a:off x="0" y="0"/>
          <a:ext cx="0" cy="0"/>
          <a:chOff x="0" y="0"/>
          <a:chExt cx="0" cy="0"/>
        </a:xfrm>
      </p:grpSpPr>
      <p:sp>
        <p:nvSpPr>
          <p:cNvPr id="4834" name="Google Shape;4834;p596"/>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35" name="Google Shape;4835;p59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36" name="Google Shape;4836;p59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837" name="Google Shape;4837;p596"/>
          <p:cNvGrpSpPr/>
          <p:nvPr/>
        </p:nvGrpSpPr>
        <p:grpSpPr>
          <a:xfrm>
            <a:off x="0" y="5020349"/>
            <a:ext cx="12191996" cy="1837651"/>
            <a:chOff x="0" y="5020348"/>
            <a:chExt cx="12191996" cy="1837651"/>
          </a:xfrm>
        </p:grpSpPr>
        <p:sp>
          <p:nvSpPr>
            <p:cNvPr id="4838" name="Google Shape;4838;p59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39" name="Google Shape;4839;p59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840" name="Google Shape;4840;p59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213954038"/>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matchingName="Divider 12">
  <p:cSld name="Divider 12">
    <p:spTree>
      <p:nvGrpSpPr>
        <p:cNvPr id="1" name="Shape 4841"/>
        <p:cNvGrpSpPr/>
        <p:nvPr/>
      </p:nvGrpSpPr>
      <p:grpSpPr>
        <a:xfrm>
          <a:off x="0" y="0"/>
          <a:ext cx="0" cy="0"/>
          <a:chOff x="0" y="0"/>
          <a:chExt cx="0" cy="0"/>
        </a:xfrm>
      </p:grpSpPr>
      <p:grpSp>
        <p:nvGrpSpPr>
          <p:cNvPr id="4842" name="Google Shape;4842;p597"/>
          <p:cNvGrpSpPr/>
          <p:nvPr/>
        </p:nvGrpSpPr>
        <p:grpSpPr>
          <a:xfrm>
            <a:off x="0" y="5020349"/>
            <a:ext cx="12191996" cy="1837651"/>
            <a:chOff x="0" y="5020348"/>
            <a:chExt cx="12191996" cy="1837651"/>
          </a:xfrm>
        </p:grpSpPr>
        <p:sp>
          <p:nvSpPr>
            <p:cNvPr id="4843" name="Google Shape;4843;p59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44" name="Google Shape;4844;p59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45" name="Google Shape;4845;p59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846" name="Google Shape;4846;p59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4847" name="Google Shape;4847;p597"/>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48" name="Google Shape;4848;p59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6980504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matchingName="Photo Slide 11">
  <p:cSld name="Photo Slide 11">
    <p:spTree>
      <p:nvGrpSpPr>
        <p:cNvPr id="1" name="Shape 4849"/>
        <p:cNvGrpSpPr/>
        <p:nvPr/>
      </p:nvGrpSpPr>
      <p:grpSpPr>
        <a:xfrm>
          <a:off x="0" y="0"/>
          <a:ext cx="0" cy="0"/>
          <a:chOff x="0" y="0"/>
          <a:chExt cx="0" cy="0"/>
        </a:xfrm>
      </p:grpSpPr>
      <p:sp>
        <p:nvSpPr>
          <p:cNvPr id="4850" name="Google Shape;4850;p59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851" name="Google Shape;4851;p598"/>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4852" name="Google Shape;4852;p598"/>
          <p:cNvGrpSpPr/>
          <p:nvPr/>
        </p:nvGrpSpPr>
        <p:grpSpPr>
          <a:xfrm>
            <a:off x="1" y="5379425"/>
            <a:ext cx="2807363" cy="753895"/>
            <a:chOff x="0" y="5379424"/>
            <a:chExt cx="2807363" cy="753895"/>
          </a:xfrm>
        </p:grpSpPr>
        <p:sp>
          <p:nvSpPr>
            <p:cNvPr id="4853" name="Google Shape;4853;p59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54" name="Google Shape;4854;p59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4855" name="Google Shape;4855;p598"/>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337015232"/>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matchingName="Quotation 16">
  <p:cSld name="Quotation 16">
    <p:spTree>
      <p:nvGrpSpPr>
        <p:cNvPr id="1" name="Shape 4856"/>
        <p:cNvGrpSpPr/>
        <p:nvPr/>
      </p:nvGrpSpPr>
      <p:grpSpPr>
        <a:xfrm>
          <a:off x="0" y="0"/>
          <a:ext cx="0" cy="0"/>
          <a:chOff x="0" y="0"/>
          <a:chExt cx="0" cy="0"/>
        </a:xfrm>
      </p:grpSpPr>
      <p:sp>
        <p:nvSpPr>
          <p:cNvPr id="4857" name="Google Shape;4857;p59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58" name="Google Shape;4858;p5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59" name="Google Shape;4859;p59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60" name="Google Shape;4860;p59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861" name="Google Shape;4861;p5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862" name="Google Shape;4862;p59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63" name="Google Shape;4863;p599"/>
          <p:cNvGrpSpPr/>
          <p:nvPr/>
        </p:nvGrpSpPr>
        <p:grpSpPr>
          <a:xfrm>
            <a:off x="7191545" y="0"/>
            <a:ext cx="5000460" cy="1425988"/>
            <a:chOff x="7191545" y="0"/>
            <a:chExt cx="5000460" cy="1425988"/>
          </a:xfrm>
        </p:grpSpPr>
        <p:pic>
          <p:nvPicPr>
            <p:cNvPr id="4864" name="Google Shape;4864;p5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865" name="Google Shape;4865;p599"/>
            <p:cNvGrpSpPr/>
            <p:nvPr/>
          </p:nvGrpSpPr>
          <p:grpSpPr>
            <a:xfrm>
              <a:off x="7191545" y="0"/>
              <a:ext cx="5000460" cy="1425988"/>
              <a:chOff x="7191545" y="0"/>
              <a:chExt cx="5000460" cy="1425988"/>
            </a:xfrm>
          </p:grpSpPr>
          <p:sp>
            <p:nvSpPr>
              <p:cNvPr id="4866" name="Google Shape;4866;p5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867" name="Google Shape;4867;p5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868" name="Google Shape;4868;p59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339934362"/>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matchingName="1_Quotation 16">
  <p:cSld name="1_Quotation 16">
    <p:spTree>
      <p:nvGrpSpPr>
        <p:cNvPr id="1" name="Shape 4869"/>
        <p:cNvGrpSpPr/>
        <p:nvPr/>
      </p:nvGrpSpPr>
      <p:grpSpPr>
        <a:xfrm>
          <a:off x="0" y="0"/>
          <a:ext cx="0" cy="0"/>
          <a:chOff x="0" y="0"/>
          <a:chExt cx="0" cy="0"/>
        </a:xfrm>
      </p:grpSpPr>
      <p:sp>
        <p:nvSpPr>
          <p:cNvPr id="4870" name="Google Shape;4870;p60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871" name="Google Shape;4871;p6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72" name="Google Shape;4872;p60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73" name="Google Shape;4873;p60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874" name="Google Shape;4874;p6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875" name="Google Shape;4875;p60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76" name="Google Shape;4876;p600"/>
          <p:cNvGrpSpPr/>
          <p:nvPr/>
        </p:nvGrpSpPr>
        <p:grpSpPr>
          <a:xfrm>
            <a:off x="7191545" y="0"/>
            <a:ext cx="5000460" cy="1425988"/>
            <a:chOff x="7191545" y="0"/>
            <a:chExt cx="5000460" cy="1425988"/>
          </a:xfrm>
        </p:grpSpPr>
        <p:pic>
          <p:nvPicPr>
            <p:cNvPr id="4877" name="Google Shape;4877;p6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878" name="Google Shape;4878;p600"/>
            <p:cNvGrpSpPr/>
            <p:nvPr/>
          </p:nvGrpSpPr>
          <p:grpSpPr>
            <a:xfrm>
              <a:off x="7191545" y="0"/>
              <a:ext cx="5000460" cy="1425988"/>
              <a:chOff x="7191545" y="0"/>
              <a:chExt cx="5000460" cy="1425988"/>
            </a:xfrm>
          </p:grpSpPr>
          <p:sp>
            <p:nvSpPr>
              <p:cNvPr id="4879" name="Google Shape;4879;p6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880" name="Google Shape;4880;p6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881" name="Google Shape;4881;p60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87225197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matchingName="Two Content 10">
  <p:cSld name="Two Content 10">
    <p:spTree>
      <p:nvGrpSpPr>
        <p:cNvPr id="1" name="Shape 4882"/>
        <p:cNvGrpSpPr/>
        <p:nvPr/>
      </p:nvGrpSpPr>
      <p:grpSpPr>
        <a:xfrm>
          <a:off x="0" y="0"/>
          <a:ext cx="0" cy="0"/>
          <a:chOff x="0" y="0"/>
          <a:chExt cx="0" cy="0"/>
        </a:xfrm>
      </p:grpSpPr>
      <p:sp>
        <p:nvSpPr>
          <p:cNvPr id="4883" name="Google Shape;4883;p60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4" name="Google Shape;4884;p601"/>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885" name="Google Shape;4885;p601"/>
          <p:cNvGrpSpPr/>
          <p:nvPr/>
        </p:nvGrpSpPr>
        <p:grpSpPr>
          <a:xfrm>
            <a:off x="7191545" y="0"/>
            <a:ext cx="5000460" cy="1425988"/>
            <a:chOff x="7191545" y="0"/>
            <a:chExt cx="5000460" cy="1425988"/>
          </a:xfrm>
        </p:grpSpPr>
        <p:pic>
          <p:nvPicPr>
            <p:cNvPr id="4886" name="Google Shape;4886;p6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887" name="Google Shape;4887;p601"/>
            <p:cNvGrpSpPr/>
            <p:nvPr/>
          </p:nvGrpSpPr>
          <p:grpSpPr>
            <a:xfrm>
              <a:off x="7191545" y="0"/>
              <a:ext cx="5000460" cy="1425988"/>
              <a:chOff x="7191545" y="0"/>
              <a:chExt cx="5000460" cy="1425988"/>
            </a:xfrm>
          </p:grpSpPr>
          <p:sp>
            <p:nvSpPr>
              <p:cNvPr id="4888" name="Google Shape;4888;p6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889" name="Google Shape;4889;p6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890" name="Google Shape;4890;p601"/>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891" name="Google Shape;4891;p601"/>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892" name="Google Shape;4892;p6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893" name="Google Shape;4893;p60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81887391"/>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matchingName="Comparison 9">
  <p:cSld name="Comparison 9">
    <p:spTree>
      <p:nvGrpSpPr>
        <p:cNvPr id="1" name="Shape 4894"/>
        <p:cNvGrpSpPr/>
        <p:nvPr/>
      </p:nvGrpSpPr>
      <p:grpSpPr>
        <a:xfrm>
          <a:off x="0" y="0"/>
          <a:ext cx="0" cy="0"/>
          <a:chOff x="0" y="0"/>
          <a:chExt cx="0" cy="0"/>
        </a:xfrm>
      </p:grpSpPr>
      <p:grpSp>
        <p:nvGrpSpPr>
          <p:cNvPr id="4895" name="Google Shape;4895;p602"/>
          <p:cNvGrpSpPr/>
          <p:nvPr/>
        </p:nvGrpSpPr>
        <p:grpSpPr>
          <a:xfrm>
            <a:off x="7191545" y="0"/>
            <a:ext cx="5000460" cy="1425988"/>
            <a:chOff x="7191545" y="0"/>
            <a:chExt cx="5000460" cy="1425988"/>
          </a:xfrm>
        </p:grpSpPr>
        <p:pic>
          <p:nvPicPr>
            <p:cNvPr id="4896" name="Google Shape;4896;p6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897" name="Google Shape;4897;p602"/>
            <p:cNvGrpSpPr/>
            <p:nvPr/>
          </p:nvGrpSpPr>
          <p:grpSpPr>
            <a:xfrm>
              <a:off x="7191545" y="0"/>
              <a:ext cx="5000460" cy="1425988"/>
              <a:chOff x="7191545" y="0"/>
              <a:chExt cx="5000460" cy="1425988"/>
            </a:xfrm>
          </p:grpSpPr>
          <p:sp>
            <p:nvSpPr>
              <p:cNvPr id="4898" name="Google Shape;4898;p6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899" name="Google Shape;4899;p6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900" name="Google Shape;4900;p60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01" name="Google Shape;4901;p602"/>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02" name="Google Shape;4902;p602"/>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03" name="Google Shape;4903;p602"/>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04" name="Google Shape;4904;p602"/>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05" name="Google Shape;4905;p60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906" name="Google Shape;4906;p6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907" name="Google Shape;4907;p60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41910373"/>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matchingName="Title Only 9">
  <p:cSld name="Title Only 9">
    <p:spTree>
      <p:nvGrpSpPr>
        <p:cNvPr id="1" name="Shape 4908"/>
        <p:cNvGrpSpPr/>
        <p:nvPr/>
      </p:nvGrpSpPr>
      <p:grpSpPr>
        <a:xfrm>
          <a:off x="0" y="0"/>
          <a:ext cx="0" cy="0"/>
          <a:chOff x="0" y="0"/>
          <a:chExt cx="0" cy="0"/>
        </a:xfrm>
      </p:grpSpPr>
      <p:grpSp>
        <p:nvGrpSpPr>
          <p:cNvPr id="4909" name="Google Shape;4909;p603"/>
          <p:cNvGrpSpPr/>
          <p:nvPr/>
        </p:nvGrpSpPr>
        <p:grpSpPr>
          <a:xfrm>
            <a:off x="7191545" y="0"/>
            <a:ext cx="5000460" cy="1425988"/>
            <a:chOff x="7191545" y="0"/>
            <a:chExt cx="5000460" cy="1425988"/>
          </a:xfrm>
        </p:grpSpPr>
        <p:pic>
          <p:nvPicPr>
            <p:cNvPr id="4910" name="Google Shape;4910;p60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911" name="Google Shape;4911;p603"/>
            <p:cNvGrpSpPr/>
            <p:nvPr/>
          </p:nvGrpSpPr>
          <p:grpSpPr>
            <a:xfrm>
              <a:off x="7191545" y="0"/>
              <a:ext cx="5000460" cy="1425988"/>
              <a:chOff x="7191545" y="0"/>
              <a:chExt cx="5000460" cy="1425988"/>
            </a:xfrm>
          </p:grpSpPr>
          <p:sp>
            <p:nvSpPr>
              <p:cNvPr id="4912" name="Google Shape;4912;p60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913" name="Google Shape;4913;p60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914" name="Google Shape;4914;p60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15" name="Google Shape;4915;p60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916" name="Google Shape;4916;p60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917" name="Google Shape;4917;p60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6844067"/>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matchingName="End 10">
  <p:cSld name="End 10">
    <p:spTree>
      <p:nvGrpSpPr>
        <p:cNvPr id="1" name="Shape 4918"/>
        <p:cNvGrpSpPr/>
        <p:nvPr/>
      </p:nvGrpSpPr>
      <p:grpSpPr>
        <a:xfrm>
          <a:off x="0" y="0"/>
          <a:ext cx="0" cy="0"/>
          <a:chOff x="0" y="0"/>
          <a:chExt cx="0" cy="0"/>
        </a:xfrm>
      </p:grpSpPr>
      <p:grpSp>
        <p:nvGrpSpPr>
          <p:cNvPr id="4919" name="Google Shape;4919;p604"/>
          <p:cNvGrpSpPr/>
          <p:nvPr/>
        </p:nvGrpSpPr>
        <p:grpSpPr>
          <a:xfrm>
            <a:off x="0" y="0"/>
            <a:ext cx="12191996" cy="2148830"/>
            <a:chOff x="0" y="0"/>
            <a:chExt cx="12191996" cy="2148830"/>
          </a:xfrm>
        </p:grpSpPr>
        <p:sp>
          <p:nvSpPr>
            <p:cNvPr id="4920" name="Google Shape;4920;p60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921" name="Google Shape;4921;p60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4922" name="Google Shape;4922;p604"/>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23" name="Google Shape;4923;p604"/>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24" name="Google Shape;4924;p604"/>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925" name="Google Shape;4925;p60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156670768"/>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matchingName="Blank 8">
  <p:cSld name="Blank 8">
    <p:spTree>
      <p:nvGrpSpPr>
        <p:cNvPr id="1" name="Shape 4926"/>
        <p:cNvGrpSpPr/>
        <p:nvPr/>
      </p:nvGrpSpPr>
      <p:grpSpPr>
        <a:xfrm>
          <a:off x="0" y="0"/>
          <a:ext cx="0" cy="0"/>
          <a:chOff x="0" y="0"/>
          <a:chExt cx="0" cy="0"/>
        </a:xfrm>
      </p:grpSpPr>
      <p:sp>
        <p:nvSpPr>
          <p:cNvPr id="4927" name="Google Shape;4927;p60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928" name="Google Shape;4928;p6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929" name="Google Shape;4929;p60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30" name="Google Shape;4930;p605"/>
          <p:cNvGrpSpPr/>
          <p:nvPr/>
        </p:nvGrpSpPr>
        <p:grpSpPr>
          <a:xfrm>
            <a:off x="7191545" y="0"/>
            <a:ext cx="5000460" cy="1425988"/>
            <a:chOff x="7191545" y="0"/>
            <a:chExt cx="5000460" cy="1425988"/>
          </a:xfrm>
        </p:grpSpPr>
        <p:pic>
          <p:nvPicPr>
            <p:cNvPr id="4931" name="Google Shape;4931;p6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932" name="Google Shape;4932;p605"/>
            <p:cNvGrpSpPr/>
            <p:nvPr/>
          </p:nvGrpSpPr>
          <p:grpSpPr>
            <a:xfrm>
              <a:off x="7191545" y="0"/>
              <a:ext cx="5000460" cy="1425988"/>
              <a:chOff x="7191545" y="0"/>
              <a:chExt cx="5000460" cy="1425988"/>
            </a:xfrm>
          </p:grpSpPr>
          <p:sp>
            <p:nvSpPr>
              <p:cNvPr id="4933" name="Google Shape;4933;p6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934" name="Google Shape;4934;p6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938831608"/>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matchingName="Cover 12">
  <p:cSld name="Cover 12">
    <p:spTree>
      <p:nvGrpSpPr>
        <p:cNvPr id="1" name="Shape 4935"/>
        <p:cNvGrpSpPr/>
        <p:nvPr/>
      </p:nvGrpSpPr>
      <p:grpSpPr>
        <a:xfrm>
          <a:off x="0" y="0"/>
          <a:ext cx="0" cy="0"/>
          <a:chOff x="0" y="0"/>
          <a:chExt cx="0" cy="0"/>
        </a:xfrm>
      </p:grpSpPr>
      <p:sp>
        <p:nvSpPr>
          <p:cNvPr id="4936" name="Google Shape;4936;p606"/>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37" name="Google Shape;4937;p6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38" name="Google Shape;4938;p6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4939" name="Google Shape;4939;p606"/>
          <p:cNvGrpSpPr/>
          <p:nvPr/>
        </p:nvGrpSpPr>
        <p:grpSpPr>
          <a:xfrm>
            <a:off x="0" y="5020349"/>
            <a:ext cx="12191996" cy="1837651"/>
            <a:chOff x="0" y="5020348"/>
            <a:chExt cx="12191996" cy="1837651"/>
          </a:xfrm>
        </p:grpSpPr>
        <p:sp>
          <p:nvSpPr>
            <p:cNvPr id="4940" name="Google Shape;4940;p6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41" name="Google Shape;4941;p6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942" name="Google Shape;4942;p6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793274903"/>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matchingName="Divider 13">
  <p:cSld name="Divider 13">
    <p:spTree>
      <p:nvGrpSpPr>
        <p:cNvPr id="1" name="Shape 4943"/>
        <p:cNvGrpSpPr/>
        <p:nvPr/>
      </p:nvGrpSpPr>
      <p:grpSpPr>
        <a:xfrm>
          <a:off x="0" y="0"/>
          <a:ext cx="0" cy="0"/>
          <a:chOff x="0" y="0"/>
          <a:chExt cx="0" cy="0"/>
        </a:xfrm>
      </p:grpSpPr>
      <p:grpSp>
        <p:nvGrpSpPr>
          <p:cNvPr id="4944" name="Google Shape;4944;p607"/>
          <p:cNvGrpSpPr/>
          <p:nvPr/>
        </p:nvGrpSpPr>
        <p:grpSpPr>
          <a:xfrm>
            <a:off x="0" y="5020349"/>
            <a:ext cx="12191996" cy="1837651"/>
            <a:chOff x="0" y="5020348"/>
            <a:chExt cx="12191996" cy="1837651"/>
          </a:xfrm>
        </p:grpSpPr>
        <p:sp>
          <p:nvSpPr>
            <p:cNvPr id="4945" name="Google Shape;4945;p6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46" name="Google Shape;4946;p6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47" name="Google Shape;4947;p6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4948" name="Google Shape;4948;p6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4949" name="Google Shape;4949;p607"/>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50" name="Google Shape;4950;p6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7518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matchingName="Photo Slide 12">
  <p:cSld name="Photo Slide 12">
    <p:spTree>
      <p:nvGrpSpPr>
        <p:cNvPr id="1" name="Shape 4951"/>
        <p:cNvGrpSpPr/>
        <p:nvPr/>
      </p:nvGrpSpPr>
      <p:grpSpPr>
        <a:xfrm>
          <a:off x="0" y="0"/>
          <a:ext cx="0" cy="0"/>
          <a:chOff x="0" y="0"/>
          <a:chExt cx="0" cy="0"/>
        </a:xfrm>
      </p:grpSpPr>
      <p:sp>
        <p:nvSpPr>
          <p:cNvPr id="4952" name="Google Shape;4952;p6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4953" name="Google Shape;4953;p608"/>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4954" name="Google Shape;4954;p608"/>
          <p:cNvGrpSpPr/>
          <p:nvPr/>
        </p:nvGrpSpPr>
        <p:grpSpPr>
          <a:xfrm>
            <a:off x="1" y="5379425"/>
            <a:ext cx="2807363" cy="753895"/>
            <a:chOff x="0" y="5379424"/>
            <a:chExt cx="2807363" cy="753895"/>
          </a:xfrm>
        </p:grpSpPr>
        <p:sp>
          <p:nvSpPr>
            <p:cNvPr id="4955" name="Google Shape;4955;p6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56" name="Google Shape;4956;p6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4957" name="Google Shape;4957;p608"/>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2298618947"/>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matchingName="Quotation 17">
  <p:cSld name="Quotation 17">
    <p:spTree>
      <p:nvGrpSpPr>
        <p:cNvPr id="1" name="Shape 4958"/>
        <p:cNvGrpSpPr/>
        <p:nvPr/>
      </p:nvGrpSpPr>
      <p:grpSpPr>
        <a:xfrm>
          <a:off x="0" y="0"/>
          <a:ext cx="0" cy="0"/>
          <a:chOff x="0" y="0"/>
          <a:chExt cx="0" cy="0"/>
        </a:xfrm>
      </p:grpSpPr>
      <p:sp>
        <p:nvSpPr>
          <p:cNvPr id="4959" name="Google Shape;4959;p60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60" name="Google Shape;4960;p6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61" name="Google Shape;4961;p60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62" name="Google Shape;4962;p60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963" name="Google Shape;4963;p6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964" name="Google Shape;4964;p60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65" name="Google Shape;4965;p609"/>
          <p:cNvGrpSpPr/>
          <p:nvPr/>
        </p:nvGrpSpPr>
        <p:grpSpPr>
          <a:xfrm>
            <a:off x="7191545" y="0"/>
            <a:ext cx="5000460" cy="1425988"/>
            <a:chOff x="7191545" y="0"/>
            <a:chExt cx="5000460" cy="1425988"/>
          </a:xfrm>
        </p:grpSpPr>
        <p:pic>
          <p:nvPicPr>
            <p:cNvPr id="4966" name="Google Shape;4966;p6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967" name="Google Shape;4967;p609"/>
            <p:cNvGrpSpPr/>
            <p:nvPr/>
          </p:nvGrpSpPr>
          <p:grpSpPr>
            <a:xfrm>
              <a:off x="7191545" y="0"/>
              <a:ext cx="5000460" cy="1425988"/>
              <a:chOff x="7191545" y="0"/>
              <a:chExt cx="5000460" cy="1425988"/>
            </a:xfrm>
          </p:grpSpPr>
          <p:sp>
            <p:nvSpPr>
              <p:cNvPr id="4968" name="Google Shape;4968;p6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969" name="Google Shape;4969;p6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970" name="Google Shape;4970;p60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874181285"/>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matchingName="1_Quotation 17">
  <p:cSld name="1_Quotation 17">
    <p:spTree>
      <p:nvGrpSpPr>
        <p:cNvPr id="1" name="Shape 4971"/>
        <p:cNvGrpSpPr/>
        <p:nvPr/>
      </p:nvGrpSpPr>
      <p:grpSpPr>
        <a:xfrm>
          <a:off x="0" y="0"/>
          <a:ext cx="0" cy="0"/>
          <a:chOff x="0" y="0"/>
          <a:chExt cx="0" cy="0"/>
        </a:xfrm>
      </p:grpSpPr>
      <p:sp>
        <p:nvSpPr>
          <p:cNvPr id="4972" name="Google Shape;4972;p61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4973" name="Google Shape;4973;p6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74" name="Google Shape;4974;p61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75" name="Google Shape;4975;p61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976" name="Google Shape;4976;p6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977" name="Google Shape;4977;p61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78" name="Google Shape;4978;p610"/>
          <p:cNvGrpSpPr/>
          <p:nvPr/>
        </p:nvGrpSpPr>
        <p:grpSpPr>
          <a:xfrm>
            <a:off x="7191545" y="0"/>
            <a:ext cx="5000460" cy="1425988"/>
            <a:chOff x="7191545" y="0"/>
            <a:chExt cx="5000460" cy="1425988"/>
          </a:xfrm>
        </p:grpSpPr>
        <p:pic>
          <p:nvPicPr>
            <p:cNvPr id="4979" name="Google Shape;4979;p6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980" name="Google Shape;4980;p610"/>
            <p:cNvGrpSpPr/>
            <p:nvPr/>
          </p:nvGrpSpPr>
          <p:grpSpPr>
            <a:xfrm>
              <a:off x="7191545" y="0"/>
              <a:ext cx="5000460" cy="1425988"/>
              <a:chOff x="7191545" y="0"/>
              <a:chExt cx="5000460" cy="1425988"/>
            </a:xfrm>
          </p:grpSpPr>
          <p:sp>
            <p:nvSpPr>
              <p:cNvPr id="4981" name="Google Shape;4981;p6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982" name="Google Shape;4982;p6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4983" name="Google Shape;4983;p61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695994101"/>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matchingName="Title and Content 14">
  <p:cSld name="Title and Content 14">
    <p:spTree>
      <p:nvGrpSpPr>
        <p:cNvPr id="1" name="Shape 4984"/>
        <p:cNvGrpSpPr/>
        <p:nvPr/>
      </p:nvGrpSpPr>
      <p:grpSpPr>
        <a:xfrm>
          <a:off x="0" y="0"/>
          <a:ext cx="0" cy="0"/>
          <a:chOff x="0" y="0"/>
          <a:chExt cx="0" cy="0"/>
        </a:xfrm>
      </p:grpSpPr>
      <p:grpSp>
        <p:nvGrpSpPr>
          <p:cNvPr id="4985" name="Google Shape;4985;p611"/>
          <p:cNvGrpSpPr/>
          <p:nvPr/>
        </p:nvGrpSpPr>
        <p:grpSpPr>
          <a:xfrm>
            <a:off x="7191545" y="0"/>
            <a:ext cx="5000460" cy="1425988"/>
            <a:chOff x="7191545" y="0"/>
            <a:chExt cx="5000460" cy="1425988"/>
          </a:xfrm>
        </p:grpSpPr>
        <p:pic>
          <p:nvPicPr>
            <p:cNvPr id="4986" name="Google Shape;4986;p6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4987" name="Google Shape;4987;p611"/>
            <p:cNvGrpSpPr/>
            <p:nvPr/>
          </p:nvGrpSpPr>
          <p:grpSpPr>
            <a:xfrm>
              <a:off x="7191545" y="0"/>
              <a:ext cx="5000460" cy="1425988"/>
              <a:chOff x="7191545" y="0"/>
              <a:chExt cx="5000460" cy="1425988"/>
            </a:xfrm>
          </p:grpSpPr>
          <p:sp>
            <p:nvSpPr>
              <p:cNvPr id="4988" name="Google Shape;4988;p6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4989" name="Google Shape;4989;p6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4990" name="Google Shape;4990;p61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91" name="Google Shape;4991;p61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4992" name="Google Shape;4992;p61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4993" name="Google Shape;4993;p6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4994" name="Google Shape;4994;p61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39983055"/>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matchingName="Two Content 11">
  <p:cSld name="Two Content 11">
    <p:spTree>
      <p:nvGrpSpPr>
        <p:cNvPr id="1" name="Shape 4995"/>
        <p:cNvGrpSpPr/>
        <p:nvPr/>
      </p:nvGrpSpPr>
      <p:grpSpPr>
        <a:xfrm>
          <a:off x="0" y="0"/>
          <a:ext cx="0" cy="0"/>
          <a:chOff x="0" y="0"/>
          <a:chExt cx="0" cy="0"/>
        </a:xfrm>
      </p:grpSpPr>
      <p:sp>
        <p:nvSpPr>
          <p:cNvPr id="4996" name="Google Shape;4996;p612"/>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97" name="Google Shape;4997;p612"/>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4998" name="Google Shape;4998;p612"/>
          <p:cNvGrpSpPr/>
          <p:nvPr/>
        </p:nvGrpSpPr>
        <p:grpSpPr>
          <a:xfrm>
            <a:off x="7191545" y="0"/>
            <a:ext cx="5000460" cy="1425988"/>
            <a:chOff x="7191545" y="0"/>
            <a:chExt cx="5000460" cy="1425988"/>
          </a:xfrm>
        </p:grpSpPr>
        <p:pic>
          <p:nvPicPr>
            <p:cNvPr id="4999" name="Google Shape;4999;p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000" name="Google Shape;5000;p612"/>
            <p:cNvGrpSpPr/>
            <p:nvPr/>
          </p:nvGrpSpPr>
          <p:grpSpPr>
            <a:xfrm>
              <a:off x="7191545" y="0"/>
              <a:ext cx="5000460" cy="1425988"/>
              <a:chOff x="7191545" y="0"/>
              <a:chExt cx="5000460" cy="1425988"/>
            </a:xfrm>
          </p:grpSpPr>
          <p:sp>
            <p:nvSpPr>
              <p:cNvPr id="5001" name="Google Shape;5001;p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002" name="Google Shape;5002;p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003" name="Google Shape;5003;p612"/>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04" name="Google Shape;5004;p612"/>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005" name="Google Shape;5005;p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006" name="Google Shape;5006;p61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00064287"/>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matchingName="Comparison 10">
  <p:cSld name="Comparison 10">
    <p:spTree>
      <p:nvGrpSpPr>
        <p:cNvPr id="1" name="Shape 5007"/>
        <p:cNvGrpSpPr/>
        <p:nvPr/>
      </p:nvGrpSpPr>
      <p:grpSpPr>
        <a:xfrm>
          <a:off x="0" y="0"/>
          <a:ext cx="0" cy="0"/>
          <a:chOff x="0" y="0"/>
          <a:chExt cx="0" cy="0"/>
        </a:xfrm>
      </p:grpSpPr>
      <p:grpSp>
        <p:nvGrpSpPr>
          <p:cNvPr id="5008" name="Google Shape;5008;p613"/>
          <p:cNvGrpSpPr/>
          <p:nvPr/>
        </p:nvGrpSpPr>
        <p:grpSpPr>
          <a:xfrm>
            <a:off x="7191545" y="0"/>
            <a:ext cx="5000460" cy="1425988"/>
            <a:chOff x="7191545" y="0"/>
            <a:chExt cx="5000460" cy="1425988"/>
          </a:xfrm>
        </p:grpSpPr>
        <p:pic>
          <p:nvPicPr>
            <p:cNvPr id="5009" name="Google Shape;5009;p6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010" name="Google Shape;5010;p613"/>
            <p:cNvGrpSpPr/>
            <p:nvPr/>
          </p:nvGrpSpPr>
          <p:grpSpPr>
            <a:xfrm>
              <a:off x="7191545" y="0"/>
              <a:ext cx="5000460" cy="1425988"/>
              <a:chOff x="7191545" y="0"/>
              <a:chExt cx="5000460" cy="1425988"/>
            </a:xfrm>
          </p:grpSpPr>
          <p:sp>
            <p:nvSpPr>
              <p:cNvPr id="5011" name="Google Shape;5011;p6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012" name="Google Shape;5012;p6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013" name="Google Shape;5013;p61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14" name="Google Shape;5014;p613"/>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15" name="Google Shape;5015;p613"/>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16" name="Google Shape;5016;p613"/>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17" name="Google Shape;5017;p613"/>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18" name="Google Shape;5018;p61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019" name="Google Shape;5019;p6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020" name="Google Shape;5020;p61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96700341"/>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matchingName="Title Only 10">
  <p:cSld name="Title Only 10">
    <p:spTree>
      <p:nvGrpSpPr>
        <p:cNvPr id="1" name="Shape 5021"/>
        <p:cNvGrpSpPr/>
        <p:nvPr/>
      </p:nvGrpSpPr>
      <p:grpSpPr>
        <a:xfrm>
          <a:off x="0" y="0"/>
          <a:ext cx="0" cy="0"/>
          <a:chOff x="0" y="0"/>
          <a:chExt cx="0" cy="0"/>
        </a:xfrm>
      </p:grpSpPr>
      <p:grpSp>
        <p:nvGrpSpPr>
          <p:cNvPr id="5022" name="Google Shape;5022;p614"/>
          <p:cNvGrpSpPr/>
          <p:nvPr/>
        </p:nvGrpSpPr>
        <p:grpSpPr>
          <a:xfrm>
            <a:off x="7191545" y="0"/>
            <a:ext cx="5000460" cy="1425988"/>
            <a:chOff x="7191545" y="0"/>
            <a:chExt cx="5000460" cy="1425988"/>
          </a:xfrm>
        </p:grpSpPr>
        <p:pic>
          <p:nvPicPr>
            <p:cNvPr id="5023" name="Google Shape;5023;p61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024" name="Google Shape;5024;p614"/>
            <p:cNvGrpSpPr/>
            <p:nvPr/>
          </p:nvGrpSpPr>
          <p:grpSpPr>
            <a:xfrm>
              <a:off x="7191545" y="0"/>
              <a:ext cx="5000460" cy="1425988"/>
              <a:chOff x="7191545" y="0"/>
              <a:chExt cx="5000460" cy="1425988"/>
            </a:xfrm>
          </p:grpSpPr>
          <p:sp>
            <p:nvSpPr>
              <p:cNvPr id="5025" name="Google Shape;5025;p61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026" name="Google Shape;5026;p61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027" name="Google Shape;5027;p61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8" name="Google Shape;5028;p61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029" name="Google Shape;5029;p61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030" name="Google Shape;5030;p61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2610328"/>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matchingName="End 11">
  <p:cSld name="End 11">
    <p:spTree>
      <p:nvGrpSpPr>
        <p:cNvPr id="1" name="Shape 5031"/>
        <p:cNvGrpSpPr/>
        <p:nvPr/>
      </p:nvGrpSpPr>
      <p:grpSpPr>
        <a:xfrm>
          <a:off x="0" y="0"/>
          <a:ext cx="0" cy="0"/>
          <a:chOff x="0" y="0"/>
          <a:chExt cx="0" cy="0"/>
        </a:xfrm>
      </p:grpSpPr>
      <p:grpSp>
        <p:nvGrpSpPr>
          <p:cNvPr id="5032" name="Google Shape;5032;p615"/>
          <p:cNvGrpSpPr/>
          <p:nvPr/>
        </p:nvGrpSpPr>
        <p:grpSpPr>
          <a:xfrm>
            <a:off x="0" y="0"/>
            <a:ext cx="12191996" cy="2148830"/>
            <a:chOff x="0" y="0"/>
            <a:chExt cx="12191996" cy="2148830"/>
          </a:xfrm>
        </p:grpSpPr>
        <p:sp>
          <p:nvSpPr>
            <p:cNvPr id="5033" name="Google Shape;5033;p61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034" name="Google Shape;5034;p61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5035" name="Google Shape;5035;p615"/>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036" name="Google Shape;5036;p615"/>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37" name="Google Shape;5037;p615"/>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038" name="Google Shape;5038;p61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636824736"/>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matchingName="Blank 9">
  <p:cSld name="Blank 9">
    <p:spTree>
      <p:nvGrpSpPr>
        <p:cNvPr id="1" name="Shape 5039"/>
        <p:cNvGrpSpPr/>
        <p:nvPr/>
      </p:nvGrpSpPr>
      <p:grpSpPr>
        <a:xfrm>
          <a:off x="0" y="0"/>
          <a:ext cx="0" cy="0"/>
          <a:chOff x="0" y="0"/>
          <a:chExt cx="0" cy="0"/>
        </a:xfrm>
      </p:grpSpPr>
      <p:sp>
        <p:nvSpPr>
          <p:cNvPr id="5040" name="Google Shape;5040;p61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041" name="Google Shape;5041;p6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042" name="Google Shape;5042;p61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043" name="Google Shape;5043;p616"/>
          <p:cNvGrpSpPr/>
          <p:nvPr/>
        </p:nvGrpSpPr>
        <p:grpSpPr>
          <a:xfrm>
            <a:off x="7191545" y="0"/>
            <a:ext cx="5000460" cy="1425988"/>
            <a:chOff x="7191545" y="0"/>
            <a:chExt cx="5000460" cy="1425988"/>
          </a:xfrm>
        </p:grpSpPr>
        <p:pic>
          <p:nvPicPr>
            <p:cNvPr id="5044" name="Google Shape;5044;p6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045" name="Google Shape;5045;p616"/>
            <p:cNvGrpSpPr/>
            <p:nvPr/>
          </p:nvGrpSpPr>
          <p:grpSpPr>
            <a:xfrm>
              <a:off x="7191545" y="0"/>
              <a:ext cx="5000460" cy="1425988"/>
              <a:chOff x="7191545" y="0"/>
              <a:chExt cx="5000460" cy="1425988"/>
            </a:xfrm>
          </p:grpSpPr>
          <p:sp>
            <p:nvSpPr>
              <p:cNvPr id="5046" name="Google Shape;5046;p6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047" name="Google Shape;5047;p6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87038247"/>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5048"/>
        <p:cNvGrpSpPr/>
        <p:nvPr/>
      </p:nvGrpSpPr>
      <p:grpSpPr>
        <a:xfrm>
          <a:off x="0" y="0"/>
          <a:ext cx="0" cy="0"/>
          <a:chOff x="0" y="0"/>
          <a:chExt cx="0" cy="0"/>
        </a:xfrm>
      </p:grpSpPr>
      <p:sp>
        <p:nvSpPr>
          <p:cNvPr id="5049" name="Google Shape;5049;p617"/>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50" name="Google Shape;5050;p617"/>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5051" name="Google Shape;5051;p617"/>
          <p:cNvGrpSpPr/>
          <p:nvPr/>
        </p:nvGrpSpPr>
        <p:grpSpPr>
          <a:xfrm>
            <a:off x="1" y="0"/>
            <a:ext cx="1862669" cy="6629400"/>
            <a:chOff x="0" y="0"/>
            <a:chExt cx="1862669" cy="6629400"/>
          </a:xfrm>
        </p:grpSpPr>
        <p:sp>
          <p:nvSpPr>
            <p:cNvPr id="5052" name="Google Shape;5052;p617"/>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53" name="Google Shape;5053;p617"/>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5054" name="Google Shape;5054;p617"/>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055" name="Google Shape;5055;p617"/>
          <p:cNvSpPr txBox="1">
            <a:spLocks noGrp="1"/>
          </p:cNvSpPr>
          <p:nvPr>
            <p:ph type="title"/>
          </p:nvPr>
        </p:nvSpPr>
        <p:spPr>
          <a:xfrm>
            <a:off x="1621872" y="1806425"/>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56" name="Google Shape;5056;p617"/>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57" name="Google Shape;5057;p617"/>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9521353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5058"/>
        <p:cNvGrpSpPr/>
        <p:nvPr/>
      </p:nvGrpSpPr>
      <p:grpSpPr>
        <a:xfrm>
          <a:off x="0" y="0"/>
          <a:ext cx="0" cy="0"/>
          <a:chOff x="0" y="0"/>
          <a:chExt cx="0" cy="0"/>
        </a:xfrm>
      </p:grpSpPr>
      <p:sp>
        <p:nvSpPr>
          <p:cNvPr id="5059" name="Google Shape;5059;p618"/>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60" name="Google Shape;5060;p618"/>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5061" name="Google Shape;5061;p618"/>
          <p:cNvGrpSpPr/>
          <p:nvPr/>
        </p:nvGrpSpPr>
        <p:grpSpPr>
          <a:xfrm>
            <a:off x="1" y="0"/>
            <a:ext cx="1862669" cy="6629400"/>
            <a:chOff x="0" y="0"/>
            <a:chExt cx="1862669" cy="6629400"/>
          </a:xfrm>
        </p:grpSpPr>
        <p:sp>
          <p:nvSpPr>
            <p:cNvPr id="5062" name="Google Shape;5062;p61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63" name="Google Shape;5063;p618"/>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5064" name="Google Shape;5064;p61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065" name="Google Shape;5065;p618"/>
          <p:cNvSpPr txBox="1">
            <a:spLocks noGrp="1"/>
          </p:cNvSpPr>
          <p:nvPr>
            <p:ph type="title"/>
          </p:nvPr>
        </p:nvSpPr>
        <p:spPr>
          <a:xfrm>
            <a:off x="1621872" y="1806425"/>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66" name="Google Shape;5066;p61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67" name="Google Shape;5067;p61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8701643"/>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5068"/>
        <p:cNvGrpSpPr/>
        <p:nvPr/>
      </p:nvGrpSpPr>
      <p:grpSpPr>
        <a:xfrm>
          <a:off x="0" y="0"/>
          <a:ext cx="0" cy="0"/>
          <a:chOff x="0" y="0"/>
          <a:chExt cx="0" cy="0"/>
        </a:xfrm>
      </p:grpSpPr>
      <p:sp>
        <p:nvSpPr>
          <p:cNvPr id="5069" name="Google Shape;5069;p619"/>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70" name="Google Shape;5070;p619"/>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5071" name="Google Shape;5071;p619"/>
          <p:cNvGrpSpPr/>
          <p:nvPr/>
        </p:nvGrpSpPr>
        <p:grpSpPr>
          <a:xfrm>
            <a:off x="1" y="0"/>
            <a:ext cx="1862669" cy="6629400"/>
            <a:chOff x="0" y="0"/>
            <a:chExt cx="1862669" cy="6629400"/>
          </a:xfrm>
        </p:grpSpPr>
        <p:sp>
          <p:nvSpPr>
            <p:cNvPr id="5072" name="Google Shape;5072;p619"/>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73" name="Google Shape;5073;p619"/>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5074" name="Google Shape;5074;p619"/>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075" name="Google Shape;5075;p619"/>
          <p:cNvSpPr txBox="1">
            <a:spLocks noGrp="1"/>
          </p:cNvSpPr>
          <p:nvPr>
            <p:ph type="title"/>
          </p:nvPr>
        </p:nvSpPr>
        <p:spPr>
          <a:xfrm>
            <a:off x="1621872" y="1806425"/>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76" name="Google Shape;5076;p619"/>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77" name="Google Shape;5077;p619"/>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04009099"/>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5078"/>
        <p:cNvGrpSpPr/>
        <p:nvPr/>
      </p:nvGrpSpPr>
      <p:grpSpPr>
        <a:xfrm>
          <a:off x="0" y="0"/>
          <a:ext cx="0" cy="0"/>
          <a:chOff x="0" y="0"/>
          <a:chExt cx="0" cy="0"/>
        </a:xfrm>
      </p:grpSpPr>
      <p:sp>
        <p:nvSpPr>
          <p:cNvPr id="5079" name="Google Shape;5079;p620"/>
          <p:cNvSpPr/>
          <p:nvPr/>
        </p:nvSpPr>
        <p:spPr>
          <a:xfrm>
            <a:off x="-10579" y="6620933"/>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080" name="Google Shape;5080;p620"/>
          <p:cNvSpPr txBox="1">
            <a:spLocks noGrp="1"/>
          </p:cNvSpPr>
          <p:nvPr>
            <p:ph type="title"/>
          </p:nvPr>
        </p:nvSpPr>
        <p:spPr>
          <a:xfrm>
            <a:off x="218112" y="224842"/>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81" name="Google Shape;5081;p620"/>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82" name="Google Shape;5082;p620"/>
          <p:cNvSpPr txBox="1">
            <a:spLocks noGrp="1"/>
          </p:cNvSpPr>
          <p:nvPr>
            <p:ph type="body" idx="2"/>
          </p:nvPr>
        </p:nvSpPr>
        <p:spPr>
          <a:xfrm>
            <a:off x="3858933" y="5969002"/>
            <a:ext cx="8074901" cy="649818"/>
          </a:xfrm>
          <a:prstGeom prst="rect">
            <a:avLst/>
          </a:prstGeom>
          <a:noFill/>
          <a:ln>
            <a:noFill/>
          </a:ln>
        </p:spPr>
        <p:txBody>
          <a:bodyPr spcFirstLastPara="1" wrap="square" lIns="91400" tIns="45700" rIns="91400" bIns="45700" anchor="b" anchorCtr="0">
            <a:noAutofit/>
          </a:bodyPr>
          <a:lstStyle>
            <a:lvl1pPr marL="304815" lvl="0" indent="-208840" algn="l">
              <a:lnSpc>
                <a:spcPct val="100000"/>
              </a:lnSpc>
              <a:spcBef>
                <a:spcPts val="1000"/>
              </a:spcBef>
              <a:spcAft>
                <a:spcPts val="0"/>
              </a:spcAft>
              <a:buSzPts val="1333"/>
              <a:buChar char="•"/>
              <a:defRPr sz="1333"/>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83" name="Google Shape;5083;p62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5084" name="Google Shape;5084;p62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228974463"/>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matchingName="3_Title Slide_Yale Blue 8">
  <p:cSld name="3_Title Slide_Yale Blue 8">
    <p:spTree>
      <p:nvGrpSpPr>
        <p:cNvPr id="1" name="Shape 5085"/>
        <p:cNvGrpSpPr/>
        <p:nvPr/>
      </p:nvGrpSpPr>
      <p:grpSpPr>
        <a:xfrm>
          <a:off x="0" y="0"/>
          <a:ext cx="0" cy="0"/>
          <a:chOff x="0" y="0"/>
          <a:chExt cx="0" cy="0"/>
        </a:xfrm>
      </p:grpSpPr>
      <p:sp>
        <p:nvSpPr>
          <p:cNvPr id="5086" name="Google Shape;5086;p621"/>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087" name="Google Shape;5087;p621"/>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88" name="Google Shape;5088;p62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089" name="Google Shape;5089;p62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90" name="Google Shape;5090;p62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5091" name="Google Shape;5091;p621"/>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092" name="Google Shape;5092;p621"/>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093" name="Google Shape;5093;p621"/>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5094" name="Google Shape;5094;p621"/>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1589193022"/>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matchingName="1_Title Slide 2">
  <p:cSld name="1_Title Slide 2">
    <p:spTree>
      <p:nvGrpSpPr>
        <p:cNvPr id="1" name="Shape 5095"/>
        <p:cNvGrpSpPr/>
        <p:nvPr/>
      </p:nvGrpSpPr>
      <p:grpSpPr>
        <a:xfrm>
          <a:off x="0" y="0"/>
          <a:ext cx="0" cy="0"/>
          <a:chOff x="0" y="0"/>
          <a:chExt cx="0" cy="0"/>
        </a:xfrm>
      </p:grpSpPr>
      <p:sp>
        <p:nvSpPr>
          <p:cNvPr id="5096" name="Google Shape;5096;p622"/>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097" name="Google Shape;5097;p622"/>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5098" name="Google Shape;5098;p622"/>
          <p:cNvGrpSpPr/>
          <p:nvPr/>
        </p:nvGrpSpPr>
        <p:grpSpPr>
          <a:xfrm>
            <a:off x="1" y="0"/>
            <a:ext cx="1862669" cy="6629400"/>
            <a:chOff x="0" y="0"/>
            <a:chExt cx="1862669" cy="6629400"/>
          </a:xfrm>
        </p:grpSpPr>
        <p:sp>
          <p:nvSpPr>
            <p:cNvPr id="5099" name="Google Shape;5099;p622"/>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100" name="Google Shape;5100;p622"/>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5101" name="Google Shape;5101;p622"/>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102" name="Google Shape;5102;p622"/>
          <p:cNvSpPr txBox="1">
            <a:spLocks noGrp="1"/>
          </p:cNvSpPr>
          <p:nvPr>
            <p:ph type="title"/>
          </p:nvPr>
        </p:nvSpPr>
        <p:spPr>
          <a:xfrm>
            <a:off x="1621872" y="1806425"/>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3" name="Google Shape;5103;p622"/>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04" name="Google Shape;5104;p622"/>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92564544"/>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matchingName="Table of Content 2">
  <p:cSld name="Table of Content 2">
    <p:spTree>
      <p:nvGrpSpPr>
        <p:cNvPr id="1" name="Shape 5105"/>
        <p:cNvGrpSpPr/>
        <p:nvPr/>
      </p:nvGrpSpPr>
      <p:grpSpPr>
        <a:xfrm>
          <a:off x="0" y="0"/>
          <a:ext cx="0" cy="0"/>
          <a:chOff x="0" y="0"/>
          <a:chExt cx="0" cy="0"/>
        </a:xfrm>
      </p:grpSpPr>
      <p:sp>
        <p:nvSpPr>
          <p:cNvPr id="5106" name="Google Shape;5106;p623"/>
          <p:cNvSpPr/>
          <p:nvPr/>
        </p:nvSpPr>
        <p:spPr>
          <a:xfrm>
            <a:off x="-10579" y="6620933"/>
            <a:ext cx="12213165" cy="237067"/>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107" name="Google Shape;5107;p623"/>
          <p:cNvSpPr txBox="1">
            <a:spLocks noGrp="1"/>
          </p:cNvSpPr>
          <p:nvPr>
            <p:ph type="title"/>
          </p:nvPr>
        </p:nvSpPr>
        <p:spPr>
          <a:xfrm>
            <a:off x="218112" y="224842"/>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4400"/>
              <a:buFont typeface="Calibri"/>
              <a:buNone/>
              <a:defRPr sz="2933">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8" name="Google Shape;5108;p623"/>
          <p:cNvSpPr txBox="1">
            <a:spLocks noGrp="1"/>
          </p:cNvSpPr>
          <p:nvPr>
            <p:ph type="body" idx="1"/>
          </p:nvPr>
        </p:nvSpPr>
        <p:spPr>
          <a:xfrm>
            <a:off x="218112" y="917198"/>
            <a:ext cx="11715722" cy="4958672"/>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Font typeface="Noto Sans Symbols"/>
              <a:buChar char="▪"/>
              <a:defRPr sz="1867" b="1"/>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09" name="Google Shape;5109;p623"/>
          <p:cNvSpPr txBox="1">
            <a:spLocks noGrp="1"/>
          </p:cNvSpPr>
          <p:nvPr>
            <p:ph type="body" idx="2"/>
          </p:nvPr>
        </p:nvSpPr>
        <p:spPr>
          <a:xfrm>
            <a:off x="3858933" y="5969002"/>
            <a:ext cx="8074901" cy="649818"/>
          </a:xfrm>
          <a:prstGeom prst="rect">
            <a:avLst/>
          </a:prstGeom>
          <a:noFill/>
          <a:ln>
            <a:noFill/>
          </a:ln>
        </p:spPr>
        <p:txBody>
          <a:bodyPr spcFirstLastPara="1" wrap="square" lIns="91400" tIns="45700" rIns="91400" bIns="45700" anchor="b" anchorCtr="0">
            <a:noAutofit/>
          </a:bodyPr>
          <a:lstStyle>
            <a:lvl1pPr marL="304815" lvl="0" indent="-208840" algn="l">
              <a:lnSpc>
                <a:spcPct val="100000"/>
              </a:lnSpc>
              <a:spcBef>
                <a:spcPts val="1000"/>
              </a:spcBef>
              <a:spcAft>
                <a:spcPts val="0"/>
              </a:spcAft>
              <a:buSzPts val="1333"/>
              <a:buChar char="•"/>
              <a:defRPr sz="1333"/>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10" name="Google Shape;5110;p62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FFFFFF"/>
              </a:buClr>
              <a:buSzPts val="2201"/>
              <a:buFont typeface="Calibri"/>
              <a:buNone/>
              <a:defRPr sz="1467" b="0" i="0" u="none" strike="noStrike" cap="none">
                <a:solidFill>
                  <a:srgbClr val="FFFFFF"/>
                </a:solidFill>
                <a:latin typeface="Calibri"/>
                <a:ea typeface="Calibri"/>
                <a:cs typeface="Calibri"/>
                <a:sym typeface="Calibri"/>
              </a:defRPr>
            </a:lvl9pPr>
          </a:lstStyle>
          <a:p>
            <a:fld id="{00000000-1234-1234-1234-123412341234}" type="slidenum">
              <a:rPr lang="en-US" smtClean="0"/>
              <a:pPr/>
              <a:t>‹#›</a:t>
            </a:fld>
            <a:endParaRPr lang="en-US"/>
          </a:p>
        </p:txBody>
      </p:sp>
      <p:pic>
        <p:nvPicPr>
          <p:cNvPr id="5111" name="Google Shape;5111;p623"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4211865550"/>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matchingName="3_Title Slide_Yale Blue 9">
  <p:cSld name="3_Title Slide_Yale Blue 9">
    <p:spTree>
      <p:nvGrpSpPr>
        <p:cNvPr id="1" name="Shape 5112"/>
        <p:cNvGrpSpPr/>
        <p:nvPr/>
      </p:nvGrpSpPr>
      <p:grpSpPr>
        <a:xfrm>
          <a:off x="0" y="0"/>
          <a:ext cx="0" cy="0"/>
          <a:chOff x="0" y="0"/>
          <a:chExt cx="0" cy="0"/>
        </a:xfrm>
      </p:grpSpPr>
      <p:sp>
        <p:nvSpPr>
          <p:cNvPr id="5113" name="Google Shape;5113;p624"/>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14" name="Google Shape;5114;p624"/>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5" name="Google Shape;5115;p62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116" name="Google Shape;5116;p62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7" name="Google Shape;5117;p62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5118" name="Google Shape;5118;p624"/>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119" name="Google Shape;5119;p624"/>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120" name="Google Shape;5120;p624"/>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5121" name="Google Shape;5121;p624"/>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327551740"/>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matchingName="Title and Bullets Layout 7">
  <p:cSld name="Title and Bullets Layout 7">
    <p:spTree>
      <p:nvGrpSpPr>
        <p:cNvPr id="1" name="Shape 5122"/>
        <p:cNvGrpSpPr/>
        <p:nvPr/>
      </p:nvGrpSpPr>
      <p:grpSpPr>
        <a:xfrm>
          <a:off x="0" y="0"/>
          <a:ext cx="0" cy="0"/>
          <a:chOff x="0" y="0"/>
          <a:chExt cx="0" cy="0"/>
        </a:xfrm>
      </p:grpSpPr>
      <p:sp>
        <p:nvSpPr>
          <p:cNvPr id="5123" name="Google Shape;5123;p625"/>
          <p:cNvSpPr txBox="1">
            <a:spLocks noGrp="1"/>
          </p:cNvSpPr>
          <p:nvPr>
            <p:ph type="title"/>
          </p:nvPr>
        </p:nvSpPr>
        <p:spPr>
          <a:xfrm>
            <a:off x="848992" y="783842"/>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24" name="Google Shape;5124;p625"/>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5125" name="Google Shape;5125;p625"/>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5126" name="Google Shape;5126;p625"/>
          <p:cNvSpPr txBox="1">
            <a:spLocks noGrp="1"/>
          </p:cNvSpPr>
          <p:nvPr>
            <p:ph type="body" idx="1"/>
          </p:nvPr>
        </p:nvSpPr>
        <p:spPr>
          <a:xfrm>
            <a:off x="848783" y="1615023"/>
            <a:ext cx="10176933" cy="3812115"/>
          </a:xfrm>
          <a:prstGeom prst="rect">
            <a:avLst/>
          </a:prstGeom>
          <a:noFill/>
          <a:ln>
            <a:noFill/>
          </a:ln>
        </p:spPr>
        <p:txBody>
          <a:bodyPr spcFirstLastPara="1" wrap="square" lIns="91400" tIns="45700" rIns="91400" bIns="45700" anchor="t" anchorCtr="0">
            <a:noAutofit/>
          </a:bodyPr>
          <a:lstStyle>
            <a:lvl1pPr marL="304815" lvl="0" indent="-242709" algn="l">
              <a:lnSpc>
                <a:spcPct val="100000"/>
              </a:lnSpc>
              <a:spcBef>
                <a:spcPts val="1000"/>
              </a:spcBef>
              <a:spcAft>
                <a:spcPts val="0"/>
              </a:spcAft>
              <a:buSzPts val="2133"/>
              <a:buChar char="•"/>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5127" name="Google Shape;5127;p625"/>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1484774954"/>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matchingName="1_Title and Content 7">
  <p:cSld name="1_Title and Content 7">
    <p:spTree>
      <p:nvGrpSpPr>
        <p:cNvPr id="1" name="Shape 5128"/>
        <p:cNvGrpSpPr/>
        <p:nvPr/>
      </p:nvGrpSpPr>
      <p:grpSpPr>
        <a:xfrm>
          <a:off x="0" y="0"/>
          <a:ext cx="0" cy="0"/>
          <a:chOff x="0" y="0"/>
          <a:chExt cx="0" cy="0"/>
        </a:xfrm>
      </p:grpSpPr>
      <p:sp>
        <p:nvSpPr>
          <p:cNvPr id="5129" name="Google Shape;5129;p626"/>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pic>
        <p:nvPicPr>
          <p:cNvPr id="5130" name="Google Shape;5130;p626"/>
          <p:cNvPicPr preferRelativeResize="0"/>
          <p:nvPr/>
        </p:nvPicPr>
        <p:blipFill rotWithShape="1">
          <a:blip r:embed="rId2">
            <a:alphaModFix/>
          </a:blip>
          <a:srcRect/>
          <a:stretch/>
        </p:blipFill>
        <p:spPr>
          <a:xfrm>
            <a:off x="7132668" y="6364407"/>
            <a:ext cx="5059329" cy="493593"/>
          </a:xfrm>
          <a:prstGeom prst="rect">
            <a:avLst/>
          </a:prstGeom>
          <a:noFill/>
          <a:ln>
            <a:noFill/>
          </a:ln>
        </p:spPr>
      </p:pic>
      <p:sp>
        <p:nvSpPr>
          <p:cNvPr id="5131" name="Google Shape;5131;p626"/>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5132" name="Google Shape;5132;p626"/>
          <p:cNvSpPr txBox="1">
            <a:spLocks noGrp="1"/>
          </p:cNvSpPr>
          <p:nvPr>
            <p:ph type="title"/>
          </p:nvPr>
        </p:nvSpPr>
        <p:spPr>
          <a:xfrm>
            <a:off x="848992" y="806858"/>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33" name="Google Shape;5133;p626"/>
          <p:cNvSpPr txBox="1">
            <a:spLocks noGrp="1"/>
          </p:cNvSpPr>
          <p:nvPr>
            <p:ph type="body" idx="1"/>
          </p:nvPr>
        </p:nvSpPr>
        <p:spPr>
          <a:xfrm>
            <a:off x="848992" y="1637855"/>
            <a:ext cx="10156176" cy="4117159"/>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8566957"/>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matchingName="Two Section | Picture and Copy Layout 7">
  <p:cSld name="Two Section | Picture and Copy Layout 7">
    <p:spTree>
      <p:nvGrpSpPr>
        <p:cNvPr id="1" name="Shape 5134"/>
        <p:cNvGrpSpPr/>
        <p:nvPr/>
      </p:nvGrpSpPr>
      <p:grpSpPr>
        <a:xfrm>
          <a:off x="0" y="0"/>
          <a:ext cx="0" cy="0"/>
          <a:chOff x="0" y="0"/>
          <a:chExt cx="0" cy="0"/>
        </a:xfrm>
      </p:grpSpPr>
      <p:sp>
        <p:nvSpPr>
          <p:cNvPr id="5135" name="Google Shape;5135;p627"/>
          <p:cNvSpPr/>
          <p:nvPr/>
        </p:nvSpPr>
        <p:spPr>
          <a:xfrm>
            <a:off x="0" y="6313119"/>
            <a:ext cx="12191996" cy="544881"/>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5136" name="Google Shape;5136;p627"/>
          <p:cNvSpPr/>
          <p:nvPr/>
        </p:nvSpPr>
        <p:spPr>
          <a:xfrm>
            <a:off x="0" y="6301514"/>
            <a:ext cx="12191996" cy="45720"/>
          </a:xfrm>
          <a:prstGeom prst="rect">
            <a:avLst/>
          </a:prstGeom>
          <a:solidFill>
            <a:srgbClr val="A4D65E"/>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027"/>
              <a:buFont typeface="Calibri"/>
              <a:buNone/>
            </a:pPr>
            <a:endParaRPr sz="1351" b="0" i="0" u="none" strike="noStrike" cap="none">
              <a:solidFill>
                <a:srgbClr val="FFFFFF"/>
              </a:solidFill>
              <a:latin typeface="Calibri"/>
              <a:ea typeface="Calibri"/>
              <a:cs typeface="Calibri"/>
              <a:sym typeface="Calibri"/>
            </a:endParaRPr>
          </a:p>
        </p:txBody>
      </p:sp>
      <p:sp>
        <p:nvSpPr>
          <p:cNvPr id="5137" name="Google Shape;5137;p62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38" name="Google Shape;5138;p627"/>
          <p:cNvSpPr txBox="1">
            <a:spLocks noGrp="1"/>
          </p:cNvSpPr>
          <p:nvPr>
            <p:ph type="body" idx="2"/>
          </p:nvPr>
        </p:nvSpPr>
        <p:spPr>
          <a:xfrm>
            <a:off x="5549394" y="1997122"/>
            <a:ext cx="5466557" cy="3085414"/>
          </a:xfrm>
          <a:prstGeom prst="rect">
            <a:avLst/>
          </a:prstGeom>
          <a:noFill/>
          <a:ln>
            <a:noFill/>
          </a:ln>
        </p:spPr>
        <p:txBody>
          <a:bodyPr spcFirstLastPara="1" wrap="square" lIns="91400" tIns="45700" rIns="91400" bIns="45700" anchor="t" anchorCtr="0">
            <a:noAutofit/>
          </a:bodyPr>
          <a:lstStyle>
            <a:lvl1pPr marL="304815" lvl="0" indent="-152408" algn="l">
              <a:lnSpc>
                <a:spcPct val="90000"/>
              </a:lnSpc>
              <a:spcBef>
                <a:spcPts val="1000"/>
              </a:spcBef>
              <a:spcAft>
                <a:spcPts val="0"/>
              </a:spcAft>
              <a:buSzPts val="2400"/>
              <a:buNone/>
              <a:defRPr sz="2133">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39" name="Google Shape;5139;p627"/>
          <p:cNvSpPr txBox="1">
            <a:spLocks noGrp="1"/>
          </p:cNvSpPr>
          <p:nvPr>
            <p:ph type="title"/>
          </p:nvPr>
        </p:nvSpPr>
        <p:spPr>
          <a:xfrm>
            <a:off x="5549394" y="1154522"/>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7200"/>
              <a:buFont typeface="Verdana"/>
              <a:buNone/>
              <a:defRPr sz="480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140" name="Google Shape;5140;p627"/>
          <p:cNvPicPr preferRelativeResize="0"/>
          <p:nvPr/>
        </p:nvPicPr>
        <p:blipFill rotWithShape="1">
          <a:blip r:embed="rId2">
            <a:alphaModFix/>
          </a:blip>
          <a:srcRect/>
          <a:stretch/>
        </p:blipFill>
        <p:spPr>
          <a:xfrm>
            <a:off x="7132668" y="6364407"/>
            <a:ext cx="5059329" cy="493593"/>
          </a:xfrm>
          <a:prstGeom prst="rect">
            <a:avLst/>
          </a:prstGeom>
          <a:noFill/>
          <a:ln>
            <a:noFill/>
          </a:ln>
        </p:spPr>
      </p:pic>
    </p:spTree>
    <p:extLst>
      <p:ext uri="{BB962C8B-B14F-4D97-AF65-F5344CB8AC3E}">
        <p14:creationId xmlns:p14="http://schemas.microsoft.com/office/powerpoint/2010/main" val="4007832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5141"/>
        <p:cNvGrpSpPr/>
        <p:nvPr/>
      </p:nvGrpSpPr>
      <p:grpSpPr>
        <a:xfrm>
          <a:off x="0" y="0"/>
          <a:ext cx="0" cy="0"/>
          <a:chOff x="0" y="0"/>
          <a:chExt cx="0" cy="0"/>
        </a:xfrm>
      </p:grpSpPr>
      <p:sp>
        <p:nvSpPr>
          <p:cNvPr id="5142" name="Google Shape;5142;p628"/>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143" name="Google Shape;5143;p628"/>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5144" name="Google Shape;5144;p628"/>
          <p:cNvGrpSpPr/>
          <p:nvPr/>
        </p:nvGrpSpPr>
        <p:grpSpPr>
          <a:xfrm>
            <a:off x="1" y="0"/>
            <a:ext cx="1862669" cy="6629400"/>
            <a:chOff x="0" y="0"/>
            <a:chExt cx="1862669" cy="6629400"/>
          </a:xfrm>
        </p:grpSpPr>
        <p:sp>
          <p:nvSpPr>
            <p:cNvPr id="5145" name="Google Shape;5145;p62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146" name="Google Shape;5146;p628"/>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5147" name="Google Shape;5147;p62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148" name="Google Shape;5148;p628"/>
          <p:cNvSpPr txBox="1">
            <a:spLocks noGrp="1"/>
          </p:cNvSpPr>
          <p:nvPr>
            <p:ph type="title"/>
          </p:nvPr>
        </p:nvSpPr>
        <p:spPr>
          <a:xfrm>
            <a:off x="1621872" y="1806425"/>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49" name="Google Shape;5149;p62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50" name="Google Shape;5150;p62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18122319"/>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matchingName="4_Title Slide_Yale Blue 9">
  <p:cSld name="4_Title Slide_Yale Blue 9">
    <p:spTree>
      <p:nvGrpSpPr>
        <p:cNvPr id="1" name="Shape 5151"/>
        <p:cNvGrpSpPr/>
        <p:nvPr/>
      </p:nvGrpSpPr>
      <p:grpSpPr>
        <a:xfrm>
          <a:off x="0" y="0"/>
          <a:ext cx="0" cy="0"/>
          <a:chOff x="0" y="0"/>
          <a:chExt cx="0" cy="0"/>
        </a:xfrm>
      </p:grpSpPr>
      <p:sp>
        <p:nvSpPr>
          <p:cNvPr id="5152" name="Google Shape;5152;p629"/>
          <p:cNvSpPr txBox="1">
            <a:spLocks noGrp="1"/>
          </p:cNvSpPr>
          <p:nvPr>
            <p:ph type="body" idx="1"/>
          </p:nvPr>
        </p:nvSpPr>
        <p:spPr>
          <a:xfrm>
            <a:off x="2826557" y="5400858"/>
            <a:ext cx="8178613" cy="507856"/>
          </a:xfrm>
          <a:prstGeom prst="rect">
            <a:avLst/>
          </a:prstGeom>
          <a:noFill/>
          <a:ln>
            <a:noFill/>
          </a:ln>
        </p:spPr>
        <p:txBody>
          <a:bodyPr spcFirstLastPara="1" wrap="square" lIns="91400" tIns="45700" rIns="91400" bIns="45700" anchor="t" anchorCtr="0">
            <a:spAutoFit/>
          </a:bodyPr>
          <a:lstStyle>
            <a:lvl1pPr marL="304815" lvl="0" indent="-152408"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53" name="Google Shape;5153;p629"/>
          <p:cNvSpPr txBox="1">
            <a:spLocks noGrp="1"/>
          </p:cNvSpPr>
          <p:nvPr>
            <p:ph type="title"/>
          </p:nvPr>
        </p:nvSpPr>
        <p:spPr>
          <a:xfrm>
            <a:off x="2826557"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8000"/>
              <a:buFont typeface="Verdana"/>
              <a:buNone/>
              <a:defRPr sz="5334">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54" name="Google Shape;5154;p62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155" name="Google Shape;5155;p62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56" name="Google Shape;5156;p62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5157" name="Google Shape;5157;p629"/>
          <p:cNvSpPr/>
          <p:nvPr/>
        </p:nvSpPr>
        <p:spPr>
          <a:xfrm rot="10799991">
            <a:off x="-19" y="200023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158" name="Google Shape;5158;p629"/>
          <p:cNvSpPr/>
          <p:nvPr/>
        </p:nvSpPr>
        <p:spPr>
          <a:xfrm>
            <a:off x="0" y="6115050"/>
            <a:ext cx="12191996" cy="742950"/>
          </a:xfrm>
          <a:prstGeom prst="rect">
            <a:avLst/>
          </a:prstGeom>
          <a:solidFill>
            <a:srgbClr val="003B5C"/>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sp>
        <p:nvSpPr>
          <p:cNvPr id="5159" name="Google Shape;5159;p629"/>
          <p:cNvSpPr txBox="1">
            <a:spLocks noGrp="1"/>
          </p:cNvSpPr>
          <p:nvPr>
            <p:ph type="body" idx="2"/>
          </p:nvPr>
        </p:nvSpPr>
        <p:spPr>
          <a:xfrm>
            <a:off x="2826557" y="3447397"/>
            <a:ext cx="8178613" cy="71331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pic>
        <p:nvPicPr>
          <p:cNvPr id="5160" name="Google Shape;5160;p629"/>
          <p:cNvPicPr preferRelativeResize="0"/>
          <p:nvPr/>
        </p:nvPicPr>
        <p:blipFill rotWithShape="1">
          <a:blip r:embed="rId2">
            <a:alphaModFix/>
          </a:blip>
          <a:srcRect/>
          <a:stretch/>
        </p:blipFill>
        <p:spPr>
          <a:xfrm>
            <a:off x="2829831" y="4178333"/>
            <a:ext cx="4395959" cy="1140165"/>
          </a:xfrm>
          <a:prstGeom prst="rect">
            <a:avLst/>
          </a:prstGeom>
          <a:noFill/>
          <a:ln>
            <a:noFill/>
          </a:ln>
        </p:spPr>
      </p:pic>
    </p:spTree>
    <p:extLst>
      <p:ext uri="{BB962C8B-B14F-4D97-AF65-F5344CB8AC3E}">
        <p14:creationId xmlns:p14="http://schemas.microsoft.com/office/powerpoint/2010/main" val="283278346"/>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matchingName="3_Title Slide 2">
  <p:cSld name="3_Title Slide 2">
    <p:spTree>
      <p:nvGrpSpPr>
        <p:cNvPr id="1" name="Shape 5161"/>
        <p:cNvGrpSpPr/>
        <p:nvPr/>
      </p:nvGrpSpPr>
      <p:grpSpPr>
        <a:xfrm>
          <a:off x="0" y="0"/>
          <a:ext cx="0" cy="0"/>
          <a:chOff x="0" y="0"/>
          <a:chExt cx="0" cy="0"/>
        </a:xfrm>
      </p:grpSpPr>
      <p:sp>
        <p:nvSpPr>
          <p:cNvPr id="5162" name="Google Shape;5162;p630"/>
          <p:cNvSpPr/>
          <p:nvPr/>
        </p:nvSpPr>
        <p:spPr>
          <a:xfrm>
            <a:off x="-21168" y="6629400"/>
            <a:ext cx="12213165" cy="228600"/>
          </a:xfrm>
          <a:prstGeom prst="rect">
            <a:avLst/>
          </a:prstGeom>
          <a:solidFill>
            <a:srgbClr val="767676"/>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163" name="Google Shape;5163;p630"/>
          <p:cNvPicPr preferRelativeResize="0"/>
          <p:nvPr/>
        </p:nvPicPr>
        <p:blipFill rotWithShape="1">
          <a:blip r:embed="rId2">
            <a:alphaModFix/>
          </a:blip>
          <a:srcRect/>
          <a:stretch/>
        </p:blipFill>
        <p:spPr>
          <a:xfrm>
            <a:off x="7945972" y="408517"/>
            <a:ext cx="3706282" cy="1813986"/>
          </a:xfrm>
          <a:prstGeom prst="rect">
            <a:avLst/>
          </a:prstGeom>
          <a:noFill/>
          <a:ln>
            <a:noFill/>
          </a:ln>
        </p:spPr>
      </p:pic>
      <p:grpSp>
        <p:nvGrpSpPr>
          <p:cNvPr id="5164" name="Google Shape;5164;p630"/>
          <p:cNvGrpSpPr/>
          <p:nvPr/>
        </p:nvGrpSpPr>
        <p:grpSpPr>
          <a:xfrm>
            <a:off x="1" y="0"/>
            <a:ext cx="1862669" cy="6629400"/>
            <a:chOff x="0" y="0"/>
            <a:chExt cx="1862669" cy="6629400"/>
          </a:xfrm>
        </p:grpSpPr>
        <p:sp>
          <p:nvSpPr>
            <p:cNvPr id="5165" name="Google Shape;5165;p630"/>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3600"/>
                <a:buFont typeface="Calibri"/>
                <a:buNone/>
              </a:pPr>
              <a:endParaRPr sz="2400" b="0" i="0" u="none" strike="noStrike" cap="none">
                <a:solidFill>
                  <a:srgbClr val="FFFFFF"/>
                </a:solidFill>
                <a:latin typeface="Calibri"/>
                <a:ea typeface="Calibri"/>
                <a:cs typeface="Calibri"/>
                <a:sym typeface="Calibri"/>
              </a:endParaRPr>
            </a:p>
          </p:txBody>
        </p:sp>
        <p:pic>
          <p:nvPicPr>
            <p:cNvPr id="5166" name="Google Shape;5166;p630"/>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5167" name="Google Shape;5167;p630"/>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168" name="Google Shape;5168;p630"/>
          <p:cNvSpPr txBox="1">
            <a:spLocks noGrp="1"/>
          </p:cNvSpPr>
          <p:nvPr>
            <p:ph type="title"/>
          </p:nvPr>
        </p:nvSpPr>
        <p:spPr>
          <a:xfrm>
            <a:off x="1621872" y="1806425"/>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8000"/>
              <a:buFont typeface="Calibri"/>
              <a:buNone/>
              <a:defRPr sz="5334">
                <a:solidFill>
                  <a:srgbClr val="79818A"/>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69" name="Google Shape;5169;p630"/>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70" name="Google Shape;5170;p630"/>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304815" lvl="0" indent="-231448" algn="l">
              <a:lnSpc>
                <a:spcPct val="100000"/>
              </a:lnSpc>
              <a:spcBef>
                <a:spcPts val="1000"/>
              </a:spcBef>
              <a:spcAft>
                <a:spcPts val="0"/>
              </a:spcAft>
              <a:buSzPts val="1867"/>
              <a:buChar char="•"/>
              <a:defRPr sz="1867"/>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20816714"/>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matchingName="SECTION_HEADER" type="secHead">
  <p:cSld name="SECTION_HEADER">
    <p:spTree>
      <p:nvGrpSpPr>
        <p:cNvPr id="1" name="Shape 5171"/>
        <p:cNvGrpSpPr/>
        <p:nvPr/>
      </p:nvGrpSpPr>
      <p:grpSpPr>
        <a:xfrm>
          <a:off x="0" y="0"/>
          <a:ext cx="0" cy="0"/>
          <a:chOff x="0" y="0"/>
          <a:chExt cx="0" cy="0"/>
        </a:xfrm>
      </p:grpSpPr>
      <p:sp>
        <p:nvSpPr>
          <p:cNvPr id="5172" name="Google Shape;5172;p631"/>
          <p:cNvSpPr txBox="1">
            <a:spLocks noGrp="1"/>
          </p:cNvSpPr>
          <p:nvPr>
            <p:ph type="title"/>
          </p:nvPr>
        </p:nvSpPr>
        <p:spPr>
          <a:xfrm>
            <a:off x="963082" y="4406906"/>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6000"/>
              <a:buFont typeface="Calibri"/>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3" name="Google Shape;5173;p631"/>
          <p:cNvSpPr txBox="1">
            <a:spLocks noGrp="1"/>
          </p:cNvSpPr>
          <p:nvPr>
            <p:ph type="body" idx="1"/>
          </p:nvPr>
        </p:nvSpPr>
        <p:spPr>
          <a:xfrm>
            <a:off x="963082" y="2906714"/>
            <a:ext cx="10363196" cy="1500182"/>
          </a:xfrm>
          <a:prstGeom prst="rect">
            <a:avLst/>
          </a:prstGeom>
          <a:noFill/>
          <a:ln>
            <a:noFill/>
          </a:ln>
        </p:spPr>
        <p:txBody>
          <a:bodyPr spcFirstLastPara="1" wrap="square" lIns="91400" tIns="45700" rIns="91400" bIns="45700" anchor="b" anchorCtr="0">
            <a:noAutofit/>
          </a:bodyPr>
          <a:lstStyle>
            <a:lvl1pPr marL="304815" lvl="0" indent="-152408" algn="l">
              <a:lnSpc>
                <a:spcPct val="100000"/>
              </a:lnSpc>
              <a:spcBef>
                <a:spcPts val="1000"/>
              </a:spcBef>
              <a:spcAft>
                <a:spcPts val="0"/>
              </a:spcAft>
              <a:buSzPts val="2400"/>
              <a:buNone/>
              <a:defRPr sz="2000">
                <a:solidFill>
                  <a:srgbClr val="919497"/>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74" name="Google Shape;5174;p63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175" name="Google Shape;5175;p63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6" name="Google Shape;5176;p63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54072834"/>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matchingName="OBJECT_WITH_CAPTION_TEXT" type="objTx">
  <p:cSld name="OBJECT_WITH_CAPTION_TEXT">
    <p:spTree>
      <p:nvGrpSpPr>
        <p:cNvPr id="1" name="Shape 5177"/>
        <p:cNvGrpSpPr/>
        <p:nvPr/>
      </p:nvGrpSpPr>
      <p:grpSpPr>
        <a:xfrm>
          <a:off x="0" y="0"/>
          <a:ext cx="0" cy="0"/>
          <a:chOff x="0" y="0"/>
          <a:chExt cx="0" cy="0"/>
        </a:xfrm>
      </p:grpSpPr>
      <p:sp>
        <p:nvSpPr>
          <p:cNvPr id="5178" name="Google Shape;5178;p632"/>
          <p:cNvSpPr txBox="1">
            <a:spLocks noGrp="1"/>
          </p:cNvSpPr>
          <p:nvPr>
            <p:ph type="title"/>
          </p:nvPr>
        </p:nvSpPr>
        <p:spPr>
          <a:xfrm>
            <a:off x="609604"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000"/>
              <a:buFont typeface="Calibri"/>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9" name="Google Shape;5179;p632"/>
          <p:cNvSpPr txBox="1">
            <a:spLocks noGrp="1"/>
          </p:cNvSpPr>
          <p:nvPr>
            <p:ph type="body" idx="1"/>
          </p:nvPr>
        </p:nvSpPr>
        <p:spPr>
          <a:xfrm>
            <a:off x="4766731" y="273058"/>
            <a:ext cx="6815663" cy="5853110"/>
          </a:xfrm>
          <a:prstGeom prst="rect">
            <a:avLst/>
          </a:prstGeom>
          <a:noFill/>
          <a:ln>
            <a:noFill/>
          </a:ln>
        </p:spPr>
        <p:txBody>
          <a:bodyPr spcFirstLastPara="1" wrap="square" lIns="91400" tIns="45700" rIns="91400" bIns="45700" anchor="t" anchorCtr="0">
            <a:noAutofit/>
          </a:bodyPr>
          <a:lstStyle>
            <a:lvl1pPr marL="304815" lvl="0" indent="-287881" algn="l">
              <a:lnSpc>
                <a:spcPct val="100000"/>
              </a:lnSpc>
              <a:spcBef>
                <a:spcPts val="1000"/>
              </a:spcBef>
              <a:spcAft>
                <a:spcPts val="0"/>
              </a:spcAft>
              <a:buSzPts val="3200"/>
              <a:buChar char="•"/>
              <a:defRPr sz="32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80" name="Google Shape;5180;p632"/>
          <p:cNvSpPr txBox="1">
            <a:spLocks noGrp="1"/>
          </p:cNvSpPr>
          <p:nvPr>
            <p:ph type="body" idx="2"/>
          </p:nvPr>
        </p:nvSpPr>
        <p:spPr>
          <a:xfrm>
            <a:off x="609604" y="1435105"/>
            <a:ext cx="4011079" cy="4691064"/>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14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81" name="Google Shape;5181;p63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2700"/>
              <a:buFont typeface="Calibri"/>
              <a:buNone/>
              <a:defRPr sz="1800" b="0" i="0" u="none" strike="noStrike" cap="none">
                <a:solidFill>
                  <a:srgbClr val="444C5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182" name="Google Shape;5182;p632"/>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83" name="Google Shape;5183;p632"/>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89230926"/>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matchingName="EVERYDAY CONTENT ONLY">
  <p:cSld name="EVERYDAY CONTENT ONLY">
    <p:spTree>
      <p:nvGrpSpPr>
        <p:cNvPr id="1" name="Shape 5184"/>
        <p:cNvGrpSpPr/>
        <p:nvPr/>
      </p:nvGrpSpPr>
      <p:grpSpPr>
        <a:xfrm>
          <a:off x="0" y="0"/>
          <a:ext cx="0" cy="0"/>
          <a:chOff x="0" y="0"/>
          <a:chExt cx="0" cy="0"/>
        </a:xfrm>
      </p:grpSpPr>
      <p:sp>
        <p:nvSpPr>
          <p:cNvPr id="5185" name="Google Shape;5185;p633"/>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186" name="Google Shape;5186;p633"/>
          <p:cNvSpPr/>
          <p:nvPr/>
        </p:nvSpPr>
        <p:spPr>
          <a:xfrm>
            <a:off x="6863642"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5187" name="Google Shape;5187;p633"/>
          <p:cNvSpPr txBox="1">
            <a:spLocks noGrp="1"/>
          </p:cNvSpPr>
          <p:nvPr>
            <p:ph type="body" idx="1"/>
          </p:nvPr>
        </p:nvSpPr>
        <p:spPr>
          <a:xfrm>
            <a:off x="508544" y="1707789"/>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88" name="Google Shape;5188;p633"/>
          <p:cNvSpPr/>
          <p:nvPr/>
        </p:nvSpPr>
        <p:spPr>
          <a:xfrm>
            <a:off x="6863642"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5189" name="Google Shape;5189;p633"/>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90" name="Google Shape;5190;p633"/>
          <p:cNvSpPr txBox="1">
            <a:spLocks noGrp="1"/>
          </p:cNvSpPr>
          <p:nvPr>
            <p:ph type="body" idx="2"/>
          </p:nvPr>
        </p:nvSpPr>
        <p:spPr>
          <a:xfrm>
            <a:off x="332184" y="953345"/>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191" name="Google Shape;5191;p633"/>
          <p:cNvCxnSpPr/>
          <p:nvPr/>
        </p:nvCxnSpPr>
        <p:spPr>
          <a:xfrm>
            <a:off x="11311722" y="6447270"/>
            <a:ext cx="0" cy="267883"/>
          </a:xfrm>
          <a:prstGeom prst="straightConnector1">
            <a:avLst/>
          </a:prstGeom>
          <a:noFill/>
          <a:ln w="9525" cap="flat" cmpd="sng">
            <a:solidFill>
              <a:srgbClr val="7F7F7F"/>
            </a:solidFill>
            <a:prstDash val="solid"/>
            <a:miter lim="8000"/>
            <a:headEnd type="none" w="sm" len="sm"/>
            <a:tailEnd type="none" w="sm" len="sm"/>
          </a:ln>
        </p:spPr>
      </p:cxnSp>
      <p:sp>
        <p:nvSpPr>
          <p:cNvPr id="5192" name="Google Shape;5192;p633"/>
          <p:cNvSpPr txBox="1">
            <a:spLocks noGrp="1"/>
          </p:cNvSpPr>
          <p:nvPr>
            <p:ph type="sldNum" idx="12"/>
          </p:nvPr>
        </p:nvSpPr>
        <p:spPr>
          <a:xfrm>
            <a:off x="11202597" y="6454531"/>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5193" name="Google Shape;5193;p633"/>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111311314"/>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5194"/>
        <p:cNvGrpSpPr/>
        <p:nvPr/>
      </p:nvGrpSpPr>
      <p:grpSpPr>
        <a:xfrm>
          <a:off x="0" y="0"/>
          <a:ext cx="0" cy="0"/>
          <a:chOff x="0" y="0"/>
          <a:chExt cx="0" cy="0"/>
        </a:xfrm>
      </p:grpSpPr>
      <p:sp>
        <p:nvSpPr>
          <p:cNvPr id="5195" name="Google Shape;5195;p63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196" name="Google Shape;5196;p6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97" name="Google Shape;5197;p634"/>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198" name="Google Shape;5198;p63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99" name="Google Shape;5199;p6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200" name="Google Shape;5200;p63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01" name="Google Shape;5201;p634"/>
          <p:cNvGrpSpPr/>
          <p:nvPr/>
        </p:nvGrpSpPr>
        <p:grpSpPr>
          <a:xfrm>
            <a:off x="7191545" y="0"/>
            <a:ext cx="5000460" cy="1425988"/>
            <a:chOff x="7191545" y="0"/>
            <a:chExt cx="5000460" cy="1425988"/>
          </a:xfrm>
        </p:grpSpPr>
        <p:pic>
          <p:nvPicPr>
            <p:cNvPr id="5202" name="Google Shape;5202;p6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203" name="Google Shape;5203;p634"/>
            <p:cNvGrpSpPr/>
            <p:nvPr/>
          </p:nvGrpSpPr>
          <p:grpSpPr>
            <a:xfrm>
              <a:off x="7191545" y="0"/>
              <a:ext cx="5000460" cy="1425988"/>
              <a:chOff x="7191545" y="0"/>
              <a:chExt cx="5000460" cy="1425988"/>
            </a:xfrm>
          </p:grpSpPr>
          <p:sp>
            <p:nvSpPr>
              <p:cNvPr id="5204" name="Google Shape;5204;p6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205" name="Google Shape;5205;p6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206" name="Google Shape;5206;p634"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940020188"/>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matchingName="EVERYDAY CONTENT ONLY 2">
  <p:cSld name="EVERYDAY CONTENT ONLY 2">
    <p:spTree>
      <p:nvGrpSpPr>
        <p:cNvPr id="1" name="Shape 5207"/>
        <p:cNvGrpSpPr/>
        <p:nvPr/>
      </p:nvGrpSpPr>
      <p:grpSpPr>
        <a:xfrm>
          <a:off x="0" y="0"/>
          <a:ext cx="0" cy="0"/>
          <a:chOff x="0" y="0"/>
          <a:chExt cx="0" cy="0"/>
        </a:xfrm>
      </p:grpSpPr>
      <p:sp>
        <p:nvSpPr>
          <p:cNvPr id="5208" name="Google Shape;5208;p635"/>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09" name="Google Shape;5209;p635"/>
          <p:cNvSpPr/>
          <p:nvPr/>
        </p:nvSpPr>
        <p:spPr>
          <a:xfrm>
            <a:off x="6863642"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5210" name="Google Shape;5210;p635"/>
          <p:cNvSpPr txBox="1">
            <a:spLocks noGrp="1"/>
          </p:cNvSpPr>
          <p:nvPr>
            <p:ph type="body" idx="1"/>
          </p:nvPr>
        </p:nvSpPr>
        <p:spPr>
          <a:xfrm>
            <a:off x="508544" y="1707789"/>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11" name="Google Shape;5211;p635"/>
          <p:cNvSpPr/>
          <p:nvPr/>
        </p:nvSpPr>
        <p:spPr>
          <a:xfrm>
            <a:off x="6863642"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5212" name="Google Shape;5212;p635"/>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13" name="Google Shape;5213;p635"/>
          <p:cNvSpPr txBox="1">
            <a:spLocks noGrp="1"/>
          </p:cNvSpPr>
          <p:nvPr>
            <p:ph type="body" idx="2"/>
          </p:nvPr>
        </p:nvSpPr>
        <p:spPr>
          <a:xfrm>
            <a:off x="332184" y="953345"/>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214" name="Google Shape;5214;p635"/>
          <p:cNvCxnSpPr/>
          <p:nvPr/>
        </p:nvCxnSpPr>
        <p:spPr>
          <a:xfrm>
            <a:off x="11311722" y="6447270"/>
            <a:ext cx="0" cy="267883"/>
          </a:xfrm>
          <a:prstGeom prst="straightConnector1">
            <a:avLst/>
          </a:prstGeom>
          <a:noFill/>
          <a:ln w="9525" cap="flat" cmpd="sng">
            <a:solidFill>
              <a:srgbClr val="7F7F7F"/>
            </a:solidFill>
            <a:prstDash val="solid"/>
            <a:miter lim="8000"/>
            <a:headEnd type="none" w="sm" len="sm"/>
            <a:tailEnd type="none" w="sm" len="sm"/>
          </a:ln>
        </p:spPr>
      </p:cxnSp>
      <p:sp>
        <p:nvSpPr>
          <p:cNvPr id="5215" name="Google Shape;5215;p635"/>
          <p:cNvSpPr txBox="1">
            <a:spLocks noGrp="1"/>
          </p:cNvSpPr>
          <p:nvPr>
            <p:ph type="sldNum" idx="12"/>
          </p:nvPr>
        </p:nvSpPr>
        <p:spPr>
          <a:xfrm>
            <a:off x="11202597" y="6454531"/>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5216" name="Google Shape;5216;p635"/>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2527571090"/>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matchingName="Cover 13">
  <p:cSld name="Cover 13">
    <p:spTree>
      <p:nvGrpSpPr>
        <p:cNvPr id="1" name="Shape 5217"/>
        <p:cNvGrpSpPr/>
        <p:nvPr/>
      </p:nvGrpSpPr>
      <p:grpSpPr>
        <a:xfrm>
          <a:off x="0" y="0"/>
          <a:ext cx="0" cy="0"/>
          <a:chOff x="0" y="0"/>
          <a:chExt cx="0" cy="0"/>
        </a:xfrm>
      </p:grpSpPr>
      <p:sp>
        <p:nvSpPr>
          <p:cNvPr id="5218" name="Google Shape;5218;p636"/>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19" name="Google Shape;5219;p63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0" name="Google Shape;5220;p63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5221" name="Google Shape;5221;p636"/>
          <p:cNvGrpSpPr/>
          <p:nvPr/>
        </p:nvGrpSpPr>
        <p:grpSpPr>
          <a:xfrm>
            <a:off x="0" y="5020349"/>
            <a:ext cx="12191996" cy="1837651"/>
            <a:chOff x="0" y="5020348"/>
            <a:chExt cx="12191996" cy="1837651"/>
          </a:xfrm>
        </p:grpSpPr>
        <p:sp>
          <p:nvSpPr>
            <p:cNvPr id="5222" name="Google Shape;5222;p63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23" name="Google Shape;5223;p63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224" name="Google Shape;5224;p63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080270897"/>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matchingName="Divider 14">
  <p:cSld name="Divider 14">
    <p:spTree>
      <p:nvGrpSpPr>
        <p:cNvPr id="1" name="Shape 5225"/>
        <p:cNvGrpSpPr/>
        <p:nvPr/>
      </p:nvGrpSpPr>
      <p:grpSpPr>
        <a:xfrm>
          <a:off x="0" y="0"/>
          <a:ext cx="0" cy="0"/>
          <a:chOff x="0" y="0"/>
          <a:chExt cx="0" cy="0"/>
        </a:xfrm>
      </p:grpSpPr>
      <p:grpSp>
        <p:nvGrpSpPr>
          <p:cNvPr id="5226" name="Google Shape;5226;p637"/>
          <p:cNvGrpSpPr/>
          <p:nvPr/>
        </p:nvGrpSpPr>
        <p:grpSpPr>
          <a:xfrm>
            <a:off x="0" y="5020349"/>
            <a:ext cx="12191996" cy="1837651"/>
            <a:chOff x="0" y="5020348"/>
            <a:chExt cx="12191996" cy="1837651"/>
          </a:xfrm>
        </p:grpSpPr>
        <p:sp>
          <p:nvSpPr>
            <p:cNvPr id="5227" name="Google Shape;5227;p63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28" name="Google Shape;5228;p63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29" name="Google Shape;5229;p63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230" name="Google Shape;5230;p63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5231" name="Google Shape;5231;p637"/>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32" name="Google Shape;5232;p63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554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04"/>
        <p:cNvGrpSpPr/>
        <p:nvPr/>
      </p:nvGrpSpPr>
      <p:grpSpPr>
        <a:xfrm>
          <a:off x="0" y="0"/>
          <a:ext cx="0" cy="0"/>
          <a:chOff x="0" y="0"/>
          <a:chExt cx="0" cy="0"/>
        </a:xfrm>
      </p:grpSpPr>
      <p:sp>
        <p:nvSpPr>
          <p:cNvPr id="105" name="Google Shape;105;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 name="Google Shape;106;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 name="Google Shape;107;p11"/>
          <p:cNvGrpSpPr/>
          <p:nvPr/>
        </p:nvGrpSpPr>
        <p:grpSpPr>
          <a:xfrm>
            <a:off x="0" y="5379426"/>
            <a:ext cx="2807368" cy="753891"/>
            <a:chOff x="0" y="5379426"/>
            <a:chExt cx="2807368" cy="753891"/>
          </a:xfrm>
        </p:grpSpPr>
        <p:sp>
          <p:nvSpPr>
            <p:cNvPr id="108" name="Google Shape;108;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 name="Google Shape;110;p11"/>
          <p:cNvSpPr>
            <a:spLocks noGrp="1"/>
          </p:cNvSpPr>
          <p:nvPr>
            <p:ph type="pic" idx="2"/>
          </p:nvPr>
        </p:nvSpPr>
        <p:spPr>
          <a:xfrm>
            <a:off x="2807368" y="457202"/>
            <a:ext cx="8915400" cy="5943598"/>
          </a:xfrm>
          <a:prstGeom prst="rect">
            <a:avLst/>
          </a:prstGeom>
          <a:noFill/>
          <a:ln>
            <a:noFill/>
          </a:ln>
        </p:spPr>
      </p:sp>
      <p:pic>
        <p:nvPicPr>
          <p:cNvPr id="111" name="Google Shape;111;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matchingName="Photo Slide 13">
  <p:cSld name="Photo Slide 13">
    <p:spTree>
      <p:nvGrpSpPr>
        <p:cNvPr id="1" name="Shape 5233"/>
        <p:cNvGrpSpPr/>
        <p:nvPr/>
      </p:nvGrpSpPr>
      <p:grpSpPr>
        <a:xfrm>
          <a:off x="0" y="0"/>
          <a:ext cx="0" cy="0"/>
          <a:chOff x="0" y="0"/>
          <a:chExt cx="0" cy="0"/>
        </a:xfrm>
      </p:grpSpPr>
      <p:sp>
        <p:nvSpPr>
          <p:cNvPr id="5234" name="Google Shape;5234;p63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235" name="Google Shape;5235;p638"/>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5236" name="Google Shape;5236;p638"/>
          <p:cNvGrpSpPr/>
          <p:nvPr/>
        </p:nvGrpSpPr>
        <p:grpSpPr>
          <a:xfrm>
            <a:off x="1" y="5379425"/>
            <a:ext cx="2807363" cy="753895"/>
            <a:chOff x="0" y="5379424"/>
            <a:chExt cx="2807363" cy="753895"/>
          </a:xfrm>
        </p:grpSpPr>
        <p:sp>
          <p:nvSpPr>
            <p:cNvPr id="5237" name="Google Shape;5237;p63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38" name="Google Shape;5238;p63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5239" name="Google Shape;5239;p638"/>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401964013"/>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5240"/>
        <p:cNvGrpSpPr/>
        <p:nvPr/>
      </p:nvGrpSpPr>
      <p:grpSpPr>
        <a:xfrm>
          <a:off x="0" y="0"/>
          <a:ext cx="0" cy="0"/>
          <a:chOff x="0" y="0"/>
          <a:chExt cx="0" cy="0"/>
        </a:xfrm>
      </p:grpSpPr>
      <p:sp>
        <p:nvSpPr>
          <p:cNvPr id="5241" name="Google Shape;5241;p639"/>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42" name="Google Shape;5242;p63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43" name="Google Shape;5243;p639"/>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44" name="Google Shape;5244;p63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245" name="Google Shape;5245;p6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246" name="Google Shape;5246;p63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47" name="Google Shape;5247;p639"/>
          <p:cNvGrpSpPr/>
          <p:nvPr/>
        </p:nvGrpSpPr>
        <p:grpSpPr>
          <a:xfrm>
            <a:off x="7191545" y="0"/>
            <a:ext cx="5000460" cy="1425988"/>
            <a:chOff x="7191545" y="0"/>
            <a:chExt cx="5000460" cy="1425988"/>
          </a:xfrm>
        </p:grpSpPr>
        <p:pic>
          <p:nvPicPr>
            <p:cNvPr id="5248" name="Google Shape;5248;p6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249" name="Google Shape;5249;p639"/>
            <p:cNvGrpSpPr/>
            <p:nvPr/>
          </p:nvGrpSpPr>
          <p:grpSpPr>
            <a:xfrm>
              <a:off x="7191545" y="0"/>
              <a:ext cx="5000460" cy="1425988"/>
              <a:chOff x="7191545" y="0"/>
              <a:chExt cx="5000460" cy="1425988"/>
            </a:xfrm>
          </p:grpSpPr>
          <p:sp>
            <p:nvSpPr>
              <p:cNvPr id="5250" name="Google Shape;5250;p6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251" name="Google Shape;5251;p6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252" name="Google Shape;5252;p639"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1304483643"/>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matchingName="1_EVERYDAY CONTENT ONLY 2">
  <p:cSld name="1_EVERYDAY CONTENT ONLY 2">
    <p:spTree>
      <p:nvGrpSpPr>
        <p:cNvPr id="1" name="Shape 5253"/>
        <p:cNvGrpSpPr/>
        <p:nvPr/>
      </p:nvGrpSpPr>
      <p:grpSpPr>
        <a:xfrm>
          <a:off x="0" y="0"/>
          <a:ext cx="0" cy="0"/>
          <a:chOff x="0" y="0"/>
          <a:chExt cx="0" cy="0"/>
        </a:xfrm>
      </p:grpSpPr>
      <p:sp>
        <p:nvSpPr>
          <p:cNvPr id="5254" name="Google Shape;5254;p640"/>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55" name="Google Shape;5255;p640"/>
          <p:cNvSpPr/>
          <p:nvPr/>
        </p:nvSpPr>
        <p:spPr>
          <a:xfrm>
            <a:off x="6863642" y="16268"/>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5256" name="Google Shape;5256;p640"/>
          <p:cNvSpPr txBox="1">
            <a:spLocks noGrp="1"/>
          </p:cNvSpPr>
          <p:nvPr>
            <p:ph type="body" idx="1"/>
          </p:nvPr>
        </p:nvSpPr>
        <p:spPr>
          <a:xfrm>
            <a:off x="508544" y="1707789"/>
            <a:ext cx="11203667" cy="4648571"/>
          </a:xfrm>
          <a:prstGeom prst="rect">
            <a:avLst/>
          </a:prstGeom>
          <a:noFill/>
          <a:ln>
            <a:noFill/>
          </a:ln>
        </p:spPr>
        <p:txBody>
          <a:bodyPr spcFirstLastPara="1" wrap="square" lIns="91400" tIns="45700" rIns="91400" bIns="45700" anchor="t" anchorCtr="0">
            <a:noAutofit/>
          </a:bodyPr>
          <a:lstStyle>
            <a:lvl1pPr marL="304815" lvl="0" indent="-254013" algn="l">
              <a:lnSpc>
                <a:spcPct val="100000"/>
              </a:lnSpc>
              <a:spcBef>
                <a:spcPts val="1000"/>
              </a:spcBef>
              <a:spcAft>
                <a:spcPts val="0"/>
              </a:spcAft>
              <a:buSzPts val="2400"/>
              <a:buChar char="•"/>
              <a:defRPr>
                <a:solidFill>
                  <a:srgbClr val="4B545E"/>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57" name="Google Shape;5257;p640"/>
          <p:cNvSpPr/>
          <p:nvPr/>
        </p:nvSpPr>
        <p:spPr>
          <a:xfrm>
            <a:off x="6863642"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2288"/>
              <a:buFont typeface="Calibri"/>
              <a:buNone/>
            </a:pPr>
            <a:endParaRPr sz="1525" b="0" i="0" u="none" strike="noStrike" cap="none">
              <a:solidFill>
                <a:srgbClr val="FFFFFF"/>
              </a:solidFill>
              <a:latin typeface="Helvetica Neue"/>
              <a:ea typeface="Helvetica Neue"/>
              <a:cs typeface="Helvetica Neue"/>
              <a:sym typeface="Helvetica Neue"/>
            </a:endParaRPr>
          </a:p>
        </p:txBody>
      </p:sp>
      <p:sp>
        <p:nvSpPr>
          <p:cNvPr id="5258" name="Google Shape;5258;p640"/>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4800"/>
              <a:buFont typeface="Calibri"/>
              <a:buNone/>
              <a:defRPr sz="3200">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9" name="Google Shape;5259;p640"/>
          <p:cNvSpPr txBox="1">
            <a:spLocks noGrp="1"/>
          </p:cNvSpPr>
          <p:nvPr>
            <p:ph type="body" idx="2"/>
          </p:nvPr>
        </p:nvSpPr>
        <p:spPr>
          <a:xfrm>
            <a:off x="332184" y="953345"/>
            <a:ext cx="11430109" cy="415923"/>
          </a:xfrm>
          <a:prstGeom prst="rect">
            <a:avLst/>
          </a:prstGeom>
          <a:noFill/>
          <a:ln>
            <a:noFill/>
          </a:ln>
        </p:spPr>
        <p:txBody>
          <a:bodyPr spcFirstLastPara="1" wrap="square" lIns="91400" tIns="45700" rIns="91400" bIns="45700" anchor="t" anchorCtr="0">
            <a:normAutofit/>
          </a:bodyPr>
          <a:lstStyle>
            <a:lvl1pPr marL="304815" lvl="0" indent="-152408" algn="l">
              <a:lnSpc>
                <a:spcPct val="100000"/>
              </a:lnSpc>
              <a:spcBef>
                <a:spcPts val="1000"/>
              </a:spcBef>
              <a:spcAft>
                <a:spcPts val="0"/>
              </a:spcAft>
              <a:buSzPts val="2400"/>
              <a:buNone/>
              <a:defRPr sz="1400">
                <a:solidFill>
                  <a:srgbClr val="FFFFFF"/>
                </a:solidFill>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260" name="Google Shape;5260;p640"/>
          <p:cNvCxnSpPr/>
          <p:nvPr/>
        </p:nvCxnSpPr>
        <p:spPr>
          <a:xfrm>
            <a:off x="11311722" y="6447270"/>
            <a:ext cx="0" cy="267883"/>
          </a:xfrm>
          <a:prstGeom prst="straightConnector1">
            <a:avLst/>
          </a:prstGeom>
          <a:noFill/>
          <a:ln w="9525" cap="flat" cmpd="sng">
            <a:solidFill>
              <a:srgbClr val="7F7F7F"/>
            </a:solidFill>
            <a:prstDash val="solid"/>
            <a:miter lim="8000"/>
            <a:headEnd type="none" w="sm" len="sm"/>
            <a:tailEnd type="none" w="sm" len="sm"/>
          </a:ln>
        </p:spPr>
      </p:cxnSp>
      <p:sp>
        <p:nvSpPr>
          <p:cNvPr id="5261" name="Google Shape;5261;p640"/>
          <p:cNvSpPr txBox="1">
            <a:spLocks noGrp="1"/>
          </p:cNvSpPr>
          <p:nvPr>
            <p:ph type="sldNum" idx="12"/>
          </p:nvPr>
        </p:nvSpPr>
        <p:spPr>
          <a:xfrm>
            <a:off x="11202597" y="6454531"/>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500"/>
              <a:buFont typeface="Calibri"/>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pic>
        <p:nvPicPr>
          <p:cNvPr id="5262" name="Google Shape;5262;p640"/>
          <p:cNvPicPr preferRelativeResize="0"/>
          <p:nvPr/>
        </p:nvPicPr>
        <p:blipFill rotWithShape="1">
          <a:blip r:embed="rId2">
            <a:alphaModFix/>
          </a:blip>
          <a:srcRect/>
          <a:stretch/>
        </p:blipFill>
        <p:spPr>
          <a:xfrm>
            <a:off x="9596464" y="6492240"/>
            <a:ext cx="1606134" cy="229240"/>
          </a:xfrm>
          <a:prstGeom prst="rect">
            <a:avLst/>
          </a:prstGeom>
          <a:noFill/>
          <a:ln>
            <a:noFill/>
          </a:ln>
        </p:spPr>
      </p:pic>
    </p:spTree>
    <p:extLst>
      <p:ext uri="{BB962C8B-B14F-4D97-AF65-F5344CB8AC3E}">
        <p14:creationId xmlns:p14="http://schemas.microsoft.com/office/powerpoint/2010/main" val="2760014836"/>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matchingName="1_Cover 13">
  <p:cSld name="1_Cover 13">
    <p:spTree>
      <p:nvGrpSpPr>
        <p:cNvPr id="1" name="Shape 5263"/>
        <p:cNvGrpSpPr/>
        <p:nvPr/>
      </p:nvGrpSpPr>
      <p:grpSpPr>
        <a:xfrm>
          <a:off x="0" y="0"/>
          <a:ext cx="0" cy="0"/>
          <a:chOff x="0" y="0"/>
          <a:chExt cx="0" cy="0"/>
        </a:xfrm>
      </p:grpSpPr>
      <p:sp>
        <p:nvSpPr>
          <p:cNvPr id="5264" name="Google Shape;5264;p641"/>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65" name="Google Shape;5265;p641"/>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66" name="Google Shape;5266;p641"/>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5267" name="Google Shape;5267;p641"/>
          <p:cNvGrpSpPr/>
          <p:nvPr/>
        </p:nvGrpSpPr>
        <p:grpSpPr>
          <a:xfrm>
            <a:off x="0" y="5020349"/>
            <a:ext cx="12191996" cy="1837651"/>
            <a:chOff x="0" y="5020348"/>
            <a:chExt cx="12191996" cy="1837651"/>
          </a:xfrm>
        </p:grpSpPr>
        <p:sp>
          <p:nvSpPr>
            <p:cNvPr id="5268" name="Google Shape;5268;p64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69" name="Google Shape;5269;p64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270" name="Google Shape;5270;p64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331455722"/>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matchingName="1_Divider 14">
  <p:cSld name="1_Divider 14">
    <p:spTree>
      <p:nvGrpSpPr>
        <p:cNvPr id="1" name="Shape 5271"/>
        <p:cNvGrpSpPr/>
        <p:nvPr/>
      </p:nvGrpSpPr>
      <p:grpSpPr>
        <a:xfrm>
          <a:off x="0" y="0"/>
          <a:ext cx="0" cy="0"/>
          <a:chOff x="0" y="0"/>
          <a:chExt cx="0" cy="0"/>
        </a:xfrm>
      </p:grpSpPr>
      <p:grpSp>
        <p:nvGrpSpPr>
          <p:cNvPr id="5272" name="Google Shape;5272;p642"/>
          <p:cNvGrpSpPr/>
          <p:nvPr/>
        </p:nvGrpSpPr>
        <p:grpSpPr>
          <a:xfrm>
            <a:off x="0" y="5020349"/>
            <a:ext cx="12191996" cy="1837651"/>
            <a:chOff x="0" y="5020348"/>
            <a:chExt cx="12191996" cy="1837651"/>
          </a:xfrm>
        </p:grpSpPr>
        <p:sp>
          <p:nvSpPr>
            <p:cNvPr id="5273" name="Google Shape;5273;p642"/>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74" name="Google Shape;5274;p64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75" name="Google Shape;5275;p64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276" name="Google Shape;5276;p64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5277" name="Google Shape;5277;p642"/>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8" name="Google Shape;5278;p642"/>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64708491"/>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matchingName="1_Photo Slide 13">
  <p:cSld name="1_Photo Slide 13">
    <p:spTree>
      <p:nvGrpSpPr>
        <p:cNvPr id="1" name="Shape 5279"/>
        <p:cNvGrpSpPr/>
        <p:nvPr/>
      </p:nvGrpSpPr>
      <p:grpSpPr>
        <a:xfrm>
          <a:off x="0" y="0"/>
          <a:ext cx="0" cy="0"/>
          <a:chOff x="0" y="0"/>
          <a:chExt cx="0" cy="0"/>
        </a:xfrm>
      </p:grpSpPr>
      <p:sp>
        <p:nvSpPr>
          <p:cNvPr id="5280" name="Google Shape;5280;p643"/>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281" name="Google Shape;5281;p643"/>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5282" name="Google Shape;5282;p643"/>
          <p:cNvGrpSpPr/>
          <p:nvPr/>
        </p:nvGrpSpPr>
        <p:grpSpPr>
          <a:xfrm>
            <a:off x="1" y="5379425"/>
            <a:ext cx="2807363" cy="753895"/>
            <a:chOff x="0" y="5379424"/>
            <a:chExt cx="2807363" cy="753895"/>
          </a:xfrm>
        </p:grpSpPr>
        <p:sp>
          <p:nvSpPr>
            <p:cNvPr id="5283" name="Google Shape;5283;p64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84" name="Google Shape;5284;p64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5285" name="Google Shape;5285;p643"/>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2963549373"/>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matchingName="Blank 10">
  <p:cSld name="Blank 10">
    <p:spTree>
      <p:nvGrpSpPr>
        <p:cNvPr id="1" name="Shape 5286"/>
        <p:cNvGrpSpPr/>
        <p:nvPr/>
      </p:nvGrpSpPr>
      <p:grpSpPr>
        <a:xfrm>
          <a:off x="0" y="0"/>
          <a:ext cx="0" cy="0"/>
          <a:chOff x="0" y="0"/>
          <a:chExt cx="0" cy="0"/>
        </a:xfrm>
      </p:grpSpPr>
      <p:sp>
        <p:nvSpPr>
          <p:cNvPr id="5287" name="Google Shape;5287;p64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288" name="Google Shape;5288;p6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289" name="Google Shape;5289;p64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290" name="Google Shape;5290;p644"/>
          <p:cNvGrpSpPr/>
          <p:nvPr/>
        </p:nvGrpSpPr>
        <p:grpSpPr>
          <a:xfrm>
            <a:off x="7191545" y="0"/>
            <a:ext cx="5000460" cy="1425988"/>
            <a:chOff x="7191545" y="0"/>
            <a:chExt cx="5000460" cy="1425988"/>
          </a:xfrm>
        </p:grpSpPr>
        <p:pic>
          <p:nvPicPr>
            <p:cNvPr id="5291" name="Google Shape;5291;p6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292" name="Google Shape;5292;p644"/>
            <p:cNvGrpSpPr/>
            <p:nvPr/>
          </p:nvGrpSpPr>
          <p:grpSpPr>
            <a:xfrm>
              <a:off x="7191545" y="0"/>
              <a:ext cx="5000460" cy="1425988"/>
              <a:chOff x="7191545" y="0"/>
              <a:chExt cx="5000460" cy="1425988"/>
            </a:xfrm>
          </p:grpSpPr>
          <p:sp>
            <p:nvSpPr>
              <p:cNvPr id="5293" name="Google Shape;5293;p6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294" name="Google Shape;5294;p6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85058788"/>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matchingName="Quotation 18">
  <p:cSld name="Quotation 18">
    <p:spTree>
      <p:nvGrpSpPr>
        <p:cNvPr id="1" name="Shape 5295"/>
        <p:cNvGrpSpPr/>
        <p:nvPr/>
      </p:nvGrpSpPr>
      <p:grpSpPr>
        <a:xfrm>
          <a:off x="0" y="0"/>
          <a:ext cx="0" cy="0"/>
          <a:chOff x="0" y="0"/>
          <a:chExt cx="0" cy="0"/>
        </a:xfrm>
      </p:grpSpPr>
      <p:sp>
        <p:nvSpPr>
          <p:cNvPr id="5296" name="Google Shape;5296;p64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297" name="Google Shape;5297;p64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8" name="Google Shape;5298;p645"/>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299" name="Google Shape;5299;p64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300" name="Google Shape;5300;p6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301" name="Google Shape;5301;p64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02" name="Google Shape;5302;p645"/>
          <p:cNvGrpSpPr/>
          <p:nvPr/>
        </p:nvGrpSpPr>
        <p:grpSpPr>
          <a:xfrm>
            <a:off x="7191545" y="0"/>
            <a:ext cx="5000460" cy="1425988"/>
            <a:chOff x="7191545" y="0"/>
            <a:chExt cx="5000460" cy="1425988"/>
          </a:xfrm>
        </p:grpSpPr>
        <p:pic>
          <p:nvPicPr>
            <p:cNvPr id="5303" name="Google Shape;5303;p6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304" name="Google Shape;5304;p645"/>
            <p:cNvGrpSpPr/>
            <p:nvPr/>
          </p:nvGrpSpPr>
          <p:grpSpPr>
            <a:xfrm>
              <a:off x="7191545" y="0"/>
              <a:ext cx="5000460" cy="1425988"/>
              <a:chOff x="7191545" y="0"/>
              <a:chExt cx="5000460" cy="1425988"/>
            </a:xfrm>
          </p:grpSpPr>
          <p:sp>
            <p:nvSpPr>
              <p:cNvPr id="5305" name="Google Shape;5305;p6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06" name="Google Shape;5306;p6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307" name="Google Shape;5307;p645"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4200470536"/>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matchingName="Two Content 12">
  <p:cSld name="Two Content 12">
    <p:spTree>
      <p:nvGrpSpPr>
        <p:cNvPr id="1" name="Shape 5308"/>
        <p:cNvGrpSpPr/>
        <p:nvPr/>
      </p:nvGrpSpPr>
      <p:grpSpPr>
        <a:xfrm>
          <a:off x="0" y="0"/>
          <a:ext cx="0" cy="0"/>
          <a:chOff x="0" y="0"/>
          <a:chExt cx="0" cy="0"/>
        </a:xfrm>
      </p:grpSpPr>
      <p:sp>
        <p:nvSpPr>
          <p:cNvPr id="5309" name="Google Shape;5309;p64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0" name="Google Shape;5310;p646"/>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311" name="Google Shape;5311;p646"/>
          <p:cNvGrpSpPr/>
          <p:nvPr/>
        </p:nvGrpSpPr>
        <p:grpSpPr>
          <a:xfrm>
            <a:off x="7191545" y="0"/>
            <a:ext cx="5000460" cy="1425988"/>
            <a:chOff x="7191545" y="0"/>
            <a:chExt cx="5000460" cy="1425988"/>
          </a:xfrm>
        </p:grpSpPr>
        <p:pic>
          <p:nvPicPr>
            <p:cNvPr id="5312" name="Google Shape;5312;p6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313" name="Google Shape;5313;p646"/>
            <p:cNvGrpSpPr/>
            <p:nvPr/>
          </p:nvGrpSpPr>
          <p:grpSpPr>
            <a:xfrm>
              <a:off x="7191545" y="0"/>
              <a:ext cx="5000460" cy="1425988"/>
              <a:chOff x="7191545" y="0"/>
              <a:chExt cx="5000460" cy="1425988"/>
            </a:xfrm>
          </p:grpSpPr>
          <p:sp>
            <p:nvSpPr>
              <p:cNvPr id="5314" name="Google Shape;5314;p6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15" name="Google Shape;5315;p6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316" name="Google Shape;5316;p646"/>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17" name="Google Shape;5317;p646"/>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318" name="Google Shape;5318;p6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319" name="Google Shape;5319;p64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32648075"/>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matchingName="Comparison 11">
  <p:cSld name="Comparison 11">
    <p:spTree>
      <p:nvGrpSpPr>
        <p:cNvPr id="1" name="Shape 5320"/>
        <p:cNvGrpSpPr/>
        <p:nvPr/>
      </p:nvGrpSpPr>
      <p:grpSpPr>
        <a:xfrm>
          <a:off x="0" y="0"/>
          <a:ext cx="0" cy="0"/>
          <a:chOff x="0" y="0"/>
          <a:chExt cx="0" cy="0"/>
        </a:xfrm>
      </p:grpSpPr>
      <p:grpSp>
        <p:nvGrpSpPr>
          <p:cNvPr id="5321" name="Google Shape;5321;p647"/>
          <p:cNvGrpSpPr/>
          <p:nvPr/>
        </p:nvGrpSpPr>
        <p:grpSpPr>
          <a:xfrm>
            <a:off x="7191545" y="0"/>
            <a:ext cx="5000460" cy="1425988"/>
            <a:chOff x="7191545" y="0"/>
            <a:chExt cx="5000460" cy="1425988"/>
          </a:xfrm>
        </p:grpSpPr>
        <p:pic>
          <p:nvPicPr>
            <p:cNvPr id="5322" name="Google Shape;5322;p6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323" name="Google Shape;5323;p647"/>
            <p:cNvGrpSpPr/>
            <p:nvPr/>
          </p:nvGrpSpPr>
          <p:grpSpPr>
            <a:xfrm>
              <a:off x="7191545" y="0"/>
              <a:ext cx="5000460" cy="1425988"/>
              <a:chOff x="7191545" y="0"/>
              <a:chExt cx="5000460" cy="1425988"/>
            </a:xfrm>
          </p:grpSpPr>
          <p:sp>
            <p:nvSpPr>
              <p:cNvPr id="5324" name="Google Shape;5324;p6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25" name="Google Shape;5325;p6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326" name="Google Shape;5326;p64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27" name="Google Shape;5327;p647"/>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28" name="Google Shape;5328;p647"/>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29" name="Google Shape;5329;p647"/>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30" name="Google Shape;5330;p647"/>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31" name="Google Shape;5331;p64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332" name="Google Shape;5332;p6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333" name="Google Shape;5333;p64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401533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matchingName="Title Only 11">
  <p:cSld name="Title Only 11">
    <p:spTree>
      <p:nvGrpSpPr>
        <p:cNvPr id="1" name="Shape 5334"/>
        <p:cNvGrpSpPr/>
        <p:nvPr/>
      </p:nvGrpSpPr>
      <p:grpSpPr>
        <a:xfrm>
          <a:off x="0" y="0"/>
          <a:ext cx="0" cy="0"/>
          <a:chOff x="0" y="0"/>
          <a:chExt cx="0" cy="0"/>
        </a:xfrm>
      </p:grpSpPr>
      <p:grpSp>
        <p:nvGrpSpPr>
          <p:cNvPr id="5335" name="Google Shape;5335;p648"/>
          <p:cNvGrpSpPr/>
          <p:nvPr/>
        </p:nvGrpSpPr>
        <p:grpSpPr>
          <a:xfrm>
            <a:off x="7191545" y="0"/>
            <a:ext cx="5000460" cy="1425988"/>
            <a:chOff x="7191545" y="0"/>
            <a:chExt cx="5000460" cy="1425988"/>
          </a:xfrm>
        </p:grpSpPr>
        <p:pic>
          <p:nvPicPr>
            <p:cNvPr id="5336" name="Google Shape;5336;p6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337" name="Google Shape;5337;p648"/>
            <p:cNvGrpSpPr/>
            <p:nvPr/>
          </p:nvGrpSpPr>
          <p:grpSpPr>
            <a:xfrm>
              <a:off x="7191545" y="0"/>
              <a:ext cx="5000460" cy="1425988"/>
              <a:chOff x="7191545" y="0"/>
              <a:chExt cx="5000460" cy="1425988"/>
            </a:xfrm>
          </p:grpSpPr>
          <p:sp>
            <p:nvSpPr>
              <p:cNvPr id="5338" name="Google Shape;5338;p6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39" name="Google Shape;5339;p6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340" name="Google Shape;5340;p648"/>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41" name="Google Shape;5341;p64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342" name="Google Shape;5342;p6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343" name="Google Shape;5343;p64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05859786"/>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matchingName="End 12">
  <p:cSld name="End 12">
    <p:spTree>
      <p:nvGrpSpPr>
        <p:cNvPr id="1" name="Shape 5344"/>
        <p:cNvGrpSpPr/>
        <p:nvPr/>
      </p:nvGrpSpPr>
      <p:grpSpPr>
        <a:xfrm>
          <a:off x="0" y="0"/>
          <a:ext cx="0" cy="0"/>
          <a:chOff x="0" y="0"/>
          <a:chExt cx="0" cy="0"/>
        </a:xfrm>
      </p:grpSpPr>
      <p:grpSp>
        <p:nvGrpSpPr>
          <p:cNvPr id="5345" name="Google Shape;5345;p649"/>
          <p:cNvGrpSpPr/>
          <p:nvPr/>
        </p:nvGrpSpPr>
        <p:grpSpPr>
          <a:xfrm>
            <a:off x="0" y="0"/>
            <a:ext cx="12191996" cy="2148830"/>
            <a:chOff x="0" y="0"/>
            <a:chExt cx="12191996" cy="2148830"/>
          </a:xfrm>
        </p:grpSpPr>
        <p:sp>
          <p:nvSpPr>
            <p:cNvPr id="5346" name="Google Shape;5346;p649"/>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47" name="Google Shape;5347;p649"/>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5348" name="Google Shape;5348;p649"/>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349" name="Google Shape;5349;p649"/>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50" name="Google Shape;5350;p649"/>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351" name="Google Shape;5351;p649"/>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83995249"/>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matchingName="Blank 11">
  <p:cSld name="Blank 11">
    <p:spTree>
      <p:nvGrpSpPr>
        <p:cNvPr id="1" name="Shape 5352"/>
        <p:cNvGrpSpPr/>
        <p:nvPr/>
      </p:nvGrpSpPr>
      <p:grpSpPr>
        <a:xfrm>
          <a:off x="0" y="0"/>
          <a:ext cx="0" cy="0"/>
          <a:chOff x="0" y="0"/>
          <a:chExt cx="0" cy="0"/>
        </a:xfrm>
      </p:grpSpPr>
      <p:sp>
        <p:nvSpPr>
          <p:cNvPr id="5353" name="Google Shape;5353;p65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354" name="Google Shape;5354;p65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355" name="Google Shape;5355;p65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56" name="Google Shape;5356;p650"/>
          <p:cNvGrpSpPr/>
          <p:nvPr/>
        </p:nvGrpSpPr>
        <p:grpSpPr>
          <a:xfrm>
            <a:off x="7191545" y="0"/>
            <a:ext cx="5000460" cy="1425988"/>
            <a:chOff x="7191545" y="0"/>
            <a:chExt cx="5000460" cy="1425988"/>
          </a:xfrm>
        </p:grpSpPr>
        <p:pic>
          <p:nvPicPr>
            <p:cNvPr id="5357" name="Google Shape;5357;p65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358" name="Google Shape;5358;p650"/>
            <p:cNvGrpSpPr/>
            <p:nvPr/>
          </p:nvGrpSpPr>
          <p:grpSpPr>
            <a:xfrm>
              <a:off x="7191545" y="0"/>
              <a:ext cx="5000460" cy="1425988"/>
              <a:chOff x="7191545" y="0"/>
              <a:chExt cx="5000460" cy="1425988"/>
            </a:xfrm>
          </p:grpSpPr>
          <p:sp>
            <p:nvSpPr>
              <p:cNvPr id="5359" name="Google Shape;5359;p65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60" name="Google Shape;5360;p65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131243106"/>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matchingName="6_Quotation 2">
  <p:cSld name="6_Quotation 2">
    <p:spTree>
      <p:nvGrpSpPr>
        <p:cNvPr id="1" name="Shape 5361"/>
        <p:cNvGrpSpPr/>
        <p:nvPr/>
      </p:nvGrpSpPr>
      <p:grpSpPr>
        <a:xfrm>
          <a:off x="0" y="0"/>
          <a:ext cx="0" cy="0"/>
          <a:chOff x="0" y="0"/>
          <a:chExt cx="0" cy="0"/>
        </a:xfrm>
      </p:grpSpPr>
      <p:sp>
        <p:nvSpPr>
          <p:cNvPr id="5362" name="Google Shape;5362;p651"/>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363" name="Google Shape;5363;p65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64" name="Google Shape;5364;p651"/>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365" name="Google Shape;5365;p65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366" name="Google Shape;5366;p6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367" name="Google Shape;5367;p65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68" name="Google Shape;5368;p651"/>
          <p:cNvGrpSpPr/>
          <p:nvPr/>
        </p:nvGrpSpPr>
        <p:grpSpPr>
          <a:xfrm>
            <a:off x="7191545" y="0"/>
            <a:ext cx="5000460" cy="1425988"/>
            <a:chOff x="7191545" y="0"/>
            <a:chExt cx="5000460" cy="1425988"/>
          </a:xfrm>
        </p:grpSpPr>
        <p:pic>
          <p:nvPicPr>
            <p:cNvPr id="5369" name="Google Shape;5369;p6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370" name="Google Shape;5370;p651"/>
            <p:cNvGrpSpPr/>
            <p:nvPr/>
          </p:nvGrpSpPr>
          <p:grpSpPr>
            <a:xfrm>
              <a:off x="7191545" y="0"/>
              <a:ext cx="5000460" cy="1425988"/>
              <a:chOff x="7191545" y="0"/>
              <a:chExt cx="5000460" cy="1425988"/>
            </a:xfrm>
          </p:grpSpPr>
          <p:sp>
            <p:nvSpPr>
              <p:cNvPr id="5371" name="Google Shape;5371;p6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72" name="Google Shape;5372;p6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373" name="Google Shape;5373;p651"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274372072"/>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matchingName="Cover B 3">
  <p:cSld name="Cover B 3">
    <p:spTree>
      <p:nvGrpSpPr>
        <p:cNvPr id="1" name="Shape 5374"/>
        <p:cNvGrpSpPr/>
        <p:nvPr/>
      </p:nvGrpSpPr>
      <p:grpSpPr>
        <a:xfrm>
          <a:off x="0" y="0"/>
          <a:ext cx="0" cy="0"/>
          <a:chOff x="0" y="0"/>
          <a:chExt cx="0" cy="0"/>
        </a:xfrm>
      </p:grpSpPr>
      <p:sp>
        <p:nvSpPr>
          <p:cNvPr id="5375" name="Google Shape;5375;p652"/>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76" name="Google Shape;5376;p652"/>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5377" name="Google Shape;5377;p652"/>
          <p:cNvGrpSpPr/>
          <p:nvPr/>
        </p:nvGrpSpPr>
        <p:grpSpPr>
          <a:xfrm>
            <a:off x="0" y="0"/>
            <a:ext cx="6418722" cy="1509820"/>
            <a:chOff x="0" y="0"/>
            <a:chExt cx="6418722" cy="1509820"/>
          </a:xfrm>
        </p:grpSpPr>
        <p:sp>
          <p:nvSpPr>
            <p:cNvPr id="5378" name="Google Shape;5378;p652"/>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379" name="Google Shape;5379;p652"/>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pic>
        <p:nvPicPr>
          <p:cNvPr id="5380" name="Google Shape;5380;p652"/>
          <p:cNvPicPr preferRelativeResize="0"/>
          <p:nvPr/>
        </p:nvPicPr>
        <p:blipFill rotWithShape="1">
          <a:blip r:embed="rId2">
            <a:alphaModFix/>
          </a:blip>
          <a:srcRect/>
          <a:stretch/>
        </p:blipFill>
        <p:spPr>
          <a:xfrm>
            <a:off x="513345" y="136529"/>
            <a:ext cx="1945203" cy="879972"/>
          </a:xfrm>
          <a:prstGeom prst="rect">
            <a:avLst/>
          </a:prstGeom>
          <a:noFill/>
          <a:ln>
            <a:noFill/>
          </a:ln>
        </p:spPr>
      </p:pic>
    </p:spTree>
    <p:extLst>
      <p:ext uri="{BB962C8B-B14F-4D97-AF65-F5344CB8AC3E}">
        <p14:creationId xmlns:p14="http://schemas.microsoft.com/office/powerpoint/2010/main" val="3603945072"/>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matchingName="Cover 14">
  <p:cSld name="Cover 14">
    <p:spTree>
      <p:nvGrpSpPr>
        <p:cNvPr id="1" name="Shape 5381"/>
        <p:cNvGrpSpPr/>
        <p:nvPr/>
      </p:nvGrpSpPr>
      <p:grpSpPr>
        <a:xfrm>
          <a:off x="0" y="0"/>
          <a:ext cx="0" cy="0"/>
          <a:chOff x="0" y="0"/>
          <a:chExt cx="0" cy="0"/>
        </a:xfrm>
      </p:grpSpPr>
      <p:sp>
        <p:nvSpPr>
          <p:cNvPr id="5382" name="Google Shape;5382;p653"/>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383" name="Google Shape;5383;p653"/>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84" name="Google Shape;5384;p653"/>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5385" name="Google Shape;5385;p653"/>
          <p:cNvGrpSpPr/>
          <p:nvPr/>
        </p:nvGrpSpPr>
        <p:grpSpPr>
          <a:xfrm>
            <a:off x="0" y="5020349"/>
            <a:ext cx="12191996" cy="1837651"/>
            <a:chOff x="0" y="5020348"/>
            <a:chExt cx="12191996" cy="1837651"/>
          </a:xfrm>
        </p:grpSpPr>
        <p:sp>
          <p:nvSpPr>
            <p:cNvPr id="5386" name="Google Shape;5386;p65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387" name="Google Shape;5387;p65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388" name="Google Shape;5388;p65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789731611"/>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matchingName="Divider 15">
  <p:cSld name="Divider 15">
    <p:spTree>
      <p:nvGrpSpPr>
        <p:cNvPr id="1" name="Shape 5389"/>
        <p:cNvGrpSpPr/>
        <p:nvPr/>
      </p:nvGrpSpPr>
      <p:grpSpPr>
        <a:xfrm>
          <a:off x="0" y="0"/>
          <a:ext cx="0" cy="0"/>
          <a:chOff x="0" y="0"/>
          <a:chExt cx="0" cy="0"/>
        </a:xfrm>
      </p:grpSpPr>
      <p:grpSp>
        <p:nvGrpSpPr>
          <p:cNvPr id="5390" name="Google Shape;5390;p654"/>
          <p:cNvGrpSpPr/>
          <p:nvPr/>
        </p:nvGrpSpPr>
        <p:grpSpPr>
          <a:xfrm>
            <a:off x="0" y="5020349"/>
            <a:ext cx="12191996" cy="1837651"/>
            <a:chOff x="0" y="5020348"/>
            <a:chExt cx="12191996" cy="1837651"/>
          </a:xfrm>
        </p:grpSpPr>
        <p:sp>
          <p:nvSpPr>
            <p:cNvPr id="5391" name="Google Shape;5391;p654"/>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392" name="Google Shape;5392;p65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393" name="Google Shape;5393;p65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394" name="Google Shape;5394;p65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5395" name="Google Shape;5395;p654"/>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6" name="Google Shape;5396;p654"/>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87710964"/>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matchingName="Photo Slide 14">
  <p:cSld name="Photo Slide 14">
    <p:spTree>
      <p:nvGrpSpPr>
        <p:cNvPr id="1" name="Shape 5397"/>
        <p:cNvGrpSpPr/>
        <p:nvPr/>
      </p:nvGrpSpPr>
      <p:grpSpPr>
        <a:xfrm>
          <a:off x="0" y="0"/>
          <a:ext cx="0" cy="0"/>
          <a:chOff x="0" y="0"/>
          <a:chExt cx="0" cy="0"/>
        </a:xfrm>
      </p:grpSpPr>
      <p:sp>
        <p:nvSpPr>
          <p:cNvPr id="5398" name="Google Shape;5398;p655"/>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399" name="Google Shape;5399;p655"/>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5400" name="Google Shape;5400;p655"/>
          <p:cNvGrpSpPr/>
          <p:nvPr/>
        </p:nvGrpSpPr>
        <p:grpSpPr>
          <a:xfrm>
            <a:off x="1" y="5379425"/>
            <a:ext cx="2807363" cy="753895"/>
            <a:chOff x="0" y="5379424"/>
            <a:chExt cx="2807363" cy="753895"/>
          </a:xfrm>
        </p:grpSpPr>
        <p:sp>
          <p:nvSpPr>
            <p:cNvPr id="5401" name="Google Shape;5401;p655"/>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402" name="Google Shape;5402;p655"/>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5403" name="Google Shape;5403;p655"/>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167235228"/>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matchingName="Quotation 19">
  <p:cSld name="Quotation 19">
    <p:spTree>
      <p:nvGrpSpPr>
        <p:cNvPr id="1" name="Shape 5404"/>
        <p:cNvGrpSpPr/>
        <p:nvPr/>
      </p:nvGrpSpPr>
      <p:grpSpPr>
        <a:xfrm>
          <a:off x="0" y="0"/>
          <a:ext cx="0" cy="0"/>
          <a:chOff x="0" y="0"/>
          <a:chExt cx="0" cy="0"/>
        </a:xfrm>
      </p:grpSpPr>
      <p:sp>
        <p:nvSpPr>
          <p:cNvPr id="5405" name="Google Shape;5405;p656"/>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406" name="Google Shape;5406;p65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07" name="Google Shape;5407;p656"/>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08" name="Google Shape;5408;p65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09" name="Google Shape;5409;p65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10" name="Google Shape;5410;p65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11" name="Google Shape;5411;p656"/>
          <p:cNvGrpSpPr/>
          <p:nvPr/>
        </p:nvGrpSpPr>
        <p:grpSpPr>
          <a:xfrm>
            <a:off x="7191545" y="0"/>
            <a:ext cx="5000460" cy="1425988"/>
            <a:chOff x="7191545" y="0"/>
            <a:chExt cx="5000460" cy="1425988"/>
          </a:xfrm>
        </p:grpSpPr>
        <p:pic>
          <p:nvPicPr>
            <p:cNvPr id="5412" name="Google Shape;5412;p65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13" name="Google Shape;5413;p656"/>
            <p:cNvGrpSpPr/>
            <p:nvPr/>
          </p:nvGrpSpPr>
          <p:grpSpPr>
            <a:xfrm>
              <a:off x="7191545" y="0"/>
              <a:ext cx="5000460" cy="1425988"/>
              <a:chOff x="7191545" y="0"/>
              <a:chExt cx="5000460" cy="1425988"/>
            </a:xfrm>
          </p:grpSpPr>
          <p:sp>
            <p:nvSpPr>
              <p:cNvPr id="5414" name="Google Shape;5414;p65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15" name="Google Shape;5415;p65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416" name="Google Shape;5416;p656"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189790704"/>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matchingName="Quotation 20">
  <p:cSld name="Quotation 20">
    <p:spTree>
      <p:nvGrpSpPr>
        <p:cNvPr id="1" name="Shape 5417"/>
        <p:cNvGrpSpPr/>
        <p:nvPr/>
      </p:nvGrpSpPr>
      <p:grpSpPr>
        <a:xfrm>
          <a:off x="0" y="0"/>
          <a:ext cx="0" cy="0"/>
          <a:chOff x="0" y="0"/>
          <a:chExt cx="0" cy="0"/>
        </a:xfrm>
      </p:grpSpPr>
      <p:sp>
        <p:nvSpPr>
          <p:cNvPr id="5418" name="Google Shape;5418;p657"/>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419" name="Google Shape;5419;p65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20" name="Google Shape;5420;p657"/>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21" name="Google Shape;5421;p65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22" name="Google Shape;5422;p6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23" name="Google Shape;5423;p65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24" name="Google Shape;5424;p657"/>
          <p:cNvGrpSpPr/>
          <p:nvPr/>
        </p:nvGrpSpPr>
        <p:grpSpPr>
          <a:xfrm>
            <a:off x="7191545" y="0"/>
            <a:ext cx="5000460" cy="1425988"/>
            <a:chOff x="7191545" y="0"/>
            <a:chExt cx="5000460" cy="1425988"/>
          </a:xfrm>
        </p:grpSpPr>
        <p:pic>
          <p:nvPicPr>
            <p:cNvPr id="5425" name="Google Shape;5425;p6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26" name="Google Shape;5426;p657"/>
            <p:cNvGrpSpPr/>
            <p:nvPr/>
          </p:nvGrpSpPr>
          <p:grpSpPr>
            <a:xfrm>
              <a:off x="7191545" y="0"/>
              <a:ext cx="5000460" cy="1425988"/>
              <a:chOff x="7191545" y="0"/>
              <a:chExt cx="5000460" cy="1425988"/>
            </a:xfrm>
          </p:grpSpPr>
          <p:sp>
            <p:nvSpPr>
              <p:cNvPr id="5427" name="Google Shape;5427;p6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28" name="Google Shape;5428;p6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429" name="Google Shape;5429;p657"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92829838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matchingName="Title and Content 15">
  <p:cSld name="Title and Content 15">
    <p:spTree>
      <p:nvGrpSpPr>
        <p:cNvPr id="1" name="Shape 5430"/>
        <p:cNvGrpSpPr/>
        <p:nvPr/>
      </p:nvGrpSpPr>
      <p:grpSpPr>
        <a:xfrm>
          <a:off x="0" y="0"/>
          <a:ext cx="0" cy="0"/>
          <a:chOff x="0" y="0"/>
          <a:chExt cx="0" cy="0"/>
        </a:xfrm>
      </p:grpSpPr>
      <p:grpSp>
        <p:nvGrpSpPr>
          <p:cNvPr id="5431" name="Google Shape;5431;p658"/>
          <p:cNvGrpSpPr/>
          <p:nvPr/>
        </p:nvGrpSpPr>
        <p:grpSpPr>
          <a:xfrm>
            <a:off x="7191545" y="0"/>
            <a:ext cx="5000460" cy="1425988"/>
            <a:chOff x="7191545" y="0"/>
            <a:chExt cx="5000460" cy="1425988"/>
          </a:xfrm>
        </p:grpSpPr>
        <p:pic>
          <p:nvPicPr>
            <p:cNvPr id="5432" name="Google Shape;5432;p65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33" name="Google Shape;5433;p658"/>
            <p:cNvGrpSpPr/>
            <p:nvPr/>
          </p:nvGrpSpPr>
          <p:grpSpPr>
            <a:xfrm>
              <a:off x="7191545" y="0"/>
              <a:ext cx="5000460" cy="1425988"/>
              <a:chOff x="7191545" y="0"/>
              <a:chExt cx="5000460" cy="1425988"/>
            </a:xfrm>
          </p:grpSpPr>
          <p:sp>
            <p:nvSpPr>
              <p:cNvPr id="5434" name="Google Shape;5434;p65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35" name="Google Shape;5435;p65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436" name="Google Shape;5436;p658"/>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37" name="Google Shape;5437;p658"/>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38" name="Google Shape;5438;p65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39" name="Google Shape;5439;p65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40" name="Google Shape;5440;p65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42342149"/>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matchingName="Two Content 13">
  <p:cSld name="Two Content 13">
    <p:spTree>
      <p:nvGrpSpPr>
        <p:cNvPr id="1" name="Shape 5441"/>
        <p:cNvGrpSpPr/>
        <p:nvPr/>
      </p:nvGrpSpPr>
      <p:grpSpPr>
        <a:xfrm>
          <a:off x="0" y="0"/>
          <a:ext cx="0" cy="0"/>
          <a:chOff x="0" y="0"/>
          <a:chExt cx="0" cy="0"/>
        </a:xfrm>
      </p:grpSpPr>
      <p:sp>
        <p:nvSpPr>
          <p:cNvPr id="5442" name="Google Shape;5442;p659"/>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43" name="Google Shape;5443;p659"/>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444" name="Google Shape;5444;p659"/>
          <p:cNvGrpSpPr/>
          <p:nvPr/>
        </p:nvGrpSpPr>
        <p:grpSpPr>
          <a:xfrm>
            <a:off x="7191545" y="0"/>
            <a:ext cx="5000460" cy="1425988"/>
            <a:chOff x="7191545" y="0"/>
            <a:chExt cx="5000460" cy="1425988"/>
          </a:xfrm>
        </p:grpSpPr>
        <p:pic>
          <p:nvPicPr>
            <p:cNvPr id="5445" name="Google Shape;5445;p6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46" name="Google Shape;5446;p659"/>
            <p:cNvGrpSpPr/>
            <p:nvPr/>
          </p:nvGrpSpPr>
          <p:grpSpPr>
            <a:xfrm>
              <a:off x="7191545" y="0"/>
              <a:ext cx="5000460" cy="1425988"/>
              <a:chOff x="7191545" y="0"/>
              <a:chExt cx="5000460" cy="1425988"/>
            </a:xfrm>
          </p:grpSpPr>
          <p:sp>
            <p:nvSpPr>
              <p:cNvPr id="5447" name="Google Shape;5447;p6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48" name="Google Shape;5448;p6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449" name="Google Shape;5449;p659"/>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50" name="Google Shape;5450;p659"/>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51" name="Google Shape;5451;p6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52" name="Google Shape;5452;p65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99046217"/>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matchingName="Comparison 12">
  <p:cSld name="Comparison 12">
    <p:spTree>
      <p:nvGrpSpPr>
        <p:cNvPr id="1" name="Shape 5453"/>
        <p:cNvGrpSpPr/>
        <p:nvPr/>
      </p:nvGrpSpPr>
      <p:grpSpPr>
        <a:xfrm>
          <a:off x="0" y="0"/>
          <a:ext cx="0" cy="0"/>
          <a:chOff x="0" y="0"/>
          <a:chExt cx="0" cy="0"/>
        </a:xfrm>
      </p:grpSpPr>
      <p:grpSp>
        <p:nvGrpSpPr>
          <p:cNvPr id="5454" name="Google Shape;5454;p660"/>
          <p:cNvGrpSpPr/>
          <p:nvPr/>
        </p:nvGrpSpPr>
        <p:grpSpPr>
          <a:xfrm>
            <a:off x="7191545" y="0"/>
            <a:ext cx="5000460" cy="1425988"/>
            <a:chOff x="7191545" y="0"/>
            <a:chExt cx="5000460" cy="1425988"/>
          </a:xfrm>
        </p:grpSpPr>
        <p:pic>
          <p:nvPicPr>
            <p:cNvPr id="5455" name="Google Shape;5455;p66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56" name="Google Shape;5456;p660"/>
            <p:cNvGrpSpPr/>
            <p:nvPr/>
          </p:nvGrpSpPr>
          <p:grpSpPr>
            <a:xfrm>
              <a:off x="7191545" y="0"/>
              <a:ext cx="5000460" cy="1425988"/>
              <a:chOff x="7191545" y="0"/>
              <a:chExt cx="5000460" cy="1425988"/>
            </a:xfrm>
          </p:grpSpPr>
          <p:sp>
            <p:nvSpPr>
              <p:cNvPr id="5457" name="Google Shape;5457;p66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58" name="Google Shape;5458;p66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459" name="Google Shape;5459;p660"/>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60" name="Google Shape;5460;p660"/>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1" name="Google Shape;5461;p660"/>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2" name="Google Shape;5462;p660"/>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3" name="Google Shape;5463;p660"/>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64" name="Google Shape;5464;p66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65" name="Google Shape;5465;p66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66" name="Google Shape;5466;p66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97411259"/>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matchingName="Title Only 12">
  <p:cSld name="Title Only 12">
    <p:spTree>
      <p:nvGrpSpPr>
        <p:cNvPr id="1" name="Shape 5467"/>
        <p:cNvGrpSpPr/>
        <p:nvPr/>
      </p:nvGrpSpPr>
      <p:grpSpPr>
        <a:xfrm>
          <a:off x="0" y="0"/>
          <a:ext cx="0" cy="0"/>
          <a:chOff x="0" y="0"/>
          <a:chExt cx="0" cy="0"/>
        </a:xfrm>
      </p:grpSpPr>
      <p:grpSp>
        <p:nvGrpSpPr>
          <p:cNvPr id="5468" name="Google Shape;5468;p661"/>
          <p:cNvGrpSpPr/>
          <p:nvPr/>
        </p:nvGrpSpPr>
        <p:grpSpPr>
          <a:xfrm>
            <a:off x="7191545" y="0"/>
            <a:ext cx="5000460" cy="1425988"/>
            <a:chOff x="7191545" y="0"/>
            <a:chExt cx="5000460" cy="1425988"/>
          </a:xfrm>
        </p:grpSpPr>
        <p:pic>
          <p:nvPicPr>
            <p:cNvPr id="5469" name="Google Shape;5469;p6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70" name="Google Shape;5470;p661"/>
            <p:cNvGrpSpPr/>
            <p:nvPr/>
          </p:nvGrpSpPr>
          <p:grpSpPr>
            <a:xfrm>
              <a:off x="7191545" y="0"/>
              <a:ext cx="5000460" cy="1425988"/>
              <a:chOff x="7191545" y="0"/>
              <a:chExt cx="5000460" cy="1425988"/>
            </a:xfrm>
          </p:grpSpPr>
          <p:sp>
            <p:nvSpPr>
              <p:cNvPr id="5471" name="Google Shape;5471;p6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72" name="Google Shape;5472;p6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473" name="Google Shape;5473;p661"/>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74" name="Google Shape;5474;p66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75" name="Google Shape;5475;p6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76" name="Google Shape;5476;p66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55099648"/>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matchingName="End 13">
  <p:cSld name="End 13">
    <p:spTree>
      <p:nvGrpSpPr>
        <p:cNvPr id="1" name="Shape 5477"/>
        <p:cNvGrpSpPr/>
        <p:nvPr/>
      </p:nvGrpSpPr>
      <p:grpSpPr>
        <a:xfrm>
          <a:off x="0" y="0"/>
          <a:ext cx="0" cy="0"/>
          <a:chOff x="0" y="0"/>
          <a:chExt cx="0" cy="0"/>
        </a:xfrm>
      </p:grpSpPr>
      <p:grpSp>
        <p:nvGrpSpPr>
          <p:cNvPr id="5478" name="Google Shape;5478;p662"/>
          <p:cNvGrpSpPr/>
          <p:nvPr/>
        </p:nvGrpSpPr>
        <p:grpSpPr>
          <a:xfrm>
            <a:off x="0" y="0"/>
            <a:ext cx="12191996" cy="2148830"/>
            <a:chOff x="0" y="0"/>
            <a:chExt cx="12191996" cy="2148830"/>
          </a:xfrm>
        </p:grpSpPr>
        <p:sp>
          <p:nvSpPr>
            <p:cNvPr id="5479" name="Google Shape;5479;p66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80" name="Google Shape;5480;p66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5481" name="Google Shape;5481;p662"/>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482" name="Google Shape;5482;p662"/>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83" name="Google Shape;5483;p662"/>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84" name="Google Shape;5484;p66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990175219"/>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matchingName="Blank 12">
  <p:cSld name="Blank 12">
    <p:spTree>
      <p:nvGrpSpPr>
        <p:cNvPr id="1" name="Shape 5485"/>
        <p:cNvGrpSpPr/>
        <p:nvPr/>
      </p:nvGrpSpPr>
      <p:grpSpPr>
        <a:xfrm>
          <a:off x="0" y="0"/>
          <a:ext cx="0" cy="0"/>
          <a:chOff x="0" y="0"/>
          <a:chExt cx="0" cy="0"/>
        </a:xfrm>
      </p:grpSpPr>
      <p:sp>
        <p:nvSpPr>
          <p:cNvPr id="5486" name="Google Shape;5486;p66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87" name="Google Shape;5487;p6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488" name="Google Shape;5488;p66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89" name="Google Shape;5489;p663"/>
          <p:cNvGrpSpPr/>
          <p:nvPr/>
        </p:nvGrpSpPr>
        <p:grpSpPr>
          <a:xfrm>
            <a:off x="7191545" y="0"/>
            <a:ext cx="5000460" cy="1425988"/>
            <a:chOff x="7191545" y="0"/>
            <a:chExt cx="5000460" cy="1425988"/>
          </a:xfrm>
        </p:grpSpPr>
        <p:pic>
          <p:nvPicPr>
            <p:cNvPr id="5490" name="Google Shape;5490;p6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491" name="Google Shape;5491;p663"/>
            <p:cNvGrpSpPr/>
            <p:nvPr/>
          </p:nvGrpSpPr>
          <p:grpSpPr>
            <a:xfrm>
              <a:off x="7191545" y="0"/>
              <a:ext cx="5000460" cy="1425988"/>
              <a:chOff x="7191545" y="0"/>
              <a:chExt cx="5000460" cy="1425988"/>
            </a:xfrm>
          </p:grpSpPr>
          <p:sp>
            <p:nvSpPr>
              <p:cNvPr id="5492" name="Google Shape;5492;p6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493" name="Google Shape;5493;p6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317840662"/>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matchingName="1_Quotation 18">
  <p:cSld name="1_Quotation 18">
    <p:spTree>
      <p:nvGrpSpPr>
        <p:cNvPr id="1" name="Shape 5494"/>
        <p:cNvGrpSpPr/>
        <p:nvPr/>
      </p:nvGrpSpPr>
      <p:grpSpPr>
        <a:xfrm>
          <a:off x="0" y="0"/>
          <a:ext cx="0" cy="0"/>
          <a:chOff x="0" y="0"/>
          <a:chExt cx="0" cy="0"/>
        </a:xfrm>
      </p:grpSpPr>
      <p:sp>
        <p:nvSpPr>
          <p:cNvPr id="5495" name="Google Shape;5495;p66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496" name="Google Shape;5496;p6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97" name="Google Shape;5497;p664"/>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498" name="Google Shape;5498;p66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499" name="Google Shape;5499;p6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500" name="Google Shape;5500;p66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01" name="Google Shape;5501;p664"/>
          <p:cNvGrpSpPr/>
          <p:nvPr/>
        </p:nvGrpSpPr>
        <p:grpSpPr>
          <a:xfrm>
            <a:off x="7191545" y="0"/>
            <a:ext cx="5000460" cy="1425988"/>
            <a:chOff x="7191545" y="0"/>
            <a:chExt cx="5000460" cy="1425988"/>
          </a:xfrm>
        </p:grpSpPr>
        <p:pic>
          <p:nvPicPr>
            <p:cNvPr id="5502" name="Google Shape;5502;p6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503" name="Google Shape;5503;p664"/>
            <p:cNvGrpSpPr/>
            <p:nvPr/>
          </p:nvGrpSpPr>
          <p:grpSpPr>
            <a:xfrm>
              <a:off x="7191545" y="0"/>
              <a:ext cx="5000460" cy="1425988"/>
              <a:chOff x="7191545" y="0"/>
              <a:chExt cx="5000460" cy="1425988"/>
            </a:xfrm>
          </p:grpSpPr>
          <p:sp>
            <p:nvSpPr>
              <p:cNvPr id="5504" name="Google Shape;5504;p6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05" name="Google Shape;5505;p6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506" name="Google Shape;5506;p664"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763980634"/>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matchingName="1_Two Content 12">
  <p:cSld name="1_Two Content 12">
    <p:spTree>
      <p:nvGrpSpPr>
        <p:cNvPr id="1" name="Shape 5507"/>
        <p:cNvGrpSpPr/>
        <p:nvPr/>
      </p:nvGrpSpPr>
      <p:grpSpPr>
        <a:xfrm>
          <a:off x="0" y="0"/>
          <a:ext cx="0" cy="0"/>
          <a:chOff x="0" y="0"/>
          <a:chExt cx="0" cy="0"/>
        </a:xfrm>
      </p:grpSpPr>
      <p:sp>
        <p:nvSpPr>
          <p:cNvPr id="5508" name="Google Shape;5508;p665"/>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9" name="Google Shape;5509;p665"/>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510" name="Google Shape;5510;p665"/>
          <p:cNvGrpSpPr/>
          <p:nvPr/>
        </p:nvGrpSpPr>
        <p:grpSpPr>
          <a:xfrm>
            <a:off x="7191545" y="0"/>
            <a:ext cx="5000460" cy="1425988"/>
            <a:chOff x="7191545" y="0"/>
            <a:chExt cx="5000460" cy="1425988"/>
          </a:xfrm>
        </p:grpSpPr>
        <p:pic>
          <p:nvPicPr>
            <p:cNvPr id="5511" name="Google Shape;5511;p6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512" name="Google Shape;5512;p665"/>
            <p:cNvGrpSpPr/>
            <p:nvPr/>
          </p:nvGrpSpPr>
          <p:grpSpPr>
            <a:xfrm>
              <a:off x="7191545" y="0"/>
              <a:ext cx="5000460" cy="1425988"/>
              <a:chOff x="7191545" y="0"/>
              <a:chExt cx="5000460" cy="1425988"/>
            </a:xfrm>
          </p:grpSpPr>
          <p:sp>
            <p:nvSpPr>
              <p:cNvPr id="5513" name="Google Shape;5513;p6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14" name="Google Shape;5514;p6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515" name="Google Shape;5515;p665"/>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16" name="Google Shape;5516;p665"/>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517" name="Google Shape;5517;p6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518" name="Google Shape;5518;p66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76472150"/>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matchingName="1_Comparison 11">
  <p:cSld name="1_Comparison 11">
    <p:spTree>
      <p:nvGrpSpPr>
        <p:cNvPr id="1" name="Shape 5519"/>
        <p:cNvGrpSpPr/>
        <p:nvPr/>
      </p:nvGrpSpPr>
      <p:grpSpPr>
        <a:xfrm>
          <a:off x="0" y="0"/>
          <a:ext cx="0" cy="0"/>
          <a:chOff x="0" y="0"/>
          <a:chExt cx="0" cy="0"/>
        </a:xfrm>
      </p:grpSpPr>
      <p:grpSp>
        <p:nvGrpSpPr>
          <p:cNvPr id="5520" name="Google Shape;5520;p666"/>
          <p:cNvGrpSpPr/>
          <p:nvPr/>
        </p:nvGrpSpPr>
        <p:grpSpPr>
          <a:xfrm>
            <a:off x="7191545" y="0"/>
            <a:ext cx="5000460" cy="1425988"/>
            <a:chOff x="7191545" y="0"/>
            <a:chExt cx="5000460" cy="1425988"/>
          </a:xfrm>
        </p:grpSpPr>
        <p:pic>
          <p:nvPicPr>
            <p:cNvPr id="5521" name="Google Shape;5521;p66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522" name="Google Shape;5522;p666"/>
            <p:cNvGrpSpPr/>
            <p:nvPr/>
          </p:nvGrpSpPr>
          <p:grpSpPr>
            <a:xfrm>
              <a:off x="7191545" y="0"/>
              <a:ext cx="5000460" cy="1425988"/>
              <a:chOff x="7191545" y="0"/>
              <a:chExt cx="5000460" cy="1425988"/>
            </a:xfrm>
          </p:grpSpPr>
          <p:sp>
            <p:nvSpPr>
              <p:cNvPr id="5523" name="Google Shape;5523;p66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24" name="Google Shape;5524;p66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525" name="Google Shape;5525;p66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6" name="Google Shape;5526;p666"/>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27" name="Google Shape;5527;p666"/>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28" name="Google Shape;5528;p666"/>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29" name="Google Shape;5529;p666"/>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30" name="Google Shape;5530;p66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531" name="Google Shape;5531;p66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532" name="Google Shape;5532;p66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4997371"/>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matchingName="1_Title Only 11">
  <p:cSld name="1_Title Only 11">
    <p:spTree>
      <p:nvGrpSpPr>
        <p:cNvPr id="1" name="Shape 5533"/>
        <p:cNvGrpSpPr/>
        <p:nvPr/>
      </p:nvGrpSpPr>
      <p:grpSpPr>
        <a:xfrm>
          <a:off x="0" y="0"/>
          <a:ext cx="0" cy="0"/>
          <a:chOff x="0" y="0"/>
          <a:chExt cx="0" cy="0"/>
        </a:xfrm>
      </p:grpSpPr>
      <p:grpSp>
        <p:nvGrpSpPr>
          <p:cNvPr id="5534" name="Google Shape;5534;p667"/>
          <p:cNvGrpSpPr/>
          <p:nvPr/>
        </p:nvGrpSpPr>
        <p:grpSpPr>
          <a:xfrm>
            <a:off x="7191545" y="0"/>
            <a:ext cx="5000460" cy="1425988"/>
            <a:chOff x="7191545" y="0"/>
            <a:chExt cx="5000460" cy="1425988"/>
          </a:xfrm>
        </p:grpSpPr>
        <p:pic>
          <p:nvPicPr>
            <p:cNvPr id="5535" name="Google Shape;5535;p66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536" name="Google Shape;5536;p667"/>
            <p:cNvGrpSpPr/>
            <p:nvPr/>
          </p:nvGrpSpPr>
          <p:grpSpPr>
            <a:xfrm>
              <a:off x="7191545" y="0"/>
              <a:ext cx="5000460" cy="1425988"/>
              <a:chOff x="7191545" y="0"/>
              <a:chExt cx="5000460" cy="1425988"/>
            </a:xfrm>
          </p:grpSpPr>
          <p:sp>
            <p:nvSpPr>
              <p:cNvPr id="5537" name="Google Shape;5537;p66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38" name="Google Shape;5538;p66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539" name="Google Shape;5539;p66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0" name="Google Shape;5540;p667"/>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541" name="Google Shape;5541;p66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542" name="Google Shape;5542;p66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193434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matchingName="1_End 12">
  <p:cSld name="1_End 12">
    <p:spTree>
      <p:nvGrpSpPr>
        <p:cNvPr id="1" name="Shape 5543"/>
        <p:cNvGrpSpPr/>
        <p:nvPr/>
      </p:nvGrpSpPr>
      <p:grpSpPr>
        <a:xfrm>
          <a:off x="0" y="0"/>
          <a:ext cx="0" cy="0"/>
          <a:chOff x="0" y="0"/>
          <a:chExt cx="0" cy="0"/>
        </a:xfrm>
      </p:grpSpPr>
      <p:grpSp>
        <p:nvGrpSpPr>
          <p:cNvPr id="5544" name="Google Shape;5544;p668"/>
          <p:cNvGrpSpPr/>
          <p:nvPr/>
        </p:nvGrpSpPr>
        <p:grpSpPr>
          <a:xfrm>
            <a:off x="0" y="0"/>
            <a:ext cx="12191996" cy="2148830"/>
            <a:chOff x="0" y="0"/>
            <a:chExt cx="12191996" cy="2148830"/>
          </a:xfrm>
        </p:grpSpPr>
        <p:sp>
          <p:nvSpPr>
            <p:cNvPr id="5545" name="Google Shape;5545;p66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46" name="Google Shape;5546;p66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5547" name="Google Shape;5547;p668"/>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48" name="Google Shape;5548;p668"/>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49" name="Google Shape;5549;p668"/>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550" name="Google Shape;5550;p66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06889018"/>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matchingName="1_Blank 11">
  <p:cSld name="1_Blank 11">
    <p:spTree>
      <p:nvGrpSpPr>
        <p:cNvPr id="1" name="Shape 5551"/>
        <p:cNvGrpSpPr/>
        <p:nvPr/>
      </p:nvGrpSpPr>
      <p:grpSpPr>
        <a:xfrm>
          <a:off x="0" y="0"/>
          <a:ext cx="0" cy="0"/>
          <a:chOff x="0" y="0"/>
          <a:chExt cx="0" cy="0"/>
        </a:xfrm>
      </p:grpSpPr>
      <p:sp>
        <p:nvSpPr>
          <p:cNvPr id="5552" name="Google Shape;5552;p66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553" name="Google Shape;5553;p6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554" name="Google Shape;5554;p66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55" name="Google Shape;5555;p669"/>
          <p:cNvGrpSpPr/>
          <p:nvPr/>
        </p:nvGrpSpPr>
        <p:grpSpPr>
          <a:xfrm>
            <a:off x="7191545" y="0"/>
            <a:ext cx="5000460" cy="1425988"/>
            <a:chOff x="7191545" y="0"/>
            <a:chExt cx="5000460" cy="1425988"/>
          </a:xfrm>
        </p:grpSpPr>
        <p:pic>
          <p:nvPicPr>
            <p:cNvPr id="5556" name="Google Shape;5556;p6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557" name="Google Shape;5557;p669"/>
            <p:cNvGrpSpPr/>
            <p:nvPr/>
          </p:nvGrpSpPr>
          <p:grpSpPr>
            <a:xfrm>
              <a:off x="7191545" y="0"/>
              <a:ext cx="5000460" cy="1425988"/>
              <a:chOff x="7191545" y="0"/>
              <a:chExt cx="5000460" cy="1425988"/>
            </a:xfrm>
          </p:grpSpPr>
          <p:sp>
            <p:nvSpPr>
              <p:cNvPr id="5558" name="Google Shape;5558;p6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59" name="Google Shape;5559;p6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2792683430"/>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matchingName="7_Quotation 2">
  <p:cSld name="7_Quotation 2">
    <p:spTree>
      <p:nvGrpSpPr>
        <p:cNvPr id="1" name="Shape 5560"/>
        <p:cNvGrpSpPr/>
        <p:nvPr/>
      </p:nvGrpSpPr>
      <p:grpSpPr>
        <a:xfrm>
          <a:off x="0" y="0"/>
          <a:ext cx="0" cy="0"/>
          <a:chOff x="0" y="0"/>
          <a:chExt cx="0" cy="0"/>
        </a:xfrm>
      </p:grpSpPr>
      <p:sp>
        <p:nvSpPr>
          <p:cNvPr id="5561" name="Google Shape;5561;p670"/>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62" name="Google Shape;5562;p67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63" name="Google Shape;5563;p670"/>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564" name="Google Shape;5564;p670"/>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565" name="Google Shape;5565;p6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566" name="Google Shape;5566;p670"/>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67" name="Google Shape;5567;p670"/>
          <p:cNvGrpSpPr/>
          <p:nvPr/>
        </p:nvGrpSpPr>
        <p:grpSpPr>
          <a:xfrm>
            <a:off x="7191545" y="0"/>
            <a:ext cx="5000460" cy="1425988"/>
            <a:chOff x="7191545" y="0"/>
            <a:chExt cx="5000460" cy="1425988"/>
          </a:xfrm>
        </p:grpSpPr>
        <p:pic>
          <p:nvPicPr>
            <p:cNvPr id="5568" name="Google Shape;5568;p6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569" name="Google Shape;5569;p670"/>
            <p:cNvGrpSpPr/>
            <p:nvPr/>
          </p:nvGrpSpPr>
          <p:grpSpPr>
            <a:xfrm>
              <a:off x="7191545" y="0"/>
              <a:ext cx="5000460" cy="1425988"/>
              <a:chOff x="7191545" y="0"/>
              <a:chExt cx="5000460" cy="1425988"/>
            </a:xfrm>
          </p:grpSpPr>
          <p:sp>
            <p:nvSpPr>
              <p:cNvPr id="5570" name="Google Shape;5570;p6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571" name="Google Shape;5571;p6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572" name="Google Shape;5572;p670"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077164078"/>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matchingName="1_Cover 14">
  <p:cSld name="1_Cover 14">
    <p:spTree>
      <p:nvGrpSpPr>
        <p:cNvPr id="1" name="Shape 5573"/>
        <p:cNvGrpSpPr/>
        <p:nvPr/>
      </p:nvGrpSpPr>
      <p:grpSpPr>
        <a:xfrm>
          <a:off x="0" y="0"/>
          <a:ext cx="0" cy="0"/>
          <a:chOff x="0" y="0"/>
          <a:chExt cx="0" cy="0"/>
        </a:xfrm>
      </p:grpSpPr>
      <p:sp>
        <p:nvSpPr>
          <p:cNvPr id="5574" name="Google Shape;5574;p671"/>
          <p:cNvSpPr/>
          <p:nvPr/>
        </p:nvSpPr>
        <p:spPr>
          <a:xfrm>
            <a:off x="902366" y="1294416"/>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75" name="Google Shape;5575;p671"/>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6000"/>
              <a:buFont typeface="Calibri"/>
              <a:buNone/>
              <a:defRPr sz="400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76" name="Google Shape;5576;p671"/>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5577" name="Google Shape;5577;p671"/>
          <p:cNvGrpSpPr/>
          <p:nvPr/>
        </p:nvGrpSpPr>
        <p:grpSpPr>
          <a:xfrm>
            <a:off x="0" y="5020349"/>
            <a:ext cx="12191996" cy="1837651"/>
            <a:chOff x="0" y="5020348"/>
            <a:chExt cx="12191996" cy="1837651"/>
          </a:xfrm>
        </p:grpSpPr>
        <p:sp>
          <p:nvSpPr>
            <p:cNvPr id="5578" name="Google Shape;5578;p67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79" name="Google Shape;5579;p67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580" name="Google Shape;5580;p67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838031490"/>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matchingName="1_Divider 15">
  <p:cSld name="1_Divider 15">
    <p:spTree>
      <p:nvGrpSpPr>
        <p:cNvPr id="1" name="Shape 5581"/>
        <p:cNvGrpSpPr/>
        <p:nvPr/>
      </p:nvGrpSpPr>
      <p:grpSpPr>
        <a:xfrm>
          <a:off x="0" y="0"/>
          <a:ext cx="0" cy="0"/>
          <a:chOff x="0" y="0"/>
          <a:chExt cx="0" cy="0"/>
        </a:xfrm>
      </p:grpSpPr>
      <p:grpSp>
        <p:nvGrpSpPr>
          <p:cNvPr id="5582" name="Google Shape;5582;p672"/>
          <p:cNvGrpSpPr/>
          <p:nvPr/>
        </p:nvGrpSpPr>
        <p:grpSpPr>
          <a:xfrm>
            <a:off x="0" y="5020349"/>
            <a:ext cx="12191996" cy="1837651"/>
            <a:chOff x="0" y="5020348"/>
            <a:chExt cx="12191996" cy="1837651"/>
          </a:xfrm>
        </p:grpSpPr>
        <p:sp>
          <p:nvSpPr>
            <p:cNvPr id="5583" name="Google Shape;5583;p672"/>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84" name="Google Shape;5584;p67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85" name="Google Shape;5585;p67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pic>
          <p:nvPicPr>
            <p:cNvPr id="5586" name="Google Shape;5586;p67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5587" name="Google Shape;5587;p672"/>
          <p:cNvSpPr txBox="1">
            <a:spLocks noGrp="1"/>
          </p:cNvSpPr>
          <p:nvPr>
            <p:ph type="title"/>
          </p:nvPr>
        </p:nvSpPr>
        <p:spPr>
          <a:xfrm>
            <a:off x="1413305" y="701748"/>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88" name="Google Shape;5588;p672"/>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81619817"/>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matchingName="1_Photo Slide 14">
  <p:cSld name="1_Photo Slide 14">
    <p:spTree>
      <p:nvGrpSpPr>
        <p:cNvPr id="1" name="Shape 5589"/>
        <p:cNvGrpSpPr/>
        <p:nvPr/>
      </p:nvGrpSpPr>
      <p:grpSpPr>
        <a:xfrm>
          <a:off x="0" y="0"/>
          <a:ext cx="0" cy="0"/>
          <a:chOff x="0" y="0"/>
          <a:chExt cx="0" cy="0"/>
        </a:xfrm>
      </p:grpSpPr>
      <p:sp>
        <p:nvSpPr>
          <p:cNvPr id="5590" name="Google Shape;5590;p673"/>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591" name="Google Shape;5591;p673"/>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5592" name="Google Shape;5592;p673"/>
          <p:cNvGrpSpPr/>
          <p:nvPr/>
        </p:nvGrpSpPr>
        <p:grpSpPr>
          <a:xfrm>
            <a:off x="1" y="5379425"/>
            <a:ext cx="2807363" cy="753895"/>
            <a:chOff x="0" y="5379424"/>
            <a:chExt cx="2807363" cy="753895"/>
          </a:xfrm>
        </p:grpSpPr>
        <p:sp>
          <p:nvSpPr>
            <p:cNvPr id="5593" name="Google Shape;5593;p67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94" name="Google Shape;5594;p67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grpSp>
      <p:pic>
        <p:nvPicPr>
          <p:cNvPr id="5595" name="Google Shape;5595;p673"/>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2311421037"/>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matchingName="1_Quotation 19">
  <p:cSld name="1_Quotation 19">
    <p:spTree>
      <p:nvGrpSpPr>
        <p:cNvPr id="1" name="Shape 5596"/>
        <p:cNvGrpSpPr/>
        <p:nvPr/>
      </p:nvGrpSpPr>
      <p:grpSpPr>
        <a:xfrm>
          <a:off x="0" y="0"/>
          <a:ext cx="0" cy="0"/>
          <a:chOff x="0" y="0"/>
          <a:chExt cx="0" cy="0"/>
        </a:xfrm>
      </p:grpSpPr>
      <p:sp>
        <p:nvSpPr>
          <p:cNvPr id="5597" name="Google Shape;5597;p67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598" name="Google Shape;5598;p67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99" name="Google Shape;5599;p674"/>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00" name="Google Shape;5600;p67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01" name="Google Shape;5601;p67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02" name="Google Shape;5602;p67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03" name="Google Shape;5603;p674"/>
          <p:cNvGrpSpPr/>
          <p:nvPr/>
        </p:nvGrpSpPr>
        <p:grpSpPr>
          <a:xfrm>
            <a:off x="7191545" y="0"/>
            <a:ext cx="5000460" cy="1425988"/>
            <a:chOff x="7191545" y="0"/>
            <a:chExt cx="5000460" cy="1425988"/>
          </a:xfrm>
        </p:grpSpPr>
        <p:pic>
          <p:nvPicPr>
            <p:cNvPr id="5604" name="Google Shape;5604;p67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05" name="Google Shape;5605;p674"/>
            <p:cNvGrpSpPr/>
            <p:nvPr/>
          </p:nvGrpSpPr>
          <p:grpSpPr>
            <a:xfrm>
              <a:off x="7191545" y="0"/>
              <a:ext cx="5000460" cy="1425988"/>
              <a:chOff x="7191545" y="0"/>
              <a:chExt cx="5000460" cy="1425988"/>
            </a:xfrm>
          </p:grpSpPr>
          <p:sp>
            <p:nvSpPr>
              <p:cNvPr id="5606" name="Google Shape;5606;p67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07" name="Google Shape;5607;p67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608" name="Google Shape;5608;p674"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925245159"/>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matchingName="1_Quotation 20">
  <p:cSld name="1_Quotation 20">
    <p:spTree>
      <p:nvGrpSpPr>
        <p:cNvPr id="1" name="Shape 5609"/>
        <p:cNvGrpSpPr/>
        <p:nvPr/>
      </p:nvGrpSpPr>
      <p:grpSpPr>
        <a:xfrm>
          <a:off x="0" y="0"/>
          <a:ext cx="0" cy="0"/>
          <a:chOff x="0" y="0"/>
          <a:chExt cx="0" cy="0"/>
        </a:xfrm>
      </p:grpSpPr>
      <p:sp>
        <p:nvSpPr>
          <p:cNvPr id="5610" name="Google Shape;5610;p675"/>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611" name="Google Shape;5611;p6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12" name="Google Shape;5612;p675"/>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13" name="Google Shape;5613;p675"/>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14" name="Google Shape;5614;p6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15" name="Google Shape;5615;p675"/>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16" name="Google Shape;5616;p675"/>
          <p:cNvGrpSpPr/>
          <p:nvPr/>
        </p:nvGrpSpPr>
        <p:grpSpPr>
          <a:xfrm>
            <a:off x="7191545" y="0"/>
            <a:ext cx="5000460" cy="1425988"/>
            <a:chOff x="7191545" y="0"/>
            <a:chExt cx="5000460" cy="1425988"/>
          </a:xfrm>
        </p:grpSpPr>
        <p:pic>
          <p:nvPicPr>
            <p:cNvPr id="5617" name="Google Shape;5617;p6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18" name="Google Shape;5618;p675"/>
            <p:cNvGrpSpPr/>
            <p:nvPr/>
          </p:nvGrpSpPr>
          <p:grpSpPr>
            <a:xfrm>
              <a:off x="7191545" y="0"/>
              <a:ext cx="5000460" cy="1425988"/>
              <a:chOff x="7191545" y="0"/>
              <a:chExt cx="5000460" cy="1425988"/>
            </a:xfrm>
          </p:grpSpPr>
          <p:sp>
            <p:nvSpPr>
              <p:cNvPr id="5619" name="Google Shape;5619;p6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20" name="Google Shape;5620;p6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621" name="Google Shape;5621;p675"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2452422269"/>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matchingName="1_Title and Content 15">
  <p:cSld name="1_Title and Content 15">
    <p:spTree>
      <p:nvGrpSpPr>
        <p:cNvPr id="1" name="Shape 5622"/>
        <p:cNvGrpSpPr/>
        <p:nvPr/>
      </p:nvGrpSpPr>
      <p:grpSpPr>
        <a:xfrm>
          <a:off x="0" y="0"/>
          <a:ext cx="0" cy="0"/>
          <a:chOff x="0" y="0"/>
          <a:chExt cx="0" cy="0"/>
        </a:xfrm>
      </p:grpSpPr>
      <p:grpSp>
        <p:nvGrpSpPr>
          <p:cNvPr id="5623" name="Google Shape;5623;p676"/>
          <p:cNvGrpSpPr/>
          <p:nvPr/>
        </p:nvGrpSpPr>
        <p:grpSpPr>
          <a:xfrm>
            <a:off x="7191545" y="0"/>
            <a:ext cx="5000460" cy="1425988"/>
            <a:chOff x="7191545" y="0"/>
            <a:chExt cx="5000460" cy="1425988"/>
          </a:xfrm>
        </p:grpSpPr>
        <p:pic>
          <p:nvPicPr>
            <p:cNvPr id="5624" name="Google Shape;5624;p6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25" name="Google Shape;5625;p676"/>
            <p:cNvGrpSpPr/>
            <p:nvPr/>
          </p:nvGrpSpPr>
          <p:grpSpPr>
            <a:xfrm>
              <a:off x="7191545" y="0"/>
              <a:ext cx="5000460" cy="1425988"/>
              <a:chOff x="7191545" y="0"/>
              <a:chExt cx="5000460" cy="1425988"/>
            </a:xfrm>
          </p:grpSpPr>
          <p:sp>
            <p:nvSpPr>
              <p:cNvPr id="5626" name="Google Shape;5626;p6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27" name="Google Shape;5627;p6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628" name="Google Shape;5628;p67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29" name="Google Shape;5629;p67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30" name="Google Shape;5630;p67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31" name="Google Shape;5631;p6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32" name="Google Shape;5632;p67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21393119"/>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matchingName="1_Two Content 13">
  <p:cSld name="1_Two Content 13">
    <p:spTree>
      <p:nvGrpSpPr>
        <p:cNvPr id="1" name="Shape 5633"/>
        <p:cNvGrpSpPr/>
        <p:nvPr/>
      </p:nvGrpSpPr>
      <p:grpSpPr>
        <a:xfrm>
          <a:off x="0" y="0"/>
          <a:ext cx="0" cy="0"/>
          <a:chOff x="0" y="0"/>
          <a:chExt cx="0" cy="0"/>
        </a:xfrm>
      </p:grpSpPr>
      <p:sp>
        <p:nvSpPr>
          <p:cNvPr id="5634" name="Google Shape;5634;p677"/>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35" name="Google Shape;5635;p677"/>
          <p:cNvSpPr txBox="1">
            <a:spLocks noGrp="1"/>
          </p:cNvSpPr>
          <p:nvPr>
            <p:ph type="body" idx="1"/>
          </p:nvPr>
        </p:nvSpPr>
        <p:spPr>
          <a:xfrm>
            <a:off x="609604"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grpSp>
        <p:nvGrpSpPr>
          <p:cNvPr id="5636" name="Google Shape;5636;p677"/>
          <p:cNvGrpSpPr/>
          <p:nvPr/>
        </p:nvGrpSpPr>
        <p:grpSpPr>
          <a:xfrm>
            <a:off x="7191545" y="0"/>
            <a:ext cx="5000460" cy="1425988"/>
            <a:chOff x="7191545" y="0"/>
            <a:chExt cx="5000460" cy="1425988"/>
          </a:xfrm>
        </p:grpSpPr>
        <p:pic>
          <p:nvPicPr>
            <p:cNvPr id="5637" name="Google Shape;5637;p6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38" name="Google Shape;5638;p677"/>
            <p:cNvGrpSpPr/>
            <p:nvPr/>
          </p:nvGrpSpPr>
          <p:grpSpPr>
            <a:xfrm>
              <a:off x="7191545" y="0"/>
              <a:ext cx="5000460" cy="1425988"/>
              <a:chOff x="7191545" y="0"/>
              <a:chExt cx="5000460" cy="1425988"/>
            </a:xfrm>
          </p:grpSpPr>
          <p:sp>
            <p:nvSpPr>
              <p:cNvPr id="5639" name="Google Shape;5639;p6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40" name="Google Shape;5640;p6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641" name="Google Shape;5641;p677"/>
          <p:cNvSpPr txBox="1">
            <a:spLocks noGrp="1"/>
          </p:cNvSpPr>
          <p:nvPr>
            <p:ph type="body" idx="2"/>
          </p:nvPr>
        </p:nvSpPr>
        <p:spPr>
          <a:xfrm>
            <a:off x="6172201" y="1825627"/>
            <a:ext cx="5410203"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42" name="Google Shape;5642;p677"/>
          <p:cNvSpPr txBox="1">
            <a:spLocks noGrp="1"/>
          </p:cNvSpPr>
          <p:nvPr>
            <p:ph type="sldNum" idx="12"/>
          </p:nvPr>
        </p:nvSpPr>
        <p:spPr>
          <a:xfrm>
            <a:off x="883919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43" name="Google Shape;5643;p6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44" name="Google Shape;5644;p677"/>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953425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matchingName="1_Comparison 12">
  <p:cSld name="1_Comparison 12">
    <p:spTree>
      <p:nvGrpSpPr>
        <p:cNvPr id="1" name="Shape 5645"/>
        <p:cNvGrpSpPr/>
        <p:nvPr/>
      </p:nvGrpSpPr>
      <p:grpSpPr>
        <a:xfrm>
          <a:off x="0" y="0"/>
          <a:ext cx="0" cy="0"/>
          <a:chOff x="0" y="0"/>
          <a:chExt cx="0" cy="0"/>
        </a:xfrm>
      </p:grpSpPr>
      <p:grpSp>
        <p:nvGrpSpPr>
          <p:cNvPr id="5646" name="Google Shape;5646;p678"/>
          <p:cNvGrpSpPr/>
          <p:nvPr/>
        </p:nvGrpSpPr>
        <p:grpSpPr>
          <a:xfrm>
            <a:off x="7191545" y="0"/>
            <a:ext cx="5000460" cy="1425988"/>
            <a:chOff x="7191545" y="0"/>
            <a:chExt cx="5000460" cy="1425988"/>
          </a:xfrm>
        </p:grpSpPr>
        <p:pic>
          <p:nvPicPr>
            <p:cNvPr id="5647" name="Google Shape;5647;p6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48" name="Google Shape;5648;p678"/>
            <p:cNvGrpSpPr/>
            <p:nvPr/>
          </p:nvGrpSpPr>
          <p:grpSpPr>
            <a:xfrm>
              <a:off x="7191545" y="0"/>
              <a:ext cx="5000460" cy="1425988"/>
              <a:chOff x="7191545" y="0"/>
              <a:chExt cx="5000460" cy="1425988"/>
            </a:xfrm>
          </p:grpSpPr>
          <p:sp>
            <p:nvSpPr>
              <p:cNvPr id="5649" name="Google Shape;5649;p6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50" name="Google Shape;5650;p6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651" name="Google Shape;5651;p678"/>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52" name="Google Shape;5652;p678"/>
          <p:cNvSpPr txBox="1">
            <a:spLocks noGrp="1"/>
          </p:cNvSpPr>
          <p:nvPr>
            <p:ph type="body" idx="1"/>
          </p:nvPr>
        </p:nvSpPr>
        <p:spPr>
          <a:xfrm>
            <a:off x="609604"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53" name="Google Shape;5653;p678"/>
          <p:cNvSpPr txBox="1">
            <a:spLocks noGrp="1"/>
          </p:cNvSpPr>
          <p:nvPr>
            <p:ph type="body" idx="2"/>
          </p:nvPr>
        </p:nvSpPr>
        <p:spPr>
          <a:xfrm>
            <a:off x="609604" y="2505072"/>
            <a:ext cx="5387973" cy="3684583"/>
          </a:xfrm>
          <a:prstGeom prst="rect">
            <a:avLst/>
          </a:prstGeom>
          <a:solidFill>
            <a:srgbClr val="F3F6FB"/>
          </a:solidFill>
          <a:ln>
            <a:noFill/>
          </a:ln>
        </p:spPr>
        <p:txBody>
          <a:bodyPr spcFirstLastPara="1" wrap="square" lIns="182850" tIns="0" rIns="182850" bIns="0" anchor="t" anchorCtr="0">
            <a:norm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54" name="Google Shape;5654;p678"/>
          <p:cNvSpPr txBox="1">
            <a:spLocks noGrp="1"/>
          </p:cNvSpPr>
          <p:nvPr>
            <p:ph type="body" idx="3"/>
          </p:nvPr>
        </p:nvSpPr>
        <p:spPr>
          <a:xfrm>
            <a:off x="6172201"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304815" lvl="0" indent="-152408" algn="l">
              <a:lnSpc>
                <a:spcPct val="100000"/>
              </a:lnSpc>
              <a:spcBef>
                <a:spcPts val="1000"/>
              </a:spcBef>
              <a:spcAft>
                <a:spcPts val="0"/>
              </a:spcAft>
              <a:buSzPts val="2400"/>
              <a:buNone/>
              <a:defRPr u="sng"/>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55" name="Google Shape;5655;p678"/>
          <p:cNvSpPr txBox="1">
            <a:spLocks noGrp="1"/>
          </p:cNvSpPr>
          <p:nvPr>
            <p:ph type="body" idx="4"/>
          </p:nvPr>
        </p:nvSpPr>
        <p:spPr>
          <a:xfrm>
            <a:off x="6172201" y="2505072"/>
            <a:ext cx="5410203" cy="3684583"/>
          </a:xfrm>
          <a:prstGeom prst="rect">
            <a:avLst/>
          </a:prstGeom>
          <a:solidFill>
            <a:srgbClr val="F3F6FB"/>
          </a:solidFill>
          <a:ln>
            <a:noFill/>
          </a:ln>
        </p:spPr>
        <p:txBody>
          <a:bodyPr spcFirstLastPara="1" wrap="square" lIns="182850" tIns="0" rIns="182850" bIns="0" anchor="t" anchorCtr="0">
            <a:noAutofit/>
          </a:bodyPr>
          <a:lstStyle>
            <a:lvl1pPr marL="304815" lvl="0" indent="-237079" algn="l">
              <a:lnSpc>
                <a:spcPct val="100000"/>
              </a:lnSpc>
              <a:spcBef>
                <a:spcPts val="1000"/>
              </a:spcBef>
              <a:spcAft>
                <a:spcPts val="0"/>
              </a:spcAft>
              <a:buSzPts val="2000"/>
              <a:buChar char="•"/>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56" name="Google Shape;5656;p678"/>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57" name="Google Shape;5657;p6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58" name="Google Shape;5658;p678"/>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61590650"/>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matchingName="1_Title Only 12">
  <p:cSld name="1_Title Only 12">
    <p:spTree>
      <p:nvGrpSpPr>
        <p:cNvPr id="1" name="Shape 5659"/>
        <p:cNvGrpSpPr/>
        <p:nvPr/>
      </p:nvGrpSpPr>
      <p:grpSpPr>
        <a:xfrm>
          <a:off x="0" y="0"/>
          <a:ext cx="0" cy="0"/>
          <a:chOff x="0" y="0"/>
          <a:chExt cx="0" cy="0"/>
        </a:xfrm>
      </p:grpSpPr>
      <p:grpSp>
        <p:nvGrpSpPr>
          <p:cNvPr id="5660" name="Google Shape;5660;p679"/>
          <p:cNvGrpSpPr/>
          <p:nvPr/>
        </p:nvGrpSpPr>
        <p:grpSpPr>
          <a:xfrm>
            <a:off x="7191545" y="0"/>
            <a:ext cx="5000460" cy="1425988"/>
            <a:chOff x="7191545" y="0"/>
            <a:chExt cx="5000460" cy="1425988"/>
          </a:xfrm>
        </p:grpSpPr>
        <p:pic>
          <p:nvPicPr>
            <p:cNvPr id="5661" name="Google Shape;5661;p6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62" name="Google Shape;5662;p679"/>
            <p:cNvGrpSpPr/>
            <p:nvPr/>
          </p:nvGrpSpPr>
          <p:grpSpPr>
            <a:xfrm>
              <a:off x="7191545" y="0"/>
              <a:ext cx="5000460" cy="1425988"/>
              <a:chOff x="7191545" y="0"/>
              <a:chExt cx="5000460" cy="1425988"/>
            </a:xfrm>
          </p:grpSpPr>
          <p:sp>
            <p:nvSpPr>
              <p:cNvPr id="5663" name="Google Shape;5663;p6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64" name="Google Shape;5664;p6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665" name="Google Shape;5665;p679"/>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66" name="Google Shape;5666;p679"/>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67" name="Google Shape;5667;p6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68" name="Google Shape;5668;p679"/>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50669751"/>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matchingName="1_End 13">
  <p:cSld name="1_End 13">
    <p:spTree>
      <p:nvGrpSpPr>
        <p:cNvPr id="1" name="Shape 5669"/>
        <p:cNvGrpSpPr/>
        <p:nvPr/>
      </p:nvGrpSpPr>
      <p:grpSpPr>
        <a:xfrm>
          <a:off x="0" y="0"/>
          <a:ext cx="0" cy="0"/>
          <a:chOff x="0" y="0"/>
          <a:chExt cx="0" cy="0"/>
        </a:xfrm>
      </p:grpSpPr>
      <p:grpSp>
        <p:nvGrpSpPr>
          <p:cNvPr id="5670" name="Google Shape;5670;p680"/>
          <p:cNvGrpSpPr/>
          <p:nvPr/>
        </p:nvGrpSpPr>
        <p:grpSpPr>
          <a:xfrm>
            <a:off x="0" y="0"/>
            <a:ext cx="12191996" cy="2148830"/>
            <a:chOff x="0" y="0"/>
            <a:chExt cx="12191996" cy="2148830"/>
          </a:xfrm>
        </p:grpSpPr>
        <p:sp>
          <p:nvSpPr>
            <p:cNvPr id="5671" name="Google Shape;5671;p68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72" name="Google Shape;5672;p68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sp>
        <p:nvSpPr>
          <p:cNvPr id="5673" name="Google Shape;5673;p680"/>
          <p:cNvSpPr/>
          <p:nvPr/>
        </p:nvSpPr>
        <p:spPr>
          <a:xfrm>
            <a:off x="902366" y="1517694"/>
            <a:ext cx="11289630" cy="3822603"/>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674" name="Google Shape;5674;p680"/>
          <p:cNvSpPr txBox="1">
            <a:spLocks noGrp="1"/>
          </p:cNvSpPr>
          <p:nvPr>
            <p:ph type="body" idx="1"/>
          </p:nvPr>
        </p:nvSpPr>
        <p:spPr>
          <a:xfrm>
            <a:off x="1219197" y="3429001"/>
            <a:ext cx="5582649" cy="141356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sz="2000"/>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675" name="Google Shape;5675;p680"/>
          <p:cNvSpPr txBox="1">
            <a:spLocks noGrp="1"/>
          </p:cNvSpPr>
          <p:nvPr>
            <p:ph type="title"/>
          </p:nvPr>
        </p:nvSpPr>
        <p:spPr>
          <a:xfrm>
            <a:off x="1219197"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676" name="Google Shape;5676;p68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63204939"/>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matchingName="1_Blank 12">
  <p:cSld name="1_Blank 12">
    <p:spTree>
      <p:nvGrpSpPr>
        <p:cNvPr id="1" name="Shape 5677"/>
        <p:cNvGrpSpPr/>
        <p:nvPr/>
      </p:nvGrpSpPr>
      <p:grpSpPr>
        <a:xfrm>
          <a:off x="0" y="0"/>
          <a:ext cx="0" cy="0"/>
          <a:chOff x="0" y="0"/>
          <a:chExt cx="0" cy="0"/>
        </a:xfrm>
      </p:grpSpPr>
      <p:sp>
        <p:nvSpPr>
          <p:cNvPr id="5678" name="Google Shape;5678;p681"/>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679" name="Google Shape;5679;p6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680" name="Google Shape;5680;p681"/>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1" name="Google Shape;5681;p681"/>
          <p:cNvGrpSpPr/>
          <p:nvPr/>
        </p:nvGrpSpPr>
        <p:grpSpPr>
          <a:xfrm>
            <a:off x="7191545" y="0"/>
            <a:ext cx="5000460" cy="1425988"/>
            <a:chOff x="7191545" y="0"/>
            <a:chExt cx="5000460" cy="1425988"/>
          </a:xfrm>
        </p:grpSpPr>
        <p:pic>
          <p:nvPicPr>
            <p:cNvPr id="5682" name="Google Shape;5682;p6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683" name="Google Shape;5683;p681"/>
            <p:cNvGrpSpPr/>
            <p:nvPr/>
          </p:nvGrpSpPr>
          <p:grpSpPr>
            <a:xfrm>
              <a:off x="7191545" y="0"/>
              <a:ext cx="5000460" cy="1425988"/>
              <a:chOff x="7191545" y="0"/>
              <a:chExt cx="5000460" cy="1425988"/>
            </a:xfrm>
          </p:grpSpPr>
          <p:sp>
            <p:nvSpPr>
              <p:cNvPr id="5684" name="Google Shape;5684;p6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85" name="Google Shape;5685;p6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623134253"/>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5686"/>
        <p:cNvGrpSpPr/>
        <p:nvPr/>
      </p:nvGrpSpPr>
      <p:grpSpPr>
        <a:xfrm>
          <a:off x="0" y="0"/>
          <a:ext cx="0" cy="0"/>
          <a:chOff x="0" y="0"/>
          <a:chExt cx="0" cy="0"/>
        </a:xfrm>
      </p:grpSpPr>
      <p:sp>
        <p:nvSpPr>
          <p:cNvPr id="5687" name="Google Shape;5687;p682"/>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88" name="Google Shape;5688;p682"/>
          <p:cNvSpPr/>
          <p:nvPr/>
        </p:nvSpPr>
        <p:spPr>
          <a:xfrm>
            <a:off x="1" y="5100853"/>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5689" name="Google Shape;5689;p682"/>
          <p:cNvPicPr preferRelativeResize="0"/>
          <p:nvPr/>
        </p:nvPicPr>
        <p:blipFill rotWithShape="1">
          <a:blip r:embed="rId2">
            <a:alphaModFix/>
          </a:blip>
          <a:srcRect/>
          <a:stretch/>
        </p:blipFill>
        <p:spPr>
          <a:xfrm>
            <a:off x="0" y="5041902"/>
            <a:ext cx="12191996" cy="1816098"/>
          </a:xfrm>
          <a:prstGeom prst="rect">
            <a:avLst/>
          </a:prstGeom>
          <a:noFill/>
          <a:ln>
            <a:noFill/>
          </a:ln>
        </p:spPr>
      </p:pic>
      <p:sp>
        <p:nvSpPr>
          <p:cNvPr id="5690" name="Google Shape;5690;p682"/>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pic>
        <p:nvPicPr>
          <p:cNvPr id="5691" name="Google Shape;5691;p682"/>
          <p:cNvPicPr preferRelativeResize="0"/>
          <p:nvPr/>
        </p:nvPicPr>
        <p:blipFill rotWithShape="1">
          <a:blip r:embed="rId3">
            <a:alphaModFix/>
          </a:blip>
          <a:srcRect/>
          <a:stretch/>
        </p:blipFill>
        <p:spPr>
          <a:xfrm>
            <a:off x="313960" y="5564125"/>
            <a:ext cx="2025386" cy="911355"/>
          </a:xfrm>
          <a:prstGeom prst="rect">
            <a:avLst/>
          </a:prstGeom>
          <a:noFill/>
          <a:ln>
            <a:noFill/>
          </a:ln>
        </p:spPr>
      </p:pic>
      <p:sp>
        <p:nvSpPr>
          <p:cNvPr id="5692" name="Google Shape;5692;p682"/>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693" name="Google Shape;5693;p682"/>
          <p:cNvSpPr txBox="1">
            <a:spLocks noGrp="1"/>
          </p:cNvSpPr>
          <p:nvPr>
            <p:ph type="title"/>
          </p:nvPr>
        </p:nvSpPr>
        <p:spPr>
          <a:xfrm>
            <a:off x="471694" y="365445"/>
            <a:ext cx="11248619" cy="830997"/>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5400"/>
              <a:buFont typeface="Calibri"/>
              <a:buNone/>
              <a:defRPr b="0">
                <a:solidFill>
                  <a:srgbClr val="444C5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94" name="Google Shape;5694;p682"/>
          <p:cNvSpPr txBox="1">
            <a:spLocks noGrp="1"/>
          </p:cNvSpPr>
          <p:nvPr>
            <p:ph type="subTitle" idx="1"/>
          </p:nvPr>
        </p:nvSpPr>
        <p:spPr>
          <a:xfrm>
            <a:off x="1828800" y="3840480"/>
            <a:ext cx="8534396" cy="682238"/>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695" name="Google Shape;5695;p682"/>
          <p:cNvSpPr txBox="1">
            <a:spLocks noGrp="1"/>
          </p:cNvSpPr>
          <p:nvPr>
            <p:ph type="ftr" idx="11"/>
          </p:nvPr>
        </p:nvSpPr>
        <p:spPr>
          <a:xfrm>
            <a:off x="609603" y="6356352"/>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96" name="Google Shape;5696;p68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27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697" name="Google Shape;5697;p682"/>
          <p:cNvSpPr txBox="1">
            <a:spLocks noGrp="1"/>
          </p:cNvSpPr>
          <p:nvPr>
            <p:ph type="sldNum" idx="12"/>
          </p:nvPr>
        </p:nvSpPr>
        <p:spPr>
          <a:xfrm>
            <a:off x="8839203" y="6356352"/>
            <a:ext cx="2743200" cy="365129"/>
          </a:xfrm>
          <a:prstGeom prst="rect">
            <a:avLst/>
          </a:prstGeom>
          <a:noFill/>
          <a:ln>
            <a:noFill/>
          </a:ln>
        </p:spPr>
        <p:txBody>
          <a:bodyPr spcFirstLastPara="1" wrap="square" lIns="0" tIns="0" rIns="0" bIns="0" anchor="ctr" anchorCtr="0">
            <a:noAutofit/>
          </a:bodyPr>
          <a:lstStyle>
            <a:lvl1pPr marL="38105" marR="0" lvl="0"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1pPr>
            <a:lvl2pPr marL="38105" marR="0" lvl="1"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2pPr>
            <a:lvl3pPr marL="38105" marR="0" lvl="2"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3pPr>
            <a:lvl4pPr marL="38105" marR="0" lvl="3"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4pPr>
            <a:lvl5pPr marL="38105" marR="0" lvl="4"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5pPr>
            <a:lvl6pPr marL="38105" marR="0" lvl="5"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6pPr>
            <a:lvl7pPr marL="38105" marR="0" lvl="6"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7pPr>
            <a:lvl8pPr marL="38105" marR="0" lvl="7"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8pPr>
            <a:lvl9pPr marL="38105" marR="0" lvl="8" indent="0" algn="r">
              <a:lnSpc>
                <a:spcPct val="118750"/>
              </a:lnSpc>
              <a:spcBef>
                <a:spcPts val="0"/>
              </a:spcBef>
              <a:spcAft>
                <a:spcPts val="0"/>
              </a:spcAft>
              <a:buClr>
                <a:srgbClr val="929599"/>
              </a:buClr>
              <a:buSzPts val="1800"/>
              <a:buFont typeface="Arial"/>
              <a:buNone/>
              <a:defRPr sz="1200" b="0" i="0" u="none" strike="noStrike" cap="none">
                <a:solidFill>
                  <a:srgbClr val="929599"/>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95861142"/>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matchingName="2_Quotation 3">
  <p:cSld name="2_Quotation 3">
    <p:spTree>
      <p:nvGrpSpPr>
        <p:cNvPr id="1" name="Shape 5698"/>
        <p:cNvGrpSpPr/>
        <p:nvPr/>
      </p:nvGrpSpPr>
      <p:grpSpPr>
        <a:xfrm>
          <a:off x="0" y="0"/>
          <a:ext cx="0" cy="0"/>
          <a:chOff x="0" y="0"/>
          <a:chExt cx="0" cy="0"/>
        </a:xfrm>
      </p:grpSpPr>
      <p:sp>
        <p:nvSpPr>
          <p:cNvPr id="5699" name="Google Shape;5699;p683"/>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700" name="Google Shape;5700;p68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01" name="Google Shape;5701;p683"/>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02" name="Google Shape;5702;p68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703" name="Google Shape;5703;p6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704" name="Google Shape;5704;p68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05" name="Google Shape;5705;p683"/>
          <p:cNvGrpSpPr/>
          <p:nvPr/>
        </p:nvGrpSpPr>
        <p:grpSpPr>
          <a:xfrm>
            <a:off x="7191545" y="0"/>
            <a:ext cx="5000460" cy="1425988"/>
            <a:chOff x="7191545" y="0"/>
            <a:chExt cx="5000460" cy="1425988"/>
          </a:xfrm>
        </p:grpSpPr>
        <p:pic>
          <p:nvPicPr>
            <p:cNvPr id="5706" name="Google Shape;5706;p6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707" name="Google Shape;5707;p683"/>
            <p:cNvGrpSpPr/>
            <p:nvPr/>
          </p:nvGrpSpPr>
          <p:grpSpPr>
            <a:xfrm>
              <a:off x="7191545" y="0"/>
              <a:ext cx="5000460" cy="1425988"/>
              <a:chOff x="7191545" y="0"/>
              <a:chExt cx="5000460" cy="1425988"/>
            </a:xfrm>
          </p:grpSpPr>
          <p:sp>
            <p:nvSpPr>
              <p:cNvPr id="5708" name="Google Shape;5708;p6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709" name="Google Shape;5709;p6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710" name="Google Shape;5710;p683"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649157728"/>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matchingName="5_Quotation 3">
  <p:cSld name="5_Quotation 3">
    <p:spTree>
      <p:nvGrpSpPr>
        <p:cNvPr id="1" name="Shape 5711"/>
        <p:cNvGrpSpPr/>
        <p:nvPr/>
      </p:nvGrpSpPr>
      <p:grpSpPr>
        <a:xfrm>
          <a:off x="0" y="0"/>
          <a:ext cx="0" cy="0"/>
          <a:chOff x="0" y="0"/>
          <a:chExt cx="0" cy="0"/>
        </a:xfrm>
      </p:grpSpPr>
      <p:sp>
        <p:nvSpPr>
          <p:cNvPr id="5712" name="Google Shape;5712;p684"/>
          <p:cNvSpPr/>
          <p:nvPr/>
        </p:nvSpPr>
        <p:spPr>
          <a:xfrm>
            <a:off x="1427360" y="1387868"/>
            <a:ext cx="10155042" cy="3506934"/>
          </a:xfrm>
          <a:prstGeom prst="rect">
            <a:avLst/>
          </a:prstGeom>
          <a:solidFill>
            <a:srgbClr val="F3F6FB"/>
          </a:solidFill>
          <a:ln>
            <a:noFill/>
          </a:ln>
        </p:spPr>
        <p:txBody>
          <a:bodyPr spcFirstLastPara="1" wrap="square" lIns="91417" tIns="45700" rIns="91417"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Calibri"/>
              <a:ea typeface="Calibri"/>
              <a:cs typeface="Calibri"/>
              <a:sym typeface="Calibri"/>
            </a:endParaRPr>
          </a:p>
        </p:txBody>
      </p:sp>
      <p:sp>
        <p:nvSpPr>
          <p:cNvPr id="5713" name="Google Shape;5713;p68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14" name="Google Shape;5714;p684"/>
          <p:cNvSpPr txBox="1">
            <a:spLocks noGrp="1"/>
          </p:cNvSpPr>
          <p:nvPr>
            <p:ph type="body" idx="1"/>
          </p:nvPr>
        </p:nvSpPr>
        <p:spPr>
          <a:xfrm>
            <a:off x="1427360" y="5007456"/>
            <a:ext cx="10155042" cy="825191"/>
          </a:xfrm>
          <a:prstGeom prst="rect">
            <a:avLst/>
          </a:prstGeom>
          <a:noFill/>
          <a:ln>
            <a:noFill/>
          </a:ln>
        </p:spPr>
        <p:txBody>
          <a:bodyPr spcFirstLastPara="1" wrap="square" lIns="91400" tIns="45700" rIns="91400"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15" name="Google Shape;5715;p68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716" name="Google Shape;5716;p6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717" name="Google Shape;5717;p68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18" name="Google Shape;5718;p684"/>
          <p:cNvGrpSpPr/>
          <p:nvPr/>
        </p:nvGrpSpPr>
        <p:grpSpPr>
          <a:xfrm>
            <a:off x="7191545" y="0"/>
            <a:ext cx="5000460" cy="1425988"/>
            <a:chOff x="7191545" y="0"/>
            <a:chExt cx="5000460" cy="1425988"/>
          </a:xfrm>
        </p:grpSpPr>
        <p:pic>
          <p:nvPicPr>
            <p:cNvPr id="5719" name="Google Shape;5719;p6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720" name="Google Shape;5720;p684"/>
            <p:cNvGrpSpPr/>
            <p:nvPr/>
          </p:nvGrpSpPr>
          <p:grpSpPr>
            <a:xfrm>
              <a:off x="7191545" y="0"/>
              <a:ext cx="5000460" cy="1425988"/>
              <a:chOff x="7191545" y="0"/>
              <a:chExt cx="5000460" cy="1425988"/>
            </a:xfrm>
          </p:grpSpPr>
          <p:sp>
            <p:nvSpPr>
              <p:cNvPr id="5721" name="Google Shape;5721;p6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722" name="Google Shape;5722;p6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pic>
        <p:nvPicPr>
          <p:cNvPr id="5723" name="Google Shape;5723;p684" descr="Open quotation mark with solid fill"/>
          <p:cNvPicPr preferRelativeResize="0"/>
          <p:nvPr/>
        </p:nvPicPr>
        <p:blipFill rotWithShape="1">
          <a:blip r:embed="rId3">
            <a:alphaModFix/>
          </a:blip>
          <a:srcRect/>
          <a:stretch/>
        </p:blipFill>
        <p:spPr>
          <a:xfrm>
            <a:off x="111512" y="136530"/>
            <a:ext cx="2036761" cy="2036761"/>
          </a:xfrm>
          <a:prstGeom prst="rect">
            <a:avLst/>
          </a:prstGeom>
          <a:noFill/>
          <a:ln>
            <a:noFill/>
          </a:ln>
        </p:spPr>
      </p:pic>
    </p:spTree>
    <p:extLst>
      <p:ext uri="{BB962C8B-B14F-4D97-AF65-F5344CB8AC3E}">
        <p14:creationId xmlns:p14="http://schemas.microsoft.com/office/powerpoint/2010/main" val="3942355494"/>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matchingName="SECTION_TITLE_AND_DESCRIPTION">
  <p:cSld name="SECTION_TITLE_AND_DESCRIPTION">
    <p:spTree>
      <p:nvGrpSpPr>
        <p:cNvPr id="1" name="Shape 5724"/>
        <p:cNvGrpSpPr/>
        <p:nvPr/>
      </p:nvGrpSpPr>
      <p:grpSpPr>
        <a:xfrm>
          <a:off x="0" y="0"/>
          <a:ext cx="0" cy="0"/>
          <a:chOff x="0" y="0"/>
          <a:chExt cx="0" cy="0"/>
        </a:xfrm>
      </p:grpSpPr>
      <p:sp>
        <p:nvSpPr>
          <p:cNvPr id="5725" name="Google Shape;5725;p685"/>
          <p:cNvSpPr/>
          <p:nvPr/>
        </p:nvSpPr>
        <p:spPr>
          <a:xfrm flipH="1">
            <a:off x="-17263" y="2735665"/>
            <a:ext cx="12226780" cy="4153424"/>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rgbClr val="FFFFFF">
              <a:alpha val="40392"/>
            </a:srgbClr>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26" name="Google Shape;5726;p685"/>
          <p:cNvSpPr txBox="1">
            <a:spLocks noGrp="1"/>
          </p:cNvSpPr>
          <p:nvPr>
            <p:ph type="title"/>
          </p:nvPr>
        </p:nvSpPr>
        <p:spPr>
          <a:xfrm>
            <a:off x="2540030" y="1086198"/>
            <a:ext cx="7112002" cy="1122398"/>
          </a:xfrm>
          <a:prstGeom prst="rect">
            <a:avLst/>
          </a:prstGeom>
          <a:noFill/>
          <a:ln>
            <a:noFill/>
          </a:ln>
        </p:spPr>
        <p:txBody>
          <a:bodyPr spcFirstLastPara="1" wrap="square" lIns="91400" tIns="91400" rIns="91400" bIns="91400" anchor="b" anchorCtr="1">
            <a:noAutofit/>
          </a:bodyPr>
          <a:lstStyle>
            <a:lvl1pPr lvl="0" algn="ctr">
              <a:lnSpc>
                <a:spcPct val="100000"/>
              </a:lnSpc>
              <a:spcBef>
                <a:spcPts val="0"/>
              </a:spcBef>
              <a:spcAft>
                <a:spcPts val="0"/>
              </a:spcAft>
              <a:buClr>
                <a:srgbClr val="1C498B"/>
              </a:buClr>
              <a:buSzPts val="9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27" name="Google Shape;5727;p685"/>
          <p:cNvSpPr txBox="1">
            <a:spLocks noGrp="1"/>
          </p:cNvSpPr>
          <p:nvPr>
            <p:ph type="subTitle" idx="1"/>
          </p:nvPr>
        </p:nvSpPr>
        <p:spPr>
          <a:xfrm>
            <a:off x="2893866" y="2208597"/>
            <a:ext cx="6404402" cy="1786399"/>
          </a:xfrm>
          <a:prstGeom prst="rect">
            <a:avLst/>
          </a:prstGeom>
          <a:noFill/>
          <a:ln>
            <a:noFill/>
          </a:ln>
        </p:spPr>
        <p:txBody>
          <a:bodyPr spcFirstLastPara="1" wrap="square" lIns="91400" tIns="91400" rIns="91400" bIns="91400" anchor="t" anchorCtr="1">
            <a:noAutofit/>
          </a:bodyPr>
          <a:lstStyle>
            <a:lvl1pPr lvl="0" algn="ctr">
              <a:lnSpc>
                <a:spcPct val="100000"/>
              </a:lnSpc>
              <a:spcBef>
                <a:spcPts val="0"/>
              </a:spcBef>
              <a:spcAft>
                <a:spcPts val="0"/>
              </a:spcAft>
              <a:buSzPts val="2400"/>
              <a:buNone/>
              <a:defRPr sz="2133"/>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28" name="Google Shape;5728;p685"/>
          <p:cNvSpPr/>
          <p:nvPr/>
        </p:nvSpPr>
        <p:spPr>
          <a:xfrm flipH="1">
            <a:off x="279687" y="2690402"/>
            <a:ext cx="273524" cy="273524"/>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rgbClr val="FFFFFF"/>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29" name="Google Shape;5729;p685"/>
          <p:cNvSpPr/>
          <p:nvPr/>
        </p:nvSpPr>
        <p:spPr>
          <a:xfrm flipH="1">
            <a:off x="11819096" y="3465522"/>
            <a:ext cx="598739" cy="2244687"/>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rgbClr val="A3B74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nvGrpSpPr>
          <p:cNvPr id="5730" name="Google Shape;5730;p685"/>
          <p:cNvGrpSpPr/>
          <p:nvPr/>
        </p:nvGrpSpPr>
        <p:grpSpPr>
          <a:xfrm>
            <a:off x="11305842" y="2311749"/>
            <a:ext cx="1166042" cy="1974756"/>
            <a:chOff x="11305842" y="2311749"/>
            <a:chExt cx="1166042" cy="1974756"/>
          </a:xfrm>
        </p:grpSpPr>
        <p:sp>
          <p:nvSpPr>
            <p:cNvPr id="5731" name="Google Shape;5731;p685"/>
            <p:cNvSpPr/>
            <p:nvPr/>
          </p:nvSpPr>
          <p:spPr>
            <a:xfrm flipH="1">
              <a:off x="11594079" y="2311749"/>
              <a:ext cx="691533" cy="674123"/>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32" name="Google Shape;5732;p685"/>
            <p:cNvSpPr/>
            <p:nvPr/>
          </p:nvSpPr>
          <p:spPr>
            <a:xfrm flipH="1">
              <a:off x="11713171" y="2660501"/>
              <a:ext cx="358106" cy="314901"/>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rgbClr val="6B95FD"/>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33" name="Google Shape;5733;p685"/>
            <p:cNvSpPr/>
            <p:nvPr/>
          </p:nvSpPr>
          <p:spPr>
            <a:xfrm flipH="1">
              <a:off x="11305842" y="2781933"/>
              <a:ext cx="1166042" cy="150457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sp>
        <p:nvSpPr>
          <p:cNvPr id="5734" name="Google Shape;5734;p685"/>
          <p:cNvSpPr/>
          <p:nvPr/>
        </p:nvSpPr>
        <p:spPr>
          <a:xfrm>
            <a:off x="9732902" y="713333"/>
            <a:ext cx="232851" cy="151223"/>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35" name="Google Shape;5735;p685"/>
          <p:cNvSpPr/>
          <p:nvPr/>
        </p:nvSpPr>
        <p:spPr>
          <a:xfrm>
            <a:off x="4209514" y="48627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36" name="Google Shape;5736;p685"/>
          <p:cNvSpPr/>
          <p:nvPr/>
        </p:nvSpPr>
        <p:spPr>
          <a:xfrm rot="2699990" flipH="1">
            <a:off x="864473" y="864550"/>
            <a:ext cx="163997" cy="256050"/>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37" name="Google Shape;5737;p685"/>
          <p:cNvSpPr/>
          <p:nvPr/>
        </p:nvSpPr>
        <p:spPr>
          <a:xfrm>
            <a:off x="7362611" y="644440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38" name="Google Shape;5738;p685"/>
          <p:cNvSpPr/>
          <p:nvPr/>
        </p:nvSpPr>
        <p:spPr>
          <a:xfrm flipH="1">
            <a:off x="4280252" y="6457602"/>
            <a:ext cx="124029" cy="151232"/>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83" tIns="121883" rIns="121883" bIns="121883"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nvGrpSpPr>
          <p:cNvPr id="5739" name="Google Shape;5739;p685"/>
          <p:cNvGrpSpPr/>
          <p:nvPr/>
        </p:nvGrpSpPr>
        <p:grpSpPr>
          <a:xfrm>
            <a:off x="-291062" y="4128526"/>
            <a:ext cx="1732870" cy="3535929"/>
            <a:chOff x="-291062" y="4128525"/>
            <a:chExt cx="1732870" cy="3535929"/>
          </a:xfrm>
        </p:grpSpPr>
        <p:sp>
          <p:nvSpPr>
            <p:cNvPr id="5740" name="Google Shape;5740;p685"/>
            <p:cNvSpPr/>
            <p:nvPr/>
          </p:nvSpPr>
          <p:spPr>
            <a:xfrm flipH="1">
              <a:off x="-291062" y="4128525"/>
              <a:ext cx="923928" cy="1046805"/>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sp>
          <p:nvSpPr>
            <p:cNvPr id="5741" name="Google Shape;5741;p685"/>
            <p:cNvSpPr/>
            <p:nvPr/>
          </p:nvSpPr>
          <p:spPr>
            <a:xfrm flipH="1">
              <a:off x="-140771" y="4831351"/>
              <a:ext cx="1582579" cy="2833103"/>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2801"/>
                <a:buFont typeface="Calibri"/>
                <a:buNone/>
              </a:pPr>
              <a:endParaRPr sz="1867" b="0" i="0" u="none" strike="noStrike" cap="none">
                <a:solidFill>
                  <a:srgbClr val="444C55"/>
                </a:solidFill>
                <a:latin typeface="Arial"/>
                <a:ea typeface="Arial"/>
                <a:cs typeface="Arial"/>
                <a:sym typeface="Arial"/>
              </a:endParaRPr>
            </a:p>
          </p:txBody>
        </p:sp>
      </p:grpSp>
    </p:spTree>
    <p:extLst>
      <p:ext uri="{BB962C8B-B14F-4D97-AF65-F5344CB8AC3E}">
        <p14:creationId xmlns:p14="http://schemas.microsoft.com/office/powerpoint/2010/main" val="2109755061"/>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5742"/>
        <p:cNvGrpSpPr/>
        <p:nvPr/>
      </p:nvGrpSpPr>
      <p:grpSpPr>
        <a:xfrm>
          <a:off x="0" y="0"/>
          <a:ext cx="0" cy="0"/>
          <a:chOff x="0" y="0"/>
          <a:chExt cx="0" cy="0"/>
        </a:xfrm>
      </p:grpSpPr>
      <p:grpSp>
        <p:nvGrpSpPr>
          <p:cNvPr id="5743" name="Google Shape;5743;p686"/>
          <p:cNvGrpSpPr/>
          <p:nvPr/>
        </p:nvGrpSpPr>
        <p:grpSpPr>
          <a:xfrm>
            <a:off x="7191545" y="0"/>
            <a:ext cx="5000460" cy="1425988"/>
            <a:chOff x="7191545" y="0"/>
            <a:chExt cx="5000460" cy="1425988"/>
          </a:xfrm>
        </p:grpSpPr>
        <p:pic>
          <p:nvPicPr>
            <p:cNvPr id="5744" name="Google Shape;5744;p6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5745" name="Google Shape;5745;p686"/>
            <p:cNvGrpSpPr/>
            <p:nvPr/>
          </p:nvGrpSpPr>
          <p:grpSpPr>
            <a:xfrm>
              <a:off x="7191545" y="0"/>
              <a:ext cx="5000460" cy="1425988"/>
              <a:chOff x="7191545" y="0"/>
              <a:chExt cx="5000460" cy="1425988"/>
            </a:xfrm>
          </p:grpSpPr>
          <p:sp>
            <p:nvSpPr>
              <p:cNvPr id="5746" name="Google Shape;5746;p6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sp>
            <p:nvSpPr>
              <p:cNvPr id="5747" name="Google Shape;5747;p6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2700"/>
                  <a:buFont typeface="Calibri"/>
                  <a:buNone/>
                </a:pPr>
                <a:endParaRPr sz="1800" b="0" i="0" u="none" strike="noStrike" cap="none">
                  <a:solidFill>
                    <a:srgbClr val="444C55"/>
                  </a:solidFill>
                  <a:latin typeface="Calibri"/>
                  <a:ea typeface="Calibri"/>
                  <a:cs typeface="Calibri"/>
                  <a:sym typeface="Calibri"/>
                </a:endParaRPr>
              </a:p>
            </p:txBody>
          </p:sp>
        </p:grpSp>
      </p:grpSp>
      <p:sp>
        <p:nvSpPr>
          <p:cNvPr id="5748" name="Google Shape;5748;p686"/>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54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49" name="Google Shape;5749;p68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304815" lvl="0" indent="-228611" algn="l">
              <a:lnSpc>
                <a:spcPct val="100000"/>
              </a:lnSpc>
              <a:spcBef>
                <a:spcPts val="1000"/>
              </a:spcBef>
              <a:spcAft>
                <a:spcPts val="0"/>
              </a:spcAft>
              <a:buSzPts val="1800"/>
              <a:buChar char="•"/>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5750" name="Google Shape;5750;p686"/>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8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751" name="Google Shape;5751;p6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5752" name="Google Shape;5752;p686"/>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86239349"/>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5753"/>
        <p:cNvGrpSpPr/>
        <p:nvPr/>
      </p:nvGrpSpPr>
      <p:grpSpPr>
        <a:xfrm>
          <a:off x="0" y="0"/>
          <a:ext cx="0" cy="0"/>
          <a:chOff x="0" y="0"/>
          <a:chExt cx="0" cy="0"/>
        </a:xfrm>
      </p:grpSpPr>
      <p:sp>
        <p:nvSpPr>
          <p:cNvPr id="5754" name="Google Shape;5754;p687"/>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304815" lvl="0" indent="-152408" algn="l">
              <a:lnSpc>
                <a:spcPct val="100000"/>
              </a:lnSpc>
              <a:spcBef>
                <a:spcPts val="1000"/>
              </a:spcBef>
              <a:spcAft>
                <a:spcPts val="0"/>
              </a:spcAft>
              <a:buSzPts val="2400"/>
              <a:buNone/>
              <a:defRPr/>
            </a:lvl1pPr>
            <a:lvl2pPr marL="609630" lvl="1" indent="-228611" algn="l">
              <a:lnSpc>
                <a:spcPct val="90000"/>
              </a:lnSpc>
              <a:spcBef>
                <a:spcPts val="500"/>
              </a:spcBef>
              <a:spcAft>
                <a:spcPts val="0"/>
              </a:spcAft>
              <a:buClr>
                <a:srgbClr val="000000"/>
              </a:buClr>
              <a:buSzPts val="1800"/>
              <a:buChar char="•"/>
              <a:defRPr/>
            </a:lvl2pPr>
            <a:lvl3pPr marL="914446" lvl="2" indent="-228611" algn="l">
              <a:lnSpc>
                <a:spcPct val="90000"/>
              </a:lnSpc>
              <a:spcBef>
                <a:spcPts val="500"/>
              </a:spcBef>
              <a:spcAft>
                <a:spcPts val="0"/>
              </a:spcAft>
              <a:buClr>
                <a:srgbClr val="000000"/>
              </a:buClr>
              <a:buSzPts val="1800"/>
              <a:buChar char="•"/>
              <a:defRPr/>
            </a:lvl3pPr>
            <a:lvl4pPr marL="1219261" lvl="3" indent="-228611" algn="l">
              <a:lnSpc>
                <a:spcPct val="90000"/>
              </a:lnSpc>
              <a:spcBef>
                <a:spcPts val="500"/>
              </a:spcBef>
              <a:spcAft>
                <a:spcPts val="0"/>
              </a:spcAft>
              <a:buClr>
                <a:srgbClr val="000000"/>
              </a:buClr>
              <a:buSzPts val="1800"/>
              <a:buChar char="•"/>
              <a:defRPr/>
            </a:lvl4pPr>
            <a:lvl5pPr marL="1524076" lvl="4" indent="-228611" algn="l">
              <a:lnSpc>
                <a:spcPct val="90000"/>
              </a:lnSpc>
              <a:spcBef>
                <a:spcPts val="500"/>
              </a:spcBef>
              <a:spcAft>
                <a:spcPts val="0"/>
              </a:spcAft>
              <a:buClr>
                <a:srgbClr val="000000"/>
              </a:buClr>
              <a:buSzPts val="1800"/>
              <a:buChar char="•"/>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cxnSp>
        <p:nvCxnSpPr>
          <p:cNvPr id="5755" name="Google Shape;5755;p687"/>
          <p:cNvCxnSpPr/>
          <p:nvPr/>
        </p:nvCxnSpPr>
        <p:spPr>
          <a:xfrm>
            <a:off x="457201"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5756" name="Google Shape;5756;p687"/>
          <p:cNvGrpSpPr/>
          <p:nvPr/>
        </p:nvGrpSpPr>
        <p:grpSpPr>
          <a:xfrm>
            <a:off x="1" y="5379425"/>
            <a:ext cx="2807363" cy="753895"/>
            <a:chOff x="0" y="5379424"/>
            <a:chExt cx="2807363" cy="753895"/>
          </a:xfrm>
        </p:grpSpPr>
        <p:sp>
          <p:nvSpPr>
            <p:cNvPr id="5757" name="Google Shape;5757;p68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sp>
          <p:nvSpPr>
            <p:cNvPr id="5758" name="Google Shape;5758;p68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2700"/>
                <a:buFont typeface="Calibri"/>
                <a:buNone/>
              </a:pPr>
              <a:endParaRPr sz="1800" b="0" i="0" u="none" strike="noStrike" cap="none">
                <a:solidFill>
                  <a:srgbClr val="FFFFFF"/>
                </a:solidFill>
                <a:latin typeface="Arial"/>
                <a:ea typeface="Arial"/>
                <a:cs typeface="Arial"/>
                <a:sym typeface="Arial"/>
              </a:endParaRPr>
            </a:p>
          </p:txBody>
        </p:sp>
      </p:grpSp>
      <p:sp>
        <p:nvSpPr>
          <p:cNvPr id="5759" name="Google Shape;5759;p687"/>
          <p:cNvSpPr>
            <a:spLocks noGrp="1"/>
          </p:cNvSpPr>
          <p:nvPr>
            <p:ph type="pic" idx="2"/>
          </p:nvPr>
        </p:nvSpPr>
        <p:spPr>
          <a:xfrm>
            <a:off x="2807363" y="457200"/>
            <a:ext cx="8915400" cy="5943600"/>
          </a:xfrm>
          <a:prstGeom prst="rect">
            <a:avLst/>
          </a:prstGeom>
          <a:noFill/>
          <a:ln>
            <a:noFill/>
          </a:ln>
        </p:spPr>
      </p:sp>
      <p:pic>
        <p:nvPicPr>
          <p:cNvPr id="5760" name="Google Shape;5760;p687"/>
          <p:cNvPicPr preferRelativeResize="0"/>
          <p:nvPr/>
        </p:nvPicPr>
        <p:blipFill rotWithShape="1">
          <a:blip r:embed="rId2">
            <a:alphaModFix/>
          </a:blip>
          <a:srcRect/>
          <a:stretch/>
        </p:blipFill>
        <p:spPr>
          <a:xfrm>
            <a:off x="513345" y="4385535"/>
            <a:ext cx="2025313" cy="911940"/>
          </a:xfrm>
          <a:prstGeom prst="rect">
            <a:avLst/>
          </a:prstGeom>
          <a:noFill/>
          <a:ln>
            <a:noFill/>
          </a:ln>
        </p:spPr>
      </p:pic>
    </p:spTree>
    <p:extLst>
      <p:ext uri="{BB962C8B-B14F-4D97-AF65-F5344CB8AC3E}">
        <p14:creationId xmlns:p14="http://schemas.microsoft.com/office/powerpoint/2010/main" val="25473084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matchingName="OBJECT" type="obj">
  <p:cSld name="OBJECT">
    <p:spTree>
      <p:nvGrpSpPr>
        <p:cNvPr id="1" name="Shape 3885"/>
        <p:cNvGrpSpPr/>
        <p:nvPr/>
      </p:nvGrpSpPr>
      <p:grpSpPr>
        <a:xfrm>
          <a:off x="0" y="0"/>
          <a:ext cx="0" cy="0"/>
          <a:chOff x="0" y="0"/>
          <a:chExt cx="0" cy="0"/>
        </a:xfrm>
      </p:grpSpPr>
      <p:grpSp>
        <p:nvGrpSpPr>
          <p:cNvPr id="3886" name="Google Shape;3886;p84"/>
          <p:cNvGrpSpPr/>
          <p:nvPr/>
        </p:nvGrpSpPr>
        <p:grpSpPr>
          <a:xfrm>
            <a:off x="7191545" y="0"/>
            <a:ext cx="5000460" cy="1425988"/>
            <a:chOff x="7191545" y="0"/>
            <a:chExt cx="5000460" cy="1425988"/>
          </a:xfrm>
        </p:grpSpPr>
        <p:pic>
          <p:nvPicPr>
            <p:cNvPr id="3887" name="Google Shape;3887;p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3888" name="Google Shape;3888;p84"/>
            <p:cNvGrpSpPr/>
            <p:nvPr/>
          </p:nvGrpSpPr>
          <p:grpSpPr>
            <a:xfrm>
              <a:off x="7191545" y="0"/>
              <a:ext cx="5000460" cy="1425988"/>
              <a:chOff x="7191545" y="0"/>
              <a:chExt cx="5000460" cy="1425988"/>
            </a:xfrm>
          </p:grpSpPr>
          <p:sp>
            <p:nvSpPr>
              <p:cNvPr id="3889" name="Google Shape;3889;p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3890" name="Google Shape;3890;p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3891" name="Google Shape;3891;p84"/>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2" name="Google Shape;3892;p8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90000"/>
              </a:lnSpc>
              <a:spcBef>
                <a:spcPts val="500"/>
              </a:spcBef>
              <a:spcAft>
                <a:spcPts val="0"/>
              </a:spcAft>
              <a:buClr>
                <a:srgbClr val="000000"/>
              </a:buClr>
              <a:buSzPts val="1800"/>
              <a:buChar char="•"/>
              <a:defRPr/>
            </a:lvl2pPr>
            <a:lvl3pPr marL="1371669" lvl="2" indent="-342917" algn="l">
              <a:lnSpc>
                <a:spcPct val="90000"/>
              </a:lnSpc>
              <a:spcBef>
                <a:spcPts val="500"/>
              </a:spcBef>
              <a:spcAft>
                <a:spcPts val="0"/>
              </a:spcAft>
              <a:buClr>
                <a:srgbClr val="000000"/>
              </a:buClr>
              <a:buSzPts val="1800"/>
              <a:buChar char="•"/>
              <a:defRPr/>
            </a:lvl3pPr>
            <a:lvl4pPr marL="1828891" lvl="3" indent="-342917" algn="l">
              <a:lnSpc>
                <a:spcPct val="90000"/>
              </a:lnSpc>
              <a:spcBef>
                <a:spcPts val="500"/>
              </a:spcBef>
              <a:spcAft>
                <a:spcPts val="0"/>
              </a:spcAft>
              <a:buClr>
                <a:srgbClr val="000000"/>
              </a:buClr>
              <a:buSzPts val="1800"/>
              <a:buChar char="•"/>
              <a:defRPr/>
            </a:lvl4pPr>
            <a:lvl5pPr marL="2286114" lvl="4" indent="-342917" algn="l">
              <a:lnSpc>
                <a:spcPct val="90000"/>
              </a:lnSpc>
              <a:spcBef>
                <a:spcPts val="500"/>
              </a:spcBef>
              <a:spcAft>
                <a:spcPts val="0"/>
              </a:spcAft>
              <a:buClr>
                <a:srgbClr val="000000"/>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3893" name="Google Shape;3893;p84"/>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3894" name="Google Shape;3894;p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3895" name="Google Shape;3895;p84"/>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extLst>
      <p:ext uri="{BB962C8B-B14F-4D97-AF65-F5344CB8AC3E}">
        <p14:creationId xmlns:p14="http://schemas.microsoft.com/office/powerpoint/2010/main" val="967644899"/>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3316895"/>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55312"/>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1715026"/>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0037180"/>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27777001"/>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48961245"/>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2327240"/>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504541961"/>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2456329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766655264"/>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016573163"/>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492371675"/>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7661390"/>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3918906"/>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1790358"/>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9758632"/>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7306298"/>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1745995"/>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773532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6055130"/>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1613109"/>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3308247"/>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5415939"/>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1936752"/>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5225942"/>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49839292"/>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1046821"/>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744956"/>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32496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6806153"/>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718063639"/>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49973527"/>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2578710"/>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6810053"/>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35029731"/>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756591"/>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31956561"/>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748560876"/>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073162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97177773"/>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4218499755"/>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9642354"/>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2903234"/>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4033295"/>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0377630"/>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989802"/>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1324782"/>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6994070"/>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5588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 name="Google Shape;119;p12"/>
          <p:cNvGrpSpPr/>
          <p:nvPr/>
        </p:nvGrpSpPr>
        <p:grpSpPr>
          <a:xfrm>
            <a:off x="7191542" y="1"/>
            <a:ext cx="5000459" cy="1425992"/>
            <a:chOff x="7191542" y="1"/>
            <a:chExt cx="5000459" cy="1425992"/>
          </a:xfrm>
        </p:grpSpPr>
        <p:pic>
          <p:nvPicPr>
            <p:cNvPr id="120" name="Google Shape;120;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 name="Google Shape;121;p12"/>
            <p:cNvGrpSpPr/>
            <p:nvPr/>
          </p:nvGrpSpPr>
          <p:grpSpPr>
            <a:xfrm>
              <a:off x="7191542" y="1"/>
              <a:ext cx="5000459" cy="1425992"/>
              <a:chOff x="7186272" y="0"/>
              <a:chExt cx="5005729" cy="1427495"/>
            </a:xfrm>
          </p:grpSpPr>
          <p:sp>
            <p:nvSpPr>
              <p:cNvPr id="122" name="Google Shape;122;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 name="Google Shape;124;p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2185491"/>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7422312"/>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60654773"/>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1775139"/>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8253107"/>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05049094"/>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9895159"/>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3814137651"/>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779908892"/>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26819262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1292905"/>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513657173"/>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406472698"/>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98563213"/>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7699877"/>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07209642"/>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0907906"/>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585301"/>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664290"/>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183197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9854164"/>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544240"/>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93438049"/>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08218652"/>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print">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52845178"/>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504234"/>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843804781"/>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741070"/>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14125781"/>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1029647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1390698"/>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293167245"/>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5557353"/>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2672748"/>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363927"/>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14078800"/>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66289156"/>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9667846"/>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621569427"/>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59009198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579403"/>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6494831"/>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457077"/>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5827960"/>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15960957"/>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88239321"/>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85511649"/>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24490269"/>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7026828"/>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9642419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22497714"/>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3124148"/>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343103862"/>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113882276"/>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08891421"/>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687829"/>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13345445"/>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642438723"/>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1407787"/>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768688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75763349"/>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8204242"/>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9389401"/>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0844140"/>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153418"/>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4108255"/>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3498689"/>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4833073"/>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50605222"/>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08180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904999488"/>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3367281"/>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12493097"/>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5751081"/>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8450588"/>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7611373"/>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8852971"/>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7142585"/>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32938309"/>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3957539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4895738"/>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5738571"/>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83433632"/>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3147738"/>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04393923"/>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135729562"/>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281271"/>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31257513"/>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519902199"/>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412586027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897406"/>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0910411"/>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1154035"/>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1130734"/>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314365"/>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14266721"/>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92665472"/>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622149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03834363"/>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2405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48"/>
        <p:cNvGrpSpPr/>
        <p:nvPr/>
      </p:nvGrpSpPr>
      <p:grpSpPr>
        <a:xfrm>
          <a:off x="0" y="0"/>
          <a:ext cx="0" cy="0"/>
          <a:chOff x="0" y="0"/>
          <a:chExt cx="0" cy="0"/>
        </a:xfrm>
      </p:grpSpPr>
      <p:grpSp>
        <p:nvGrpSpPr>
          <p:cNvPr id="149" name="Google Shape;149;p15"/>
          <p:cNvGrpSpPr/>
          <p:nvPr/>
        </p:nvGrpSpPr>
        <p:grpSpPr>
          <a:xfrm>
            <a:off x="7191542" y="1"/>
            <a:ext cx="5000459" cy="1425992"/>
            <a:chOff x="7191542" y="1"/>
            <a:chExt cx="5000459" cy="1425992"/>
          </a:xfrm>
        </p:grpSpPr>
        <p:pic>
          <p:nvPicPr>
            <p:cNvPr id="150" name="Google Shape;150;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 name="Google Shape;151;p15"/>
            <p:cNvGrpSpPr/>
            <p:nvPr/>
          </p:nvGrpSpPr>
          <p:grpSpPr>
            <a:xfrm>
              <a:off x="7191542" y="1"/>
              <a:ext cx="5000459" cy="1425992"/>
              <a:chOff x="7186272" y="0"/>
              <a:chExt cx="5005729" cy="1427495"/>
            </a:xfrm>
          </p:grpSpPr>
          <p:sp>
            <p:nvSpPr>
              <p:cNvPr id="152" name="Google Shape;152;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 name="Google Shape;156;p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 name="Google Shape;160;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 name="Google Shape;161;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2327646"/>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19605797"/>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203059"/>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7605257"/>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48222"/>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29893185"/>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378336290"/>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6491696"/>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659425051"/>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8762661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36940975"/>
      </p:ext>
    </p:extLst>
  </p:cSld>
  <p:clrMapOvr>
    <a:masterClrMapping/>
  </p:clrMapOvr>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9253612"/>
      </p:ext>
    </p:extLst>
  </p:cSld>
  <p:clrMapOvr>
    <a:masterClrMapping/>
  </p:clrMapOvr>
</p:sldLayout>
</file>

<file path=ppt/slideLayouts/slideLayout2112.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0070232"/>
      </p:ext>
    </p:extLst>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5146775"/>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2715467"/>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9342517"/>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2751837"/>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40578192"/>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0620228"/>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9890579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95507048"/>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99789136"/>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16765472"/>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360267"/>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5717966"/>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5373785"/>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441571"/>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2893098"/>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4383042"/>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253671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240471"/>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3491606"/>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244236"/>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661590437"/>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3230007"/>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8646719"/>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36554"/>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01896340"/>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9118965"/>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294638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3535805"/>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58178203"/>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656548826"/>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475683"/>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70030040"/>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41418359"/>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271351816"/>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977897883"/>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4736930"/>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350145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0511227"/>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07273518"/>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4038072"/>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8202954"/>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62790490"/>
      </p:ext>
    </p:extLst>
  </p:cSld>
  <p:clrMapOvr>
    <a:masterClrMapping/>
  </p:clrMapOvr>
</p:sldLayout>
</file>

<file path=docProps/app.xml><?xml version="1.0" encoding="utf-8"?>
<Properties xmlns="http://schemas.openxmlformats.org/officeDocument/2006/extended-properties" xmlns:vt="http://schemas.openxmlformats.org/officeDocument/2006/docPropsVTypes">
  <Template>office theme</Template>
  <TotalTime>6289</TotalTime>
  <Words>4093</Words>
  <Application>Microsoft Office PowerPoint</Application>
  <PresentationFormat>Widescreen</PresentationFormat>
  <Paragraphs>535</Paragraphs>
  <Slides>49</Slides>
  <Notes>29</Notes>
  <HiddenSlides>0</HiddenSlides>
  <MMClips>0</MMClips>
  <ScaleCrop>false</ScaleCrop>
  <HeadingPairs>
    <vt:vector size="8" baseType="variant">
      <vt:variant>
        <vt:lpstr>Fonts Used</vt:lpstr>
      </vt:variant>
      <vt:variant>
        <vt:i4>29</vt:i4>
      </vt:variant>
      <vt:variant>
        <vt:lpstr>Theme</vt:lpstr>
      </vt:variant>
      <vt:variant>
        <vt:i4>14</vt:i4>
      </vt:variant>
      <vt:variant>
        <vt:lpstr>Embedded OLE Servers</vt:lpstr>
      </vt:variant>
      <vt:variant>
        <vt:i4>1</vt:i4>
      </vt:variant>
      <vt:variant>
        <vt:lpstr>Slide Titles</vt:lpstr>
      </vt:variant>
      <vt:variant>
        <vt:i4>49</vt:i4>
      </vt:variant>
    </vt:vector>
  </HeadingPairs>
  <TitlesOfParts>
    <vt:vector size="93" baseType="lpstr">
      <vt:lpstr>Aptos</vt:lpstr>
      <vt:lpstr>Aptos Display</vt:lpstr>
      <vt:lpstr>Aptos Serif</vt:lpstr>
      <vt:lpstr>Arial</vt:lpstr>
      <vt:lpstr>Calibri</vt:lpstr>
      <vt:lpstr>Cambria</vt:lpstr>
      <vt:lpstr>Cambria Math</vt:lpstr>
      <vt:lpstr>Carlito</vt:lpstr>
      <vt:lpstr>Courier New</vt:lpstr>
      <vt:lpstr>Courier New,monospace</vt:lpstr>
      <vt:lpstr>Darker Grotesque SemiBold</vt:lpstr>
      <vt:lpstr>DM Sans</vt:lpstr>
      <vt:lpstr>Felix Titling</vt:lpstr>
      <vt:lpstr>Goudy Old Style</vt:lpstr>
      <vt:lpstr>Helvetica Neue</vt:lpstr>
      <vt:lpstr>Helvetica Neue Medium</vt:lpstr>
      <vt:lpstr>Lato Medium</vt:lpstr>
      <vt:lpstr>Metropolis</vt:lpstr>
      <vt:lpstr>Metropolis Extra Light</vt:lpstr>
      <vt:lpstr>Metropolis Light</vt:lpstr>
      <vt:lpstr>Metropolis Semi Bold</vt:lpstr>
      <vt:lpstr>Noto Sans Symbols</vt:lpstr>
      <vt:lpstr>Open Sans</vt:lpstr>
      <vt:lpstr>Spectral ExtraBold</vt:lpstr>
      <vt:lpstr>Times</vt:lpstr>
      <vt:lpstr>Times New Roman</vt:lpstr>
      <vt:lpstr>Verdana</vt:lpstr>
      <vt:lpstr>Wingdings</vt:lpstr>
      <vt:lpstr>YACgEZ1cb1Q 0</vt:lpstr>
      <vt:lpstr>office theme</vt:lpstr>
      <vt:lpstr>1_Office Theme</vt:lpstr>
      <vt:lpstr>1_Office Theme</vt:lpstr>
      <vt:lpstr>1_project_x_autumn</vt:lpstr>
      <vt:lpstr>All Covers</vt:lpstr>
      <vt:lpstr>Office Theme</vt:lpstr>
      <vt:lpstr>3_Office Theme</vt:lpstr>
      <vt:lpstr>2_Office Theme</vt:lpstr>
      <vt:lpstr>19_Office Theme</vt:lpstr>
      <vt:lpstr>21_Office Theme</vt:lpstr>
      <vt:lpstr>22_Office Theme</vt:lpstr>
      <vt:lpstr>UW Health Theme</vt:lpstr>
      <vt:lpstr>Archway</vt:lpstr>
      <vt:lpstr>4_Office Theme</vt:lpstr>
      <vt:lpstr>think-cell Slide</vt:lpstr>
      <vt:lpstr>Hospital Teams Panel: Sharing Strategies  to Advance Optimal  PMH Care  Moderators: Rebecca Ainis, MPH and Ann Borders, MD, MSc, MPH</vt:lpstr>
      <vt:lpstr>PowerPoint Presentation</vt:lpstr>
      <vt:lpstr>PowerPoint Presentation</vt:lpstr>
      <vt:lpstr>Key Steps to Improving  PMH Outcomes: Making sure every patient every time receives optimal PMH care</vt:lpstr>
      <vt:lpstr>Perinatal Mental Health Hospital Teams Panel</vt:lpstr>
      <vt:lpstr>PowerPoint Presentation</vt:lpstr>
      <vt:lpstr>Sinai Chicago: Setting &amp; Patient Population</vt:lpstr>
      <vt:lpstr>Current PMH Screening Workflow</vt:lpstr>
      <vt:lpstr>Expanding Standardized Screening &amp; Digital Integration Strategy</vt:lpstr>
      <vt:lpstr>Digital Integration/ Why it matters to us</vt:lpstr>
      <vt:lpstr>Key Considerations</vt:lpstr>
      <vt:lpstr>Proposed PDSA Cycle: iPad-based EPDS Screening Workflow</vt:lpstr>
      <vt:lpstr>Workflow Steps &amp; Escalation Pathways</vt:lpstr>
      <vt:lpstr>Current PMH Screening Workflow</vt:lpstr>
      <vt:lpstr>Education &amp; System-Level Support</vt:lpstr>
      <vt:lpstr>Key Takeaways</vt:lpstr>
      <vt:lpstr>Questions?</vt:lpstr>
      <vt:lpstr>PowerPoint Presentation</vt:lpstr>
      <vt:lpstr>SIH Memorial Hospital of Carbondale Women &amp; Children is the Southernmost delivering hospital in the state of Illinois</vt:lpstr>
      <vt:lpstr>SIH – Memorial Hospital of Carbondale   Women &amp; Children</vt:lpstr>
      <vt:lpstr>Mental Health Pregnancy-Related Deaths During Pregnancy and the Postpartum Period More Often Had ED Visits </vt:lpstr>
      <vt:lpstr>Importance of ED Champions</vt:lpstr>
      <vt:lpstr>Identifying patients who are pregnant or ≤ 1 year postpartum in ED triage </vt:lpstr>
      <vt:lpstr>Triage Postpartum Screening</vt:lpstr>
      <vt:lpstr>Depression screening is preformed using the Edinburgh Postnatal Depression Scale</vt:lpstr>
      <vt:lpstr>Completing the Substance Abuse Screening</vt:lpstr>
      <vt:lpstr>After Visit Summary Resources</vt:lpstr>
      <vt:lpstr>Current Next Steps: Creating a workflow for response to positive PMH Screen in the ED</vt:lpstr>
      <vt:lpstr>PowerPoint Presentation</vt:lpstr>
      <vt:lpstr>UW Health  SwedishAmerican  Presented by: Courtney Fisk, MSN, RNC-OB, C-EFM</vt:lpstr>
      <vt:lpstr>UW Health SwedishAmerican Hospital</vt:lpstr>
      <vt:lpstr>PMH Partnerships: Sustaining Community Engagement</vt:lpstr>
      <vt:lpstr>PMH Subcommittee Breakdown</vt:lpstr>
      <vt:lpstr>Engaging Community Partners</vt:lpstr>
      <vt:lpstr>Engaging Community Partners</vt:lpstr>
      <vt:lpstr>From Screening to Support:  Navigating Positive PMH Screens</vt:lpstr>
      <vt:lpstr>Positive PMH Screens: Inpatient </vt:lpstr>
      <vt:lpstr>Positive PMH Screens: Outpatient </vt:lpstr>
      <vt:lpstr>Positive PMH Screens: Key Issues Identified &amp; Next Steps</vt:lpstr>
      <vt:lpstr>Questions?</vt:lpstr>
      <vt:lpstr>Provide Optimal PMH Care For Every Patient Who Screens Positive, Every Time</vt:lpstr>
      <vt:lpstr>Treatment for PMH (Therapy, Med or Both)</vt:lpstr>
      <vt:lpstr>Example PMH Order Set or Pocket Card</vt:lpstr>
      <vt:lpstr>PowerPoint Presentation</vt:lpstr>
      <vt:lpstr>PowerPoint Presentation</vt:lpstr>
      <vt:lpstr>PowerPoint Presentation</vt:lpstr>
      <vt:lpstr>PowerPoint Presentation</vt:lpstr>
      <vt:lpstr>How Teams Ensure  Optimal PMH Care is Deliver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dc:creator>
  <cp:lastModifiedBy>Rebecca Hannah Ainis</cp:lastModifiedBy>
  <cp:revision>595</cp:revision>
  <dcterms:created xsi:type="dcterms:W3CDTF">2024-05-11T05:47:40Z</dcterms:created>
  <dcterms:modified xsi:type="dcterms:W3CDTF">2026-06-01T16:40:43Z</dcterms:modified>
</cp:coreProperties>
</file>